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7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1008C-DD88-4599-BB4A-D158222FA8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CBF2DA-F855-44C0-84C2-3D8F7D1CF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3399F9-17FC-4E7B-A3C6-FF0E0A9D8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D43F9-DEDF-499B-8F23-89ECAF781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BDA46B-6BBB-4307-9D4B-DFE5B40E1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02890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C663F-01AA-4F13-81FA-4BFE0E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105646-43C5-4E91-8FAA-9941BBFCA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54C12-4595-436E-BB29-EC9CEB25E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B808A1-E1B7-4291-AF1A-01D16F38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282934-518C-44D0-A500-3F6DCFE85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46772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812D235-E967-4030-BE3C-82285B68DD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D23880-4BC0-458F-998E-D6395F2212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535B80-F7A0-497B-AB85-695CBBBC2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F0AFD-86B7-4329-BA3B-47203634F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0752D-7532-4A73-827B-173779207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9042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244EE-6E66-4946-BE90-CAD95672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A1E01A-D317-4FBC-B66C-359FAC4D44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1B33F-1525-4162-96F4-ED4EE5F48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7BDEB7-0829-4455-88B3-C171D554E7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6319DA-5A02-4CD2-9DF4-FF8463D08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41851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BA324-E3C6-4A5F-AED6-351199389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384B46-5D90-4D7C-8271-4BC1DE3A5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9C464A-76D5-4C4A-9D72-16E156E2F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A49E1-8015-4A69-BA83-1C1E75FFE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0D402E-A368-4CA2-AB9A-E144DEB25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29718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5D79E-EC1C-4A68-A56D-2D7AFFEC9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707E3-29B0-49E1-8826-42E687014A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8FF39B-97B2-4C79-B3F7-35A64173F5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63492F-91E1-429C-BF60-28BA9F292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312CF6-2D75-4065-8EF4-71B9F379A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8AE592-7C69-4A7A-B72A-B9166EB72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094710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6A48A-435B-4BCD-97C2-FB48059DF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F1573A-ADC1-4E33-B158-9A4F1D94A8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1FB78D-7F48-41E8-851B-7AAC4F8FC6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B503AA-21FD-4ACE-B339-74626C2BB4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BE0C44-6218-4163-AABB-CA0C0B8D71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E364A5-ED94-462A-9314-47322F23D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700F1F-D7AD-481D-A988-754D792F1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E9F78F-4066-41A1-A7CD-D676AAA76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22034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7FB1E-343D-48DC-BE9D-D7AADD3E0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A7C845-9792-4A47-8563-1BB9172AF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E720E7-C349-4E1C-9CEE-EDD2A08D9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832BE5-723A-42EE-B4BD-C4BDFB4FF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5934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DCF940-02A0-4F4B-A179-457072580D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004F6E-8B40-4CFC-AD2B-4C329FF82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8E5104-CAED-4162-AA38-A7812EF20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4972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43747-7934-4149-B063-187C49C94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351D8C-AD64-4EE1-B93F-50DBCB8E6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17BA1C-329C-40CE-97F2-38BC2E0C7B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943B76-80B7-43EF-B398-202E8A85BB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44615-ED2B-4057-B608-8BAEECBD7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FDA156-6258-4112-9491-A0C3F8174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77415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D9E4D-A4CE-4276-9665-629E014D1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35BB939-ABC7-4EAE-8DA7-535361F67F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4CFE5B-B097-40BB-B2A4-A38733A3D9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C50493-2BCB-4ABA-ADF2-66108E6022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1F841F-ED4A-46AE-AF81-24B3E67B43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D4A260-22BA-4A1D-9FD7-A8ACA3F14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46069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1F4B62-AA9B-49B4-8919-F362D7F19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7A42A1-CAD0-4E5E-A18E-C166844E12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460E6D-E3A2-4992-9D66-9A5C4F949B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27390D-3146-4A6A-867F-D53C13B3A7F6}" type="datetimeFigureOut">
              <a:rPr lang="en-IN" smtClean="0"/>
              <a:t>2023-06-1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C4B79-6E2E-4160-9D0F-A89336133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C4C2E5-5771-4EC9-AFAB-765AA2F6CD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F8C9B-B865-4C29-AF40-AE80F0BE6246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7024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0964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ASIA MAP</a:t>
            </a:r>
          </a:p>
        </p:txBody>
      </p:sp>
      <p:sp>
        <p:nvSpPr>
          <p:cNvPr id="160" name="Rectangle 70">
            <a:extLst>
              <a:ext uri="{FF2B5EF4-FFF2-40B4-BE49-F238E27FC236}">
                <a16:creationId xmlns:a16="http://schemas.microsoft.com/office/drawing/2014/main" id="{98904588-19E2-46F7-A5DB-F0414565A472}"/>
              </a:ext>
            </a:extLst>
          </p:cNvPr>
          <p:cNvSpPr/>
          <p:nvPr/>
        </p:nvSpPr>
        <p:spPr>
          <a:xfrm rot="10800000">
            <a:off x="123818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Rectangle 70">
            <a:extLst>
              <a:ext uri="{FF2B5EF4-FFF2-40B4-BE49-F238E27FC236}">
                <a16:creationId xmlns:a16="http://schemas.microsoft.com/office/drawing/2014/main" id="{1E36F3F1-2CB3-4880-9643-454B2DFBE8CE}"/>
              </a:ext>
            </a:extLst>
          </p:cNvPr>
          <p:cNvSpPr/>
          <p:nvPr/>
        </p:nvSpPr>
        <p:spPr>
          <a:xfrm flipV="1">
            <a:off x="69970" y="555908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9DF87BB9-475A-458D-A914-D2896A78D82B}"/>
              </a:ext>
            </a:extLst>
          </p:cNvPr>
          <p:cNvGrpSpPr/>
          <p:nvPr/>
        </p:nvGrpSpPr>
        <p:grpSpPr>
          <a:xfrm>
            <a:off x="189650" y="594919"/>
            <a:ext cx="6041874" cy="4911803"/>
            <a:chOff x="5687959" y="1145255"/>
            <a:chExt cx="6041874" cy="4911803"/>
          </a:xfrm>
          <a:solidFill>
            <a:srgbClr val="BFBFBF"/>
          </a:solidFill>
        </p:grpSpPr>
        <p:sp>
          <p:nvSpPr>
            <p:cNvPr id="141" name="Freeform 343">
              <a:extLst>
                <a:ext uri="{FF2B5EF4-FFF2-40B4-BE49-F238E27FC236}">
                  <a16:creationId xmlns:a16="http://schemas.microsoft.com/office/drawing/2014/main" id="{7EB63B2C-561A-4A7B-A684-8D95B6C3D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9523" y="1852662"/>
              <a:ext cx="1112274" cy="631772"/>
            </a:xfrm>
            <a:custGeom>
              <a:avLst/>
              <a:gdLst>
                <a:gd name="T0" fmla="*/ 46 w 513"/>
                <a:gd name="T1" fmla="*/ 7 h 290"/>
                <a:gd name="T2" fmla="*/ 86 w 513"/>
                <a:gd name="T3" fmla="*/ 11 h 290"/>
                <a:gd name="T4" fmla="*/ 165 w 513"/>
                <a:gd name="T5" fmla="*/ 62 h 290"/>
                <a:gd name="T6" fmla="*/ 199 w 513"/>
                <a:gd name="T7" fmla="*/ 68 h 290"/>
                <a:gd name="T8" fmla="*/ 258 w 513"/>
                <a:gd name="T9" fmla="*/ 64 h 290"/>
                <a:gd name="T10" fmla="*/ 285 w 513"/>
                <a:gd name="T11" fmla="*/ 87 h 290"/>
                <a:gd name="T12" fmla="*/ 305 w 513"/>
                <a:gd name="T13" fmla="*/ 122 h 290"/>
                <a:gd name="T14" fmla="*/ 325 w 513"/>
                <a:gd name="T15" fmla="*/ 146 h 290"/>
                <a:gd name="T16" fmla="*/ 370 w 513"/>
                <a:gd name="T17" fmla="*/ 161 h 290"/>
                <a:gd name="T18" fmla="*/ 385 w 513"/>
                <a:gd name="T19" fmla="*/ 159 h 290"/>
                <a:gd name="T20" fmla="*/ 394 w 513"/>
                <a:gd name="T21" fmla="*/ 143 h 290"/>
                <a:gd name="T22" fmla="*/ 419 w 513"/>
                <a:gd name="T23" fmla="*/ 127 h 290"/>
                <a:gd name="T24" fmla="*/ 433 w 513"/>
                <a:gd name="T25" fmla="*/ 118 h 290"/>
                <a:gd name="T26" fmla="*/ 423 w 513"/>
                <a:gd name="T27" fmla="*/ 139 h 290"/>
                <a:gd name="T28" fmla="*/ 441 w 513"/>
                <a:gd name="T29" fmla="*/ 144 h 290"/>
                <a:gd name="T30" fmla="*/ 460 w 513"/>
                <a:gd name="T31" fmla="*/ 148 h 290"/>
                <a:gd name="T32" fmla="*/ 463 w 513"/>
                <a:gd name="T33" fmla="*/ 138 h 290"/>
                <a:gd name="T34" fmla="*/ 484 w 513"/>
                <a:gd name="T35" fmla="*/ 157 h 290"/>
                <a:gd name="T36" fmla="*/ 505 w 513"/>
                <a:gd name="T37" fmla="*/ 162 h 290"/>
                <a:gd name="T38" fmla="*/ 505 w 513"/>
                <a:gd name="T39" fmla="*/ 168 h 290"/>
                <a:gd name="T40" fmla="*/ 496 w 513"/>
                <a:gd name="T41" fmla="*/ 177 h 290"/>
                <a:gd name="T42" fmla="*/ 479 w 513"/>
                <a:gd name="T43" fmla="*/ 185 h 290"/>
                <a:gd name="T44" fmla="*/ 468 w 513"/>
                <a:gd name="T45" fmla="*/ 181 h 290"/>
                <a:gd name="T46" fmla="*/ 439 w 513"/>
                <a:gd name="T47" fmla="*/ 179 h 290"/>
                <a:gd name="T48" fmla="*/ 444 w 513"/>
                <a:gd name="T49" fmla="*/ 165 h 290"/>
                <a:gd name="T50" fmla="*/ 416 w 513"/>
                <a:gd name="T51" fmla="*/ 169 h 290"/>
                <a:gd name="T52" fmla="*/ 410 w 513"/>
                <a:gd name="T53" fmla="*/ 184 h 290"/>
                <a:gd name="T54" fmla="*/ 401 w 513"/>
                <a:gd name="T55" fmla="*/ 189 h 290"/>
                <a:gd name="T56" fmla="*/ 400 w 513"/>
                <a:gd name="T57" fmla="*/ 194 h 290"/>
                <a:gd name="T58" fmla="*/ 394 w 513"/>
                <a:gd name="T59" fmla="*/ 198 h 290"/>
                <a:gd name="T60" fmla="*/ 372 w 513"/>
                <a:gd name="T61" fmla="*/ 205 h 290"/>
                <a:gd name="T62" fmla="*/ 363 w 513"/>
                <a:gd name="T63" fmla="*/ 213 h 290"/>
                <a:gd name="T64" fmla="*/ 377 w 513"/>
                <a:gd name="T65" fmla="*/ 226 h 290"/>
                <a:gd name="T66" fmla="*/ 387 w 513"/>
                <a:gd name="T67" fmla="*/ 237 h 290"/>
                <a:gd name="T68" fmla="*/ 399 w 513"/>
                <a:gd name="T69" fmla="*/ 253 h 290"/>
                <a:gd name="T70" fmla="*/ 391 w 513"/>
                <a:gd name="T71" fmla="*/ 285 h 290"/>
                <a:gd name="T72" fmla="*/ 372 w 513"/>
                <a:gd name="T73" fmla="*/ 286 h 290"/>
                <a:gd name="T74" fmla="*/ 357 w 513"/>
                <a:gd name="T75" fmla="*/ 283 h 290"/>
                <a:gd name="T76" fmla="*/ 349 w 513"/>
                <a:gd name="T77" fmla="*/ 259 h 290"/>
                <a:gd name="T78" fmla="*/ 321 w 513"/>
                <a:gd name="T79" fmla="*/ 252 h 290"/>
                <a:gd name="T80" fmla="*/ 286 w 513"/>
                <a:gd name="T81" fmla="*/ 231 h 290"/>
                <a:gd name="T82" fmla="*/ 251 w 513"/>
                <a:gd name="T83" fmla="*/ 212 h 290"/>
                <a:gd name="T84" fmla="*/ 199 w 513"/>
                <a:gd name="T85" fmla="*/ 161 h 290"/>
                <a:gd name="T86" fmla="*/ 180 w 513"/>
                <a:gd name="T87" fmla="*/ 147 h 290"/>
                <a:gd name="T88" fmla="*/ 158 w 513"/>
                <a:gd name="T89" fmla="*/ 149 h 290"/>
                <a:gd name="T90" fmla="*/ 142 w 513"/>
                <a:gd name="T91" fmla="*/ 130 h 290"/>
                <a:gd name="T92" fmla="*/ 124 w 513"/>
                <a:gd name="T93" fmla="*/ 112 h 290"/>
                <a:gd name="T94" fmla="*/ 99 w 513"/>
                <a:gd name="T95" fmla="*/ 103 h 290"/>
                <a:gd name="T96" fmla="*/ 82 w 513"/>
                <a:gd name="T97" fmla="*/ 99 h 290"/>
                <a:gd name="T98" fmla="*/ 82 w 513"/>
                <a:gd name="T99" fmla="*/ 107 h 290"/>
                <a:gd name="T100" fmla="*/ 58 w 513"/>
                <a:gd name="T101" fmla="*/ 119 h 290"/>
                <a:gd name="T102" fmla="*/ 58 w 513"/>
                <a:gd name="T103" fmla="*/ 147 h 290"/>
                <a:gd name="T104" fmla="*/ 26 w 513"/>
                <a:gd name="T105" fmla="*/ 139 h 290"/>
                <a:gd name="T106" fmla="*/ 9 w 513"/>
                <a:gd name="T107" fmla="*/ 6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3" h="290">
                  <a:moveTo>
                    <a:pt x="0" y="20"/>
                  </a:moveTo>
                  <a:cubicBezTo>
                    <a:pt x="16" y="15"/>
                    <a:pt x="31" y="11"/>
                    <a:pt x="46" y="7"/>
                  </a:cubicBezTo>
                  <a:cubicBezTo>
                    <a:pt x="52" y="5"/>
                    <a:pt x="57" y="3"/>
                    <a:pt x="63" y="1"/>
                  </a:cubicBezTo>
                  <a:cubicBezTo>
                    <a:pt x="70" y="0"/>
                    <a:pt x="80" y="8"/>
                    <a:pt x="86" y="11"/>
                  </a:cubicBezTo>
                  <a:cubicBezTo>
                    <a:pt x="102" y="19"/>
                    <a:pt x="118" y="28"/>
                    <a:pt x="135" y="36"/>
                  </a:cubicBezTo>
                  <a:cubicBezTo>
                    <a:pt x="146" y="41"/>
                    <a:pt x="156" y="53"/>
                    <a:pt x="165" y="62"/>
                  </a:cubicBezTo>
                  <a:cubicBezTo>
                    <a:pt x="169" y="65"/>
                    <a:pt x="173" y="69"/>
                    <a:pt x="178" y="71"/>
                  </a:cubicBezTo>
                  <a:cubicBezTo>
                    <a:pt x="184" y="73"/>
                    <a:pt x="193" y="69"/>
                    <a:pt x="199" y="68"/>
                  </a:cubicBezTo>
                  <a:cubicBezTo>
                    <a:pt x="214" y="65"/>
                    <a:pt x="231" y="73"/>
                    <a:pt x="246" y="69"/>
                  </a:cubicBezTo>
                  <a:cubicBezTo>
                    <a:pt x="250" y="68"/>
                    <a:pt x="254" y="62"/>
                    <a:pt x="258" y="64"/>
                  </a:cubicBezTo>
                  <a:cubicBezTo>
                    <a:pt x="264" y="67"/>
                    <a:pt x="267" y="73"/>
                    <a:pt x="273" y="76"/>
                  </a:cubicBezTo>
                  <a:cubicBezTo>
                    <a:pt x="279" y="79"/>
                    <a:pt x="281" y="83"/>
                    <a:pt x="285" y="87"/>
                  </a:cubicBezTo>
                  <a:cubicBezTo>
                    <a:pt x="289" y="92"/>
                    <a:pt x="291" y="90"/>
                    <a:pt x="297" y="90"/>
                  </a:cubicBezTo>
                  <a:cubicBezTo>
                    <a:pt x="298" y="98"/>
                    <a:pt x="296" y="116"/>
                    <a:pt x="305" y="122"/>
                  </a:cubicBezTo>
                  <a:cubicBezTo>
                    <a:pt x="309" y="125"/>
                    <a:pt x="314" y="121"/>
                    <a:pt x="317" y="127"/>
                  </a:cubicBezTo>
                  <a:cubicBezTo>
                    <a:pt x="321" y="133"/>
                    <a:pt x="322" y="140"/>
                    <a:pt x="325" y="146"/>
                  </a:cubicBezTo>
                  <a:cubicBezTo>
                    <a:pt x="331" y="159"/>
                    <a:pt x="350" y="150"/>
                    <a:pt x="360" y="150"/>
                  </a:cubicBezTo>
                  <a:cubicBezTo>
                    <a:pt x="366" y="151"/>
                    <a:pt x="371" y="156"/>
                    <a:pt x="370" y="161"/>
                  </a:cubicBezTo>
                  <a:cubicBezTo>
                    <a:pt x="369" y="170"/>
                    <a:pt x="382" y="169"/>
                    <a:pt x="387" y="171"/>
                  </a:cubicBezTo>
                  <a:cubicBezTo>
                    <a:pt x="387" y="167"/>
                    <a:pt x="381" y="162"/>
                    <a:pt x="385" y="159"/>
                  </a:cubicBezTo>
                  <a:cubicBezTo>
                    <a:pt x="388" y="156"/>
                    <a:pt x="388" y="153"/>
                    <a:pt x="392" y="151"/>
                  </a:cubicBezTo>
                  <a:cubicBezTo>
                    <a:pt x="396" y="149"/>
                    <a:pt x="392" y="146"/>
                    <a:pt x="394" y="143"/>
                  </a:cubicBezTo>
                  <a:cubicBezTo>
                    <a:pt x="397" y="140"/>
                    <a:pt x="403" y="137"/>
                    <a:pt x="407" y="134"/>
                  </a:cubicBezTo>
                  <a:cubicBezTo>
                    <a:pt x="411" y="132"/>
                    <a:pt x="416" y="132"/>
                    <a:pt x="419" y="127"/>
                  </a:cubicBezTo>
                  <a:cubicBezTo>
                    <a:pt x="420" y="125"/>
                    <a:pt x="422" y="121"/>
                    <a:pt x="425" y="120"/>
                  </a:cubicBezTo>
                  <a:cubicBezTo>
                    <a:pt x="429" y="119"/>
                    <a:pt x="429" y="122"/>
                    <a:pt x="433" y="118"/>
                  </a:cubicBezTo>
                  <a:cubicBezTo>
                    <a:pt x="437" y="113"/>
                    <a:pt x="442" y="113"/>
                    <a:pt x="447" y="116"/>
                  </a:cubicBezTo>
                  <a:cubicBezTo>
                    <a:pt x="441" y="122"/>
                    <a:pt x="424" y="130"/>
                    <a:pt x="423" y="139"/>
                  </a:cubicBezTo>
                  <a:cubicBezTo>
                    <a:pt x="426" y="139"/>
                    <a:pt x="428" y="143"/>
                    <a:pt x="432" y="143"/>
                  </a:cubicBezTo>
                  <a:cubicBezTo>
                    <a:pt x="436" y="143"/>
                    <a:pt x="438" y="139"/>
                    <a:pt x="441" y="144"/>
                  </a:cubicBezTo>
                  <a:cubicBezTo>
                    <a:pt x="444" y="154"/>
                    <a:pt x="455" y="147"/>
                    <a:pt x="460" y="153"/>
                  </a:cubicBezTo>
                  <a:cubicBezTo>
                    <a:pt x="461" y="151"/>
                    <a:pt x="461" y="149"/>
                    <a:pt x="460" y="148"/>
                  </a:cubicBezTo>
                  <a:cubicBezTo>
                    <a:pt x="462" y="148"/>
                    <a:pt x="463" y="147"/>
                    <a:pt x="464" y="146"/>
                  </a:cubicBezTo>
                  <a:cubicBezTo>
                    <a:pt x="465" y="144"/>
                    <a:pt x="464" y="140"/>
                    <a:pt x="463" y="138"/>
                  </a:cubicBezTo>
                  <a:cubicBezTo>
                    <a:pt x="466" y="143"/>
                    <a:pt x="470" y="143"/>
                    <a:pt x="474" y="148"/>
                  </a:cubicBezTo>
                  <a:cubicBezTo>
                    <a:pt x="478" y="152"/>
                    <a:pt x="483" y="150"/>
                    <a:pt x="484" y="157"/>
                  </a:cubicBezTo>
                  <a:cubicBezTo>
                    <a:pt x="491" y="153"/>
                    <a:pt x="494" y="161"/>
                    <a:pt x="500" y="162"/>
                  </a:cubicBezTo>
                  <a:cubicBezTo>
                    <a:pt x="501" y="162"/>
                    <a:pt x="504" y="160"/>
                    <a:pt x="505" y="162"/>
                  </a:cubicBezTo>
                  <a:cubicBezTo>
                    <a:pt x="505" y="163"/>
                    <a:pt x="509" y="162"/>
                    <a:pt x="510" y="163"/>
                  </a:cubicBezTo>
                  <a:cubicBezTo>
                    <a:pt x="513" y="164"/>
                    <a:pt x="506" y="167"/>
                    <a:pt x="505" y="168"/>
                  </a:cubicBezTo>
                  <a:cubicBezTo>
                    <a:pt x="500" y="172"/>
                    <a:pt x="501" y="174"/>
                    <a:pt x="494" y="171"/>
                  </a:cubicBezTo>
                  <a:cubicBezTo>
                    <a:pt x="494" y="173"/>
                    <a:pt x="495" y="175"/>
                    <a:pt x="496" y="177"/>
                  </a:cubicBezTo>
                  <a:cubicBezTo>
                    <a:pt x="494" y="177"/>
                    <a:pt x="477" y="178"/>
                    <a:pt x="486" y="183"/>
                  </a:cubicBezTo>
                  <a:cubicBezTo>
                    <a:pt x="484" y="183"/>
                    <a:pt x="481" y="184"/>
                    <a:pt x="479" y="185"/>
                  </a:cubicBezTo>
                  <a:cubicBezTo>
                    <a:pt x="477" y="186"/>
                    <a:pt x="477" y="183"/>
                    <a:pt x="474" y="184"/>
                  </a:cubicBezTo>
                  <a:cubicBezTo>
                    <a:pt x="472" y="185"/>
                    <a:pt x="470" y="182"/>
                    <a:pt x="468" y="181"/>
                  </a:cubicBezTo>
                  <a:cubicBezTo>
                    <a:pt x="464" y="180"/>
                    <a:pt x="460" y="181"/>
                    <a:pt x="456" y="183"/>
                  </a:cubicBezTo>
                  <a:cubicBezTo>
                    <a:pt x="448" y="186"/>
                    <a:pt x="447" y="181"/>
                    <a:pt x="439" y="179"/>
                  </a:cubicBezTo>
                  <a:cubicBezTo>
                    <a:pt x="432" y="177"/>
                    <a:pt x="448" y="169"/>
                    <a:pt x="447" y="166"/>
                  </a:cubicBezTo>
                  <a:cubicBezTo>
                    <a:pt x="446" y="165"/>
                    <a:pt x="444" y="166"/>
                    <a:pt x="444" y="165"/>
                  </a:cubicBezTo>
                  <a:cubicBezTo>
                    <a:pt x="442" y="161"/>
                    <a:pt x="438" y="158"/>
                    <a:pt x="435" y="156"/>
                  </a:cubicBezTo>
                  <a:cubicBezTo>
                    <a:pt x="433" y="159"/>
                    <a:pt x="421" y="172"/>
                    <a:pt x="416" y="169"/>
                  </a:cubicBezTo>
                  <a:cubicBezTo>
                    <a:pt x="413" y="166"/>
                    <a:pt x="406" y="162"/>
                    <a:pt x="405" y="169"/>
                  </a:cubicBezTo>
                  <a:cubicBezTo>
                    <a:pt x="404" y="172"/>
                    <a:pt x="407" y="182"/>
                    <a:pt x="410" y="184"/>
                  </a:cubicBezTo>
                  <a:cubicBezTo>
                    <a:pt x="404" y="187"/>
                    <a:pt x="396" y="180"/>
                    <a:pt x="390" y="186"/>
                  </a:cubicBezTo>
                  <a:cubicBezTo>
                    <a:pt x="394" y="189"/>
                    <a:pt x="399" y="185"/>
                    <a:pt x="401" y="189"/>
                  </a:cubicBezTo>
                  <a:cubicBezTo>
                    <a:pt x="399" y="189"/>
                    <a:pt x="398" y="189"/>
                    <a:pt x="396" y="189"/>
                  </a:cubicBezTo>
                  <a:cubicBezTo>
                    <a:pt x="397" y="191"/>
                    <a:pt x="398" y="193"/>
                    <a:pt x="400" y="194"/>
                  </a:cubicBezTo>
                  <a:cubicBezTo>
                    <a:pt x="397" y="191"/>
                    <a:pt x="396" y="192"/>
                    <a:pt x="398" y="195"/>
                  </a:cubicBezTo>
                  <a:cubicBezTo>
                    <a:pt x="397" y="195"/>
                    <a:pt x="394" y="195"/>
                    <a:pt x="394" y="198"/>
                  </a:cubicBezTo>
                  <a:cubicBezTo>
                    <a:pt x="395" y="202"/>
                    <a:pt x="396" y="207"/>
                    <a:pt x="389" y="207"/>
                  </a:cubicBezTo>
                  <a:cubicBezTo>
                    <a:pt x="383" y="207"/>
                    <a:pt x="378" y="204"/>
                    <a:pt x="372" y="205"/>
                  </a:cubicBezTo>
                  <a:cubicBezTo>
                    <a:pt x="369" y="205"/>
                    <a:pt x="367" y="206"/>
                    <a:pt x="365" y="208"/>
                  </a:cubicBezTo>
                  <a:cubicBezTo>
                    <a:pt x="362" y="210"/>
                    <a:pt x="364" y="210"/>
                    <a:pt x="363" y="213"/>
                  </a:cubicBezTo>
                  <a:cubicBezTo>
                    <a:pt x="363" y="218"/>
                    <a:pt x="365" y="219"/>
                    <a:pt x="369" y="221"/>
                  </a:cubicBezTo>
                  <a:cubicBezTo>
                    <a:pt x="374" y="222"/>
                    <a:pt x="373" y="225"/>
                    <a:pt x="377" y="226"/>
                  </a:cubicBezTo>
                  <a:cubicBezTo>
                    <a:pt x="380" y="227"/>
                    <a:pt x="387" y="226"/>
                    <a:pt x="389" y="230"/>
                  </a:cubicBezTo>
                  <a:cubicBezTo>
                    <a:pt x="390" y="232"/>
                    <a:pt x="387" y="234"/>
                    <a:pt x="387" y="237"/>
                  </a:cubicBezTo>
                  <a:cubicBezTo>
                    <a:pt x="387" y="240"/>
                    <a:pt x="389" y="242"/>
                    <a:pt x="390" y="245"/>
                  </a:cubicBezTo>
                  <a:cubicBezTo>
                    <a:pt x="393" y="248"/>
                    <a:pt x="397" y="250"/>
                    <a:pt x="399" y="253"/>
                  </a:cubicBezTo>
                  <a:cubicBezTo>
                    <a:pt x="402" y="259"/>
                    <a:pt x="396" y="264"/>
                    <a:pt x="394" y="268"/>
                  </a:cubicBezTo>
                  <a:cubicBezTo>
                    <a:pt x="392" y="275"/>
                    <a:pt x="390" y="278"/>
                    <a:pt x="391" y="285"/>
                  </a:cubicBezTo>
                  <a:cubicBezTo>
                    <a:pt x="392" y="290"/>
                    <a:pt x="387" y="287"/>
                    <a:pt x="384" y="286"/>
                  </a:cubicBezTo>
                  <a:cubicBezTo>
                    <a:pt x="379" y="285"/>
                    <a:pt x="378" y="289"/>
                    <a:pt x="372" y="286"/>
                  </a:cubicBezTo>
                  <a:cubicBezTo>
                    <a:pt x="370" y="284"/>
                    <a:pt x="368" y="283"/>
                    <a:pt x="365" y="282"/>
                  </a:cubicBezTo>
                  <a:cubicBezTo>
                    <a:pt x="362" y="281"/>
                    <a:pt x="360" y="283"/>
                    <a:pt x="357" y="283"/>
                  </a:cubicBezTo>
                  <a:cubicBezTo>
                    <a:pt x="352" y="282"/>
                    <a:pt x="352" y="277"/>
                    <a:pt x="351" y="272"/>
                  </a:cubicBezTo>
                  <a:cubicBezTo>
                    <a:pt x="350" y="267"/>
                    <a:pt x="355" y="261"/>
                    <a:pt x="349" y="259"/>
                  </a:cubicBezTo>
                  <a:cubicBezTo>
                    <a:pt x="345" y="258"/>
                    <a:pt x="342" y="258"/>
                    <a:pt x="338" y="255"/>
                  </a:cubicBezTo>
                  <a:cubicBezTo>
                    <a:pt x="332" y="251"/>
                    <a:pt x="328" y="253"/>
                    <a:pt x="321" y="252"/>
                  </a:cubicBezTo>
                  <a:cubicBezTo>
                    <a:pt x="314" y="250"/>
                    <a:pt x="308" y="244"/>
                    <a:pt x="303" y="241"/>
                  </a:cubicBezTo>
                  <a:cubicBezTo>
                    <a:pt x="297" y="237"/>
                    <a:pt x="291" y="235"/>
                    <a:pt x="286" y="231"/>
                  </a:cubicBezTo>
                  <a:cubicBezTo>
                    <a:pt x="281" y="228"/>
                    <a:pt x="275" y="228"/>
                    <a:pt x="270" y="225"/>
                  </a:cubicBezTo>
                  <a:cubicBezTo>
                    <a:pt x="264" y="220"/>
                    <a:pt x="258" y="216"/>
                    <a:pt x="251" y="212"/>
                  </a:cubicBezTo>
                  <a:cubicBezTo>
                    <a:pt x="242" y="206"/>
                    <a:pt x="221" y="199"/>
                    <a:pt x="217" y="188"/>
                  </a:cubicBezTo>
                  <a:cubicBezTo>
                    <a:pt x="212" y="177"/>
                    <a:pt x="204" y="171"/>
                    <a:pt x="199" y="161"/>
                  </a:cubicBezTo>
                  <a:cubicBezTo>
                    <a:pt x="196" y="155"/>
                    <a:pt x="192" y="151"/>
                    <a:pt x="187" y="149"/>
                  </a:cubicBezTo>
                  <a:cubicBezTo>
                    <a:pt x="185" y="148"/>
                    <a:pt x="182" y="146"/>
                    <a:pt x="180" y="147"/>
                  </a:cubicBezTo>
                  <a:cubicBezTo>
                    <a:pt x="178" y="148"/>
                    <a:pt x="180" y="151"/>
                    <a:pt x="177" y="151"/>
                  </a:cubicBezTo>
                  <a:cubicBezTo>
                    <a:pt x="171" y="152"/>
                    <a:pt x="165" y="148"/>
                    <a:pt x="158" y="149"/>
                  </a:cubicBezTo>
                  <a:cubicBezTo>
                    <a:pt x="153" y="149"/>
                    <a:pt x="149" y="147"/>
                    <a:pt x="145" y="145"/>
                  </a:cubicBezTo>
                  <a:cubicBezTo>
                    <a:pt x="141" y="143"/>
                    <a:pt x="137" y="129"/>
                    <a:pt x="142" y="130"/>
                  </a:cubicBezTo>
                  <a:cubicBezTo>
                    <a:pt x="140" y="125"/>
                    <a:pt x="134" y="127"/>
                    <a:pt x="134" y="121"/>
                  </a:cubicBezTo>
                  <a:cubicBezTo>
                    <a:pt x="133" y="114"/>
                    <a:pt x="130" y="112"/>
                    <a:pt x="124" y="112"/>
                  </a:cubicBezTo>
                  <a:cubicBezTo>
                    <a:pt x="121" y="112"/>
                    <a:pt x="112" y="113"/>
                    <a:pt x="111" y="110"/>
                  </a:cubicBezTo>
                  <a:cubicBezTo>
                    <a:pt x="109" y="104"/>
                    <a:pt x="103" y="106"/>
                    <a:pt x="99" y="103"/>
                  </a:cubicBezTo>
                  <a:cubicBezTo>
                    <a:pt x="97" y="102"/>
                    <a:pt x="92" y="96"/>
                    <a:pt x="90" y="98"/>
                  </a:cubicBezTo>
                  <a:cubicBezTo>
                    <a:pt x="86" y="100"/>
                    <a:pt x="87" y="100"/>
                    <a:pt x="82" y="99"/>
                  </a:cubicBezTo>
                  <a:cubicBezTo>
                    <a:pt x="75" y="98"/>
                    <a:pt x="89" y="111"/>
                    <a:pt x="91" y="113"/>
                  </a:cubicBezTo>
                  <a:cubicBezTo>
                    <a:pt x="87" y="112"/>
                    <a:pt x="87" y="107"/>
                    <a:pt x="82" y="107"/>
                  </a:cubicBezTo>
                  <a:cubicBezTo>
                    <a:pt x="80" y="107"/>
                    <a:pt x="72" y="104"/>
                    <a:pt x="74" y="109"/>
                  </a:cubicBezTo>
                  <a:cubicBezTo>
                    <a:pt x="76" y="120"/>
                    <a:pt x="63" y="114"/>
                    <a:pt x="58" y="119"/>
                  </a:cubicBezTo>
                  <a:cubicBezTo>
                    <a:pt x="51" y="127"/>
                    <a:pt x="51" y="129"/>
                    <a:pt x="55" y="138"/>
                  </a:cubicBezTo>
                  <a:cubicBezTo>
                    <a:pt x="56" y="141"/>
                    <a:pt x="60" y="144"/>
                    <a:pt x="58" y="147"/>
                  </a:cubicBezTo>
                  <a:cubicBezTo>
                    <a:pt x="57" y="149"/>
                    <a:pt x="49" y="147"/>
                    <a:pt x="47" y="147"/>
                  </a:cubicBezTo>
                  <a:cubicBezTo>
                    <a:pt x="38" y="147"/>
                    <a:pt x="27" y="149"/>
                    <a:pt x="26" y="139"/>
                  </a:cubicBezTo>
                  <a:cubicBezTo>
                    <a:pt x="24" y="125"/>
                    <a:pt x="20" y="112"/>
                    <a:pt x="17" y="98"/>
                  </a:cubicBezTo>
                  <a:cubicBezTo>
                    <a:pt x="14" y="86"/>
                    <a:pt x="11" y="73"/>
                    <a:pt x="9" y="60"/>
                  </a:cubicBezTo>
                  <a:cubicBezTo>
                    <a:pt x="6" y="47"/>
                    <a:pt x="5" y="33"/>
                    <a:pt x="0" y="2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44">
              <a:extLst>
                <a:ext uri="{FF2B5EF4-FFF2-40B4-BE49-F238E27FC236}">
                  <a16:creationId xmlns:a16="http://schemas.microsoft.com/office/drawing/2014/main" id="{F95591F5-ADA2-4100-8020-D3ADAA58C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9523" y="1852662"/>
              <a:ext cx="1112274" cy="631772"/>
            </a:xfrm>
            <a:custGeom>
              <a:avLst/>
              <a:gdLst>
                <a:gd name="T0" fmla="*/ 46 w 513"/>
                <a:gd name="T1" fmla="*/ 7 h 290"/>
                <a:gd name="T2" fmla="*/ 86 w 513"/>
                <a:gd name="T3" fmla="*/ 11 h 290"/>
                <a:gd name="T4" fmla="*/ 165 w 513"/>
                <a:gd name="T5" fmla="*/ 62 h 290"/>
                <a:gd name="T6" fmla="*/ 199 w 513"/>
                <a:gd name="T7" fmla="*/ 68 h 290"/>
                <a:gd name="T8" fmla="*/ 258 w 513"/>
                <a:gd name="T9" fmla="*/ 64 h 290"/>
                <a:gd name="T10" fmla="*/ 285 w 513"/>
                <a:gd name="T11" fmla="*/ 87 h 290"/>
                <a:gd name="T12" fmla="*/ 305 w 513"/>
                <a:gd name="T13" fmla="*/ 122 h 290"/>
                <a:gd name="T14" fmla="*/ 325 w 513"/>
                <a:gd name="T15" fmla="*/ 146 h 290"/>
                <a:gd name="T16" fmla="*/ 370 w 513"/>
                <a:gd name="T17" fmla="*/ 161 h 290"/>
                <a:gd name="T18" fmla="*/ 385 w 513"/>
                <a:gd name="T19" fmla="*/ 159 h 290"/>
                <a:gd name="T20" fmla="*/ 394 w 513"/>
                <a:gd name="T21" fmla="*/ 143 h 290"/>
                <a:gd name="T22" fmla="*/ 419 w 513"/>
                <a:gd name="T23" fmla="*/ 127 h 290"/>
                <a:gd name="T24" fmla="*/ 433 w 513"/>
                <a:gd name="T25" fmla="*/ 118 h 290"/>
                <a:gd name="T26" fmla="*/ 423 w 513"/>
                <a:gd name="T27" fmla="*/ 139 h 290"/>
                <a:gd name="T28" fmla="*/ 441 w 513"/>
                <a:gd name="T29" fmla="*/ 144 h 290"/>
                <a:gd name="T30" fmla="*/ 460 w 513"/>
                <a:gd name="T31" fmla="*/ 148 h 290"/>
                <a:gd name="T32" fmla="*/ 463 w 513"/>
                <a:gd name="T33" fmla="*/ 138 h 290"/>
                <a:gd name="T34" fmla="*/ 484 w 513"/>
                <a:gd name="T35" fmla="*/ 157 h 290"/>
                <a:gd name="T36" fmla="*/ 505 w 513"/>
                <a:gd name="T37" fmla="*/ 162 h 290"/>
                <a:gd name="T38" fmla="*/ 505 w 513"/>
                <a:gd name="T39" fmla="*/ 168 h 290"/>
                <a:gd name="T40" fmla="*/ 496 w 513"/>
                <a:gd name="T41" fmla="*/ 177 h 290"/>
                <a:gd name="T42" fmla="*/ 479 w 513"/>
                <a:gd name="T43" fmla="*/ 185 h 290"/>
                <a:gd name="T44" fmla="*/ 468 w 513"/>
                <a:gd name="T45" fmla="*/ 181 h 290"/>
                <a:gd name="T46" fmla="*/ 439 w 513"/>
                <a:gd name="T47" fmla="*/ 179 h 290"/>
                <a:gd name="T48" fmla="*/ 444 w 513"/>
                <a:gd name="T49" fmla="*/ 165 h 290"/>
                <a:gd name="T50" fmla="*/ 416 w 513"/>
                <a:gd name="T51" fmla="*/ 169 h 290"/>
                <a:gd name="T52" fmla="*/ 410 w 513"/>
                <a:gd name="T53" fmla="*/ 184 h 290"/>
                <a:gd name="T54" fmla="*/ 401 w 513"/>
                <a:gd name="T55" fmla="*/ 189 h 290"/>
                <a:gd name="T56" fmla="*/ 400 w 513"/>
                <a:gd name="T57" fmla="*/ 194 h 290"/>
                <a:gd name="T58" fmla="*/ 394 w 513"/>
                <a:gd name="T59" fmla="*/ 198 h 290"/>
                <a:gd name="T60" fmla="*/ 372 w 513"/>
                <a:gd name="T61" fmla="*/ 205 h 290"/>
                <a:gd name="T62" fmla="*/ 363 w 513"/>
                <a:gd name="T63" fmla="*/ 213 h 290"/>
                <a:gd name="T64" fmla="*/ 377 w 513"/>
                <a:gd name="T65" fmla="*/ 226 h 290"/>
                <a:gd name="T66" fmla="*/ 387 w 513"/>
                <a:gd name="T67" fmla="*/ 237 h 290"/>
                <a:gd name="T68" fmla="*/ 399 w 513"/>
                <a:gd name="T69" fmla="*/ 253 h 290"/>
                <a:gd name="T70" fmla="*/ 391 w 513"/>
                <a:gd name="T71" fmla="*/ 285 h 290"/>
                <a:gd name="T72" fmla="*/ 372 w 513"/>
                <a:gd name="T73" fmla="*/ 286 h 290"/>
                <a:gd name="T74" fmla="*/ 357 w 513"/>
                <a:gd name="T75" fmla="*/ 283 h 290"/>
                <a:gd name="T76" fmla="*/ 349 w 513"/>
                <a:gd name="T77" fmla="*/ 259 h 290"/>
                <a:gd name="T78" fmla="*/ 321 w 513"/>
                <a:gd name="T79" fmla="*/ 252 h 290"/>
                <a:gd name="T80" fmla="*/ 286 w 513"/>
                <a:gd name="T81" fmla="*/ 231 h 290"/>
                <a:gd name="T82" fmla="*/ 251 w 513"/>
                <a:gd name="T83" fmla="*/ 212 h 290"/>
                <a:gd name="T84" fmla="*/ 199 w 513"/>
                <a:gd name="T85" fmla="*/ 161 h 290"/>
                <a:gd name="T86" fmla="*/ 180 w 513"/>
                <a:gd name="T87" fmla="*/ 147 h 290"/>
                <a:gd name="T88" fmla="*/ 158 w 513"/>
                <a:gd name="T89" fmla="*/ 149 h 290"/>
                <a:gd name="T90" fmla="*/ 142 w 513"/>
                <a:gd name="T91" fmla="*/ 130 h 290"/>
                <a:gd name="T92" fmla="*/ 124 w 513"/>
                <a:gd name="T93" fmla="*/ 112 h 290"/>
                <a:gd name="T94" fmla="*/ 99 w 513"/>
                <a:gd name="T95" fmla="*/ 103 h 290"/>
                <a:gd name="T96" fmla="*/ 82 w 513"/>
                <a:gd name="T97" fmla="*/ 99 h 290"/>
                <a:gd name="T98" fmla="*/ 82 w 513"/>
                <a:gd name="T99" fmla="*/ 107 h 290"/>
                <a:gd name="T100" fmla="*/ 58 w 513"/>
                <a:gd name="T101" fmla="*/ 119 h 290"/>
                <a:gd name="T102" fmla="*/ 58 w 513"/>
                <a:gd name="T103" fmla="*/ 147 h 290"/>
                <a:gd name="T104" fmla="*/ 26 w 513"/>
                <a:gd name="T105" fmla="*/ 139 h 290"/>
                <a:gd name="T106" fmla="*/ 9 w 513"/>
                <a:gd name="T107" fmla="*/ 6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3" h="290">
                  <a:moveTo>
                    <a:pt x="0" y="20"/>
                  </a:moveTo>
                  <a:cubicBezTo>
                    <a:pt x="16" y="15"/>
                    <a:pt x="31" y="11"/>
                    <a:pt x="46" y="7"/>
                  </a:cubicBezTo>
                  <a:cubicBezTo>
                    <a:pt x="52" y="5"/>
                    <a:pt x="57" y="3"/>
                    <a:pt x="63" y="1"/>
                  </a:cubicBezTo>
                  <a:cubicBezTo>
                    <a:pt x="70" y="0"/>
                    <a:pt x="80" y="8"/>
                    <a:pt x="86" y="11"/>
                  </a:cubicBezTo>
                  <a:cubicBezTo>
                    <a:pt x="102" y="19"/>
                    <a:pt x="118" y="28"/>
                    <a:pt x="135" y="36"/>
                  </a:cubicBezTo>
                  <a:cubicBezTo>
                    <a:pt x="146" y="41"/>
                    <a:pt x="156" y="53"/>
                    <a:pt x="165" y="62"/>
                  </a:cubicBezTo>
                  <a:cubicBezTo>
                    <a:pt x="169" y="65"/>
                    <a:pt x="173" y="69"/>
                    <a:pt x="178" y="71"/>
                  </a:cubicBezTo>
                  <a:cubicBezTo>
                    <a:pt x="184" y="73"/>
                    <a:pt x="193" y="69"/>
                    <a:pt x="199" y="68"/>
                  </a:cubicBezTo>
                  <a:cubicBezTo>
                    <a:pt x="214" y="65"/>
                    <a:pt x="231" y="73"/>
                    <a:pt x="246" y="69"/>
                  </a:cubicBezTo>
                  <a:cubicBezTo>
                    <a:pt x="250" y="68"/>
                    <a:pt x="254" y="62"/>
                    <a:pt x="258" y="64"/>
                  </a:cubicBezTo>
                  <a:cubicBezTo>
                    <a:pt x="264" y="67"/>
                    <a:pt x="267" y="73"/>
                    <a:pt x="273" y="76"/>
                  </a:cubicBezTo>
                  <a:cubicBezTo>
                    <a:pt x="279" y="79"/>
                    <a:pt x="281" y="83"/>
                    <a:pt x="285" y="87"/>
                  </a:cubicBezTo>
                  <a:cubicBezTo>
                    <a:pt x="289" y="92"/>
                    <a:pt x="291" y="90"/>
                    <a:pt x="297" y="90"/>
                  </a:cubicBezTo>
                  <a:cubicBezTo>
                    <a:pt x="298" y="98"/>
                    <a:pt x="296" y="116"/>
                    <a:pt x="305" y="122"/>
                  </a:cubicBezTo>
                  <a:cubicBezTo>
                    <a:pt x="309" y="125"/>
                    <a:pt x="314" y="121"/>
                    <a:pt x="317" y="127"/>
                  </a:cubicBezTo>
                  <a:cubicBezTo>
                    <a:pt x="321" y="133"/>
                    <a:pt x="322" y="140"/>
                    <a:pt x="325" y="146"/>
                  </a:cubicBezTo>
                  <a:cubicBezTo>
                    <a:pt x="331" y="159"/>
                    <a:pt x="350" y="150"/>
                    <a:pt x="360" y="150"/>
                  </a:cubicBezTo>
                  <a:cubicBezTo>
                    <a:pt x="366" y="151"/>
                    <a:pt x="371" y="156"/>
                    <a:pt x="370" y="161"/>
                  </a:cubicBezTo>
                  <a:cubicBezTo>
                    <a:pt x="369" y="170"/>
                    <a:pt x="382" y="169"/>
                    <a:pt x="387" y="171"/>
                  </a:cubicBezTo>
                  <a:cubicBezTo>
                    <a:pt x="387" y="167"/>
                    <a:pt x="381" y="162"/>
                    <a:pt x="385" y="159"/>
                  </a:cubicBezTo>
                  <a:cubicBezTo>
                    <a:pt x="388" y="156"/>
                    <a:pt x="388" y="153"/>
                    <a:pt x="392" y="151"/>
                  </a:cubicBezTo>
                  <a:cubicBezTo>
                    <a:pt x="396" y="149"/>
                    <a:pt x="392" y="146"/>
                    <a:pt x="394" y="143"/>
                  </a:cubicBezTo>
                  <a:cubicBezTo>
                    <a:pt x="397" y="140"/>
                    <a:pt x="403" y="137"/>
                    <a:pt x="407" y="134"/>
                  </a:cubicBezTo>
                  <a:cubicBezTo>
                    <a:pt x="411" y="132"/>
                    <a:pt x="416" y="132"/>
                    <a:pt x="419" y="127"/>
                  </a:cubicBezTo>
                  <a:cubicBezTo>
                    <a:pt x="420" y="125"/>
                    <a:pt x="422" y="121"/>
                    <a:pt x="425" y="120"/>
                  </a:cubicBezTo>
                  <a:cubicBezTo>
                    <a:pt x="429" y="119"/>
                    <a:pt x="429" y="122"/>
                    <a:pt x="433" y="118"/>
                  </a:cubicBezTo>
                  <a:cubicBezTo>
                    <a:pt x="437" y="113"/>
                    <a:pt x="442" y="113"/>
                    <a:pt x="447" y="116"/>
                  </a:cubicBezTo>
                  <a:cubicBezTo>
                    <a:pt x="441" y="122"/>
                    <a:pt x="424" y="130"/>
                    <a:pt x="423" y="139"/>
                  </a:cubicBezTo>
                  <a:cubicBezTo>
                    <a:pt x="426" y="139"/>
                    <a:pt x="428" y="143"/>
                    <a:pt x="432" y="143"/>
                  </a:cubicBezTo>
                  <a:cubicBezTo>
                    <a:pt x="436" y="143"/>
                    <a:pt x="438" y="139"/>
                    <a:pt x="441" y="144"/>
                  </a:cubicBezTo>
                  <a:cubicBezTo>
                    <a:pt x="444" y="154"/>
                    <a:pt x="455" y="147"/>
                    <a:pt x="460" y="153"/>
                  </a:cubicBezTo>
                  <a:cubicBezTo>
                    <a:pt x="461" y="151"/>
                    <a:pt x="461" y="149"/>
                    <a:pt x="460" y="148"/>
                  </a:cubicBezTo>
                  <a:cubicBezTo>
                    <a:pt x="462" y="148"/>
                    <a:pt x="463" y="147"/>
                    <a:pt x="464" y="146"/>
                  </a:cubicBezTo>
                  <a:cubicBezTo>
                    <a:pt x="465" y="144"/>
                    <a:pt x="464" y="140"/>
                    <a:pt x="463" y="138"/>
                  </a:cubicBezTo>
                  <a:cubicBezTo>
                    <a:pt x="466" y="143"/>
                    <a:pt x="470" y="143"/>
                    <a:pt x="474" y="148"/>
                  </a:cubicBezTo>
                  <a:cubicBezTo>
                    <a:pt x="478" y="152"/>
                    <a:pt x="483" y="150"/>
                    <a:pt x="484" y="157"/>
                  </a:cubicBezTo>
                  <a:cubicBezTo>
                    <a:pt x="491" y="153"/>
                    <a:pt x="494" y="161"/>
                    <a:pt x="500" y="162"/>
                  </a:cubicBezTo>
                  <a:cubicBezTo>
                    <a:pt x="501" y="162"/>
                    <a:pt x="504" y="160"/>
                    <a:pt x="505" y="162"/>
                  </a:cubicBezTo>
                  <a:cubicBezTo>
                    <a:pt x="505" y="163"/>
                    <a:pt x="509" y="162"/>
                    <a:pt x="510" y="163"/>
                  </a:cubicBezTo>
                  <a:cubicBezTo>
                    <a:pt x="513" y="164"/>
                    <a:pt x="506" y="167"/>
                    <a:pt x="505" y="168"/>
                  </a:cubicBezTo>
                  <a:cubicBezTo>
                    <a:pt x="500" y="172"/>
                    <a:pt x="501" y="174"/>
                    <a:pt x="494" y="171"/>
                  </a:cubicBezTo>
                  <a:cubicBezTo>
                    <a:pt x="494" y="173"/>
                    <a:pt x="495" y="175"/>
                    <a:pt x="496" y="177"/>
                  </a:cubicBezTo>
                  <a:cubicBezTo>
                    <a:pt x="494" y="177"/>
                    <a:pt x="477" y="178"/>
                    <a:pt x="486" y="183"/>
                  </a:cubicBezTo>
                  <a:cubicBezTo>
                    <a:pt x="484" y="183"/>
                    <a:pt x="481" y="184"/>
                    <a:pt x="479" y="185"/>
                  </a:cubicBezTo>
                  <a:cubicBezTo>
                    <a:pt x="477" y="186"/>
                    <a:pt x="477" y="183"/>
                    <a:pt x="474" y="184"/>
                  </a:cubicBezTo>
                  <a:cubicBezTo>
                    <a:pt x="472" y="185"/>
                    <a:pt x="470" y="182"/>
                    <a:pt x="468" y="181"/>
                  </a:cubicBezTo>
                  <a:cubicBezTo>
                    <a:pt x="464" y="180"/>
                    <a:pt x="460" y="181"/>
                    <a:pt x="456" y="183"/>
                  </a:cubicBezTo>
                  <a:cubicBezTo>
                    <a:pt x="448" y="186"/>
                    <a:pt x="447" y="181"/>
                    <a:pt x="439" y="179"/>
                  </a:cubicBezTo>
                  <a:cubicBezTo>
                    <a:pt x="432" y="177"/>
                    <a:pt x="448" y="169"/>
                    <a:pt x="447" y="166"/>
                  </a:cubicBezTo>
                  <a:cubicBezTo>
                    <a:pt x="446" y="165"/>
                    <a:pt x="444" y="166"/>
                    <a:pt x="444" y="165"/>
                  </a:cubicBezTo>
                  <a:cubicBezTo>
                    <a:pt x="442" y="161"/>
                    <a:pt x="438" y="158"/>
                    <a:pt x="435" y="156"/>
                  </a:cubicBezTo>
                  <a:cubicBezTo>
                    <a:pt x="433" y="159"/>
                    <a:pt x="421" y="172"/>
                    <a:pt x="416" y="169"/>
                  </a:cubicBezTo>
                  <a:cubicBezTo>
                    <a:pt x="413" y="166"/>
                    <a:pt x="406" y="162"/>
                    <a:pt x="405" y="169"/>
                  </a:cubicBezTo>
                  <a:cubicBezTo>
                    <a:pt x="404" y="172"/>
                    <a:pt x="407" y="182"/>
                    <a:pt x="410" y="184"/>
                  </a:cubicBezTo>
                  <a:cubicBezTo>
                    <a:pt x="404" y="187"/>
                    <a:pt x="396" y="180"/>
                    <a:pt x="390" y="186"/>
                  </a:cubicBezTo>
                  <a:cubicBezTo>
                    <a:pt x="394" y="189"/>
                    <a:pt x="399" y="185"/>
                    <a:pt x="401" y="189"/>
                  </a:cubicBezTo>
                  <a:cubicBezTo>
                    <a:pt x="399" y="189"/>
                    <a:pt x="398" y="189"/>
                    <a:pt x="396" y="189"/>
                  </a:cubicBezTo>
                  <a:cubicBezTo>
                    <a:pt x="397" y="191"/>
                    <a:pt x="398" y="193"/>
                    <a:pt x="400" y="194"/>
                  </a:cubicBezTo>
                  <a:cubicBezTo>
                    <a:pt x="397" y="191"/>
                    <a:pt x="396" y="192"/>
                    <a:pt x="398" y="195"/>
                  </a:cubicBezTo>
                  <a:cubicBezTo>
                    <a:pt x="397" y="195"/>
                    <a:pt x="394" y="195"/>
                    <a:pt x="394" y="198"/>
                  </a:cubicBezTo>
                  <a:cubicBezTo>
                    <a:pt x="395" y="202"/>
                    <a:pt x="396" y="207"/>
                    <a:pt x="389" y="207"/>
                  </a:cubicBezTo>
                  <a:cubicBezTo>
                    <a:pt x="383" y="207"/>
                    <a:pt x="378" y="204"/>
                    <a:pt x="372" y="205"/>
                  </a:cubicBezTo>
                  <a:cubicBezTo>
                    <a:pt x="369" y="205"/>
                    <a:pt x="367" y="206"/>
                    <a:pt x="365" y="208"/>
                  </a:cubicBezTo>
                  <a:cubicBezTo>
                    <a:pt x="362" y="210"/>
                    <a:pt x="364" y="210"/>
                    <a:pt x="363" y="213"/>
                  </a:cubicBezTo>
                  <a:cubicBezTo>
                    <a:pt x="363" y="218"/>
                    <a:pt x="365" y="219"/>
                    <a:pt x="369" y="221"/>
                  </a:cubicBezTo>
                  <a:cubicBezTo>
                    <a:pt x="374" y="222"/>
                    <a:pt x="373" y="225"/>
                    <a:pt x="377" y="226"/>
                  </a:cubicBezTo>
                  <a:cubicBezTo>
                    <a:pt x="380" y="227"/>
                    <a:pt x="387" y="226"/>
                    <a:pt x="389" y="230"/>
                  </a:cubicBezTo>
                  <a:cubicBezTo>
                    <a:pt x="390" y="232"/>
                    <a:pt x="387" y="234"/>
                    <a:pt x="387" y="237"/>
                  </a:cubicBezTo>
                  <a:cubicBezTo>
                    <a:pt x="387" y="240"/>
                    <a:pt x="389" y="242"/>
                    <a:pt x="390" y="245"/>
                  </a:cubicBezTo>
                  <a:cubicBezTo>
                    <a:pt x="393" y="248"/>
                    <a:pt x="397" y="250"/>
                    <a:pt x="399" y="253"/>
                  </a:cubicBezTo>
                  <a:cubicBezTo>
                    <a:pt x="402" y="259"/>
                    <a:pt x="396" y="264"/>
                    <a:pt x="394" y="268"/>
                  </a:cubicBezTo>
                  <a:cubicBezTo>
                    <a:pt x="392" y="275"/>
                    <a:pt x="390" y="278"/>
                    <a:pt x="391" y="285"/>
                  </a:cubicBezTo>
                  <a:cubicBezTo>
                    <a:pt x="392" y="290"/>
                    <a:pt x="387" y="287"/>
                    <a:pt x="384" y="286"/>
                  </a:cubicBezTo>
                  <a:cubicBezTo>
                    <a:pt x="379" y="285"/>
                    <a:pt x="378" y="289"/>
                    <a:pt x="372" y="286"/>
                  </a:cubicBezTo>
                  <a:cubicBezTo>
                    <a:pt x="370" y="284"/>
                    <a:pt x="368" y="283"/>
                    <a:pt x="365" y="282"/>
                  </a:cubicBezTo>
                  <a:cubicBezTo>
                    <a:pt x="362" y="281"/>
                    <a:pt x="360" y="283"/>
                    <a:pt x="357" y="283"/>
                  </a:cubicBezTo>
                  <a:cubicBezTo>
                    <a:pt x="352" y="282"/>
                    <a:pt x="352" y="277"/>
                    <a:pt x="351" y="272"/>
                  </a:cubicBezTo>
                  <a:cubicBezTo>
                    <a:pt x="350" y="267"/>
                    <a:pt x="355" y="261"/>
                    <a:pt x="349" y="259"/>
                  </a:cubicBezTo>
                  <a:cubicBezTo>
                    <a:pt x="345" y="258"/>
                    <a:pt x="342" y="258"/>
                    <a:pt x="338" y="255"/>
                  </a:cubicBezTo>
                  <a:cubicBezTo>
                    <a:pt x="332" y="251"/>
                    <a:pt x="328" y="253"/>
                    <a:pt x="321" y="252"/>
                  </a:cubicBezTo>
                  <a:cubicBezTo>
                    <a:pt x="314" y="250"/>
                    <a:pt x="308" y="244"/>
                    <a:pt x="303" y="241"/>
                  </a:cubicBezTo>
                  <a:cubicBezTo>
                    <a:pt x="297" y="237"/>
                    <a:pt x="291" y="235"/>
                    <a:pt x="286" y="231"/>
                  </a:cubicBezTo>
                  <a:cubicBezTo>
                    <a:pt x="281" y="228"/>
                    <a:pt x="275" y="228"/>
                    <a:pt x="270" y="225"/>
                  </a:cubicBezTo>
                  <a:cubicBezTo>
                    <a:pt x="264" y="220"/>
                    <a:pt x="258" y="216"/>
                    <a:pt x="251" y="212"/>
                  </a:cubicBezTo>
                  <a:cubicBezTo>
                    <a:pt x="242" y="206"/>
                    <a:pt x="221" y="199"/>
                    <a:pt x="217" y="188"/>
                  </a:cubicBezTo>
                  <a:cubicBezTo>
                    <a:pt x="212" y="177"/>
                    <a:pt x="204" y="171"/>
                    <a:pt x="199" y="161"/>
                  </a:cubicBezTo>
                  <a:cubicBezTo>
                    <a:pt x="196" y="155"/>
                    <a:pt x="192" y="151"/>
                    <a:pt x="187" y="149"/>
                  </a:cubicBezTo>
                  <a:cubicBezTo>
                    <a:pt x="185" y="148"/>
                    <a:pt x="182" y="146"/>
                    <a:pt x="180" y="147"/>
                  </a:cubicBezTo>
                  <a:cubicBezTo>
                    <a:pt x="178" y="148"/>
                    <a:pt x="180" y="151"/>
                    <a:pt x="177" y="151"/>
                  </a:cubicBezTo>
                  <a:cubicBezTo>
                    <a:pt x="171" y="152"/>
                    <a:pt x="165" y="148"/>
                    <a:pt x="158" y="149"/>
                  </a:cubicBezTo>
                  <a:cubicBezTo>
                    <a:pt x="153" y="149"/>
                    <a:pt x="149" y="147"/>
                    <a:pt x="145" y="145"/>
                  </a:cubicBezTo>
                  <a:cubicBezTo>
                    <a:pt x="141" y="143"/>
                    <a:pt x="137" y="129"/>
                    <a:pt x="142" y="130"/>
                  </a:cubicBezTo>
                  <a:cubicBezTo>
                    <a:pt x="140" y="125"/>
                    <a:pt x="134" y="127"/>
                    <a:pt x="134" y="121"/>
                  </a:cubicBezTo>
                  <a:cubicBezTo>
                    <a:pt x="133" y="114"/>
                    <a:pt x="130" y="112"/>
                    <a:pt x="124" y="112"/>
                  </a:cubicBezTo>
                  <a:cubicBezTo>
                    <a:pt x="121" y="112"/>
                    <a:pt x="112" y="113"/>
                    <a:pt x="111" y="110"/>
                  </a:cubicBezTo>
                  <a:cubicBezTo>
                    <a:pt x="109" y="104"/>
                    <a:pt x="103" y="106"/>
                    <a:pt x="99" y="103"/>
                  </a:cubicBezTo>
                  <a:cubicBezTo>
                    <a:pt x="97" y="102"/>
                    <a:pt x="92" y="96"/>
                    <a:pt x="90" y="98"/>
                  </a:cubicBezTo>
                  <a:cubicBezTo>
                    <a:pt x="86" y="100"/>
                    <a:pt x="87" y="100"/>
                    <a:pt x="82" y="99"/>
                  </a:cubicBezTo>
                  <a:cubicBezTo>
                    <a:pt x="75" y="98"/>
                    <a:pt x="89" y="111"/>
                    <a:pt x="91" y="113"/>
                  </a:cubicBezTo>
                  <a:cubicBezTo>
                    <a:pt x="87" y="112"/>
                    <a:pt x="87" y="107"/>
                    <a:pt x="82" y="107"/>
                  </a:cubicBezTo>
                  <a:cubicBezTo>
                    <a:pt x="80" y="107"/>
                    <a:pt x="72" y="104"/>
                    <a:pt x="74" y="109"/>
                  </a:cubicBezTo>
                  <a:cubicBezTo>
                    <a:pt x="76" y="120"/>
                    <a:pt x="63" y="114"/>
                    <a:pt x="58" y="119"/>
                  </a:cubicBezTo>
                  <a:cubicBezTo>
                    <a:pt x="51" y="127"/>
                    <a:pt x="51" y="129"/>
                    <a:pt x="55" y="138"/>
                  </a:cubicBezTo>
                  <a:cubicBezTo>
                    <a:pt x="56" y="141"/>
                    <a:pt x="60" y="144"/>
                    <a:pt x="58" y="147"/>
                  </a:cubicBezTo>
                  <a:cubicBezTo>
                    <a:pt x="57" y="149"/>
                    <a:pt x="49" y="147"/>
                    <a:pt x="47" y="147"/>
                  </a:cubicBezTo>
                  <a:cubicBezTo>
                    <a:pt x="38" y="147"/>
                    <a:pt x="27" y="149"/>
                    <a:pt x="26" y="139"/>
                  </a:cubicBezTo>
                  <a:cubicBezTo>
                    <a:pt x="24" y="125"/>
                    <a:pt x="20" y="112"/>
                    <a:pt x="17" y="98"/>
                  </a:cubicBezTo>
                  <a:cubicBezTo>
                    <a:pt x="14" y="86"/>
                    <a:pt x="11" y="73"/>
                    <a:pt x="9" y="60"/>
                  </a:cubicBezTo>
                  <a:cubicBezTo>
                    <a:pt x="6" y="47"/>
                    <a:pt x="5" y="33"/>
                    <a:pt x="0" y="2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45">
              <a:extLst>
                <a:ext uri="{FF2B5EF4-FFF2-40B4-BE49-F238E27FC236}">
                  <a16:creationId xmlns:a16="http://schemas.microsoft.com/office/drawing/2014/main" id="{E60294FC-D194-43E3-A5D1-CB120F33A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720" y="2479984"/>
              <a:ext cx="992148" cy="1005496"/>
            </a:xfrm>
            <a:custGeom>
              <a:avLst/>
              <a:gdLst>
                <a:gd name="T0" fmla="*/ 78 w 457"/>
                <a:gd name="T1" fmla="*/ 265 h 464"/>
                <a:gd name="T2" fmla="*/ 124 w 457"/>
                <a:gd name="T3" fmla="*/ 263 h 464"/>
                <a:gd name="T4" fmla="*/ 157 w 457"/>
                <a:gd name="T5" fmla="*/ 244 h 464"/>
                <a:gd name="T6" fmla="*/ 169 w 457"/>
                <a:gd name="T7" fmla="*/ 203 h 464"/>
                <a:gd name="T8" fmla="*/ 188 w 457"/>
                <a:gd name="T9" fmla="*/ 195 h 464"/>
                <a:gd name="T10" fmla="*/ 221 w 457"/>
                <a:gd name="T11" fmla="*/ 190 h 464"/>
                <a:gd name="T12" fmla="*/ 235 w 457"/>
                <a:gd name="T13" fmla="*/ 157 h 464"/>
                <a:gd name="T14" fmla="*/ 251 w 457"/>
                <a:gd name="T15" fmla="*/ 138 h 464"/>
                <a:gd name="T16" fmla="*/ 247 w 457"/>
                <a:gd name="T17" fmla="*/ 109 h 464"/>
                <a:gd name="T18" fmla="*/ 267 w 457"/>
                <a:gd name="T19" fmla="*/ 91 h 464"/>
                <a:gd name="T20" fmla="*/ 279 w 457"/>
                <a:gd name="T21" fmla="*/ 74 h 464"/>
                <a:gd name="T22" fmla="*/ 279 w 457"/>
                <a:gd name="T23" fmla="*/ 62 h 464"/>
                <a:gd name="T24" fmla="*/ 264 w 457"/>
                <a:gd name="T25" fmla="*/ 40 h 464"/>
                <a:gd name="T26" fmla="*/ 292 w 457"/>
                <a:gd name="T27" fmla="*/ 13 h 464"/>
                <a:gd name="T28" fmla="*/ 340 w 457"/>
                <a:gd name="T29" fmla="*/ 10 h 464"/>
                <a:gd name="T30" fmla="*/ 391 w 457"/>
                <a:gd name="T31" fmla="*/ 18 h 464"/>
                <a:gd name="T32" fmla="*/ 408 w 457"/>
                <a:gd name="T33" fmla="*/ 46 h 464"/>
                <a:gd name="T34" fmla="*/ 439 w 457"/>
                <a:gd name="T35" fmla="*/ 73 h 464"/>
                <a:gd name="T36" fmla="*/ 410 w 457"/>
                <a:gd name="T37" fmla="*/ 89 h 464"/>
                <a:gd name="T38" fmla="*/ 354 w 457"/>
                <a:gd name="T39" fmla="*/ 100 h 464"/>
                <a:gd name="T40" fmla="*/ 364 w 457"/>
                <a:gd name="T41" fmla="*/ 124 h 464"/>
                <a:gd name="T42" fmla="*/ 377 w 457"/>
                <a:gd name="T43" fmla="*/ 148 h 464"/>
                <a:gd name="T44" fmla="*/ 410 w 457"/>
                <a:gd name="T45" fmla="*/ 168 h 464"/>
                <a:gd name="T46" fmla="*/ 398 w 457"/>
                <a:gd name="T47" fmla="*/ 210 h 464"/>
                <a:gd name="T48" fmla="*/ 369 w 457"/>
                <a:gd name="T49" fmla="*/ 249 h 464"/>
                <a:gd name="T50" fmla="*/ 344 w 457"/>
                <a:gd name="T51" fmla="*/ 291 h 464"/>
                <a:gd name="T52" fmla="*/ 314 w 457"/>
                <a:gd name="T53" fmla="*/ 323 h 464"/>
                <a:gd name="T54" fmla="*/ 281 w 457"/>
                <a:gd name="T55" fmla="*/ 326 h 464"/>
                <a:gd name="T56" fmla="*/ 291 w 457"/>
                <a:gd name="T57" fmla="*/ 378 h 464"/>
                <a:gd name="T58" fmla="*/ 311 w 457"/>
                <a:gd name="T59" fmla="*/ 409 h 464"/>
                <a:gd name="T60" fmla="*/ 326 w 457"/>
                <a:gd name="T61" fmla="*/ 441 h 464"/>
                <a:gd name="T62" fmla="*/ 298 w 457"/>
                <a:gd name="T63" fmla="*/ 445 h 464"/>
                <a:gd name="T64" fmla="*/ 256 w 457"/>
                <a:gd name="T65" fmla="*/ 445 h 464"/>
                <a:gd name="T66" fmla="*/ 240 w 457"/>
                <a:gd name="T67" fmla="*/ 464 h 464"/>
                <a:gd name="T68" fmla="*/ 231 w 457"/>
                <a:gd name="T69" fmla="*/ 459 h 464"/>
                <a:gd name="T70" fmla="*/ 221 w 457"/>
                <a:gd name="T71" fmla="*/ 454 h 464"/>
                <a:gd name="T72" fmla="*/ 193 w 457"/>
                <a:gd name="T73" fmla="*/ 423 h 464"/>
                <a:gd name="T74" fmla="*/ 184 w 457"/>
                <a:gd name="T75" fmla="*/ 407 h 464"/>
                <a:gd name="T76" fmla="*/ 133 w 457"/>
                <a:gd name="T77" fmla="*/ 415 h 464"/>
                <a:gd name="T78" fmla="*/ 113 w 457"/>
                <a:gd name="T79" fmla="*/ 409 h 464"/>
                <a:gd name="T80" fmla="*/ 59 w 457"/>
                <a:gd name="T81" fmla="*/ 414 h 464"/>
                <a:gd name="T82" fmla="*/ 56 w 457"/>
                <a:gd name="T83" fmla="*/ 374 h 464"/>
                <a:gd name="T84" fmla="*/ 72 w 457"/>
                <a:gd name="T85" fmla="*/ 344 h 464"/>
                <a:gd name="T86" fmla="*/ 55 w 457"/>
                <a:gd name="T87" fmla="*/ 306 h 464"/>
                <a:gd name="T88" fmla="*/ 0 w 457"/>
                <a:gd name="T89" fmla="*/ 25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7" h="464">
                  <a:moveTo>
                    <a:pt x="0" y="253"/>
                  </a:moveTo>
                  <a:cubicBezTo>
                    <a:pt x="12" y="256"/>
                    <a:pt x="24" y="262"/>
                    <a:pt x="37" y="266"/>
                  </a:cubicBezTo>
                  <a:cubicBezTo>
                    <a:pt x="51" y="270"/>
                    <a:pt x="63" y="265"/>
                    <a:pt x="78" y="265"/>
                  </a:cubicBezTo>
                  <a:cubicBezTo>
                    <a:pt x="83" y="265"/>
                    <a:pt x="88" y="267"/>
                    <a:pt x="93" y="268"/>
                  </a:cubicBezTo>
                  <a:cubicBezTo>
                    <a:pt x="98" y="269"/>
                    <a:pt x="102" y="265"/>
                    <a:pt x="106" y="263"/>
                  </a:cubicBezTo>
                  <a:cubicBezTo>
                    <a:pt x="112" y="261"/>
                    <a:pt x="118" y="264"/>
                    <a:pt x="124" y="263"/>
                  </a:cubicBezTo>
                  <a:cubicBezTo>
                    <a:pt x="129" y="263"/>
                    <a:pt x="134" y="260"/>
                    <a:pt x="139" y="259"/>
                  </a:cubicBezTo>
                  <a:cubicBezTo>
                    <a:pt x="145" y="258"/>
                    <a:pt x="156" y="257"/>
                    <a:pt x="159" y="252"/>
                  </a:cubicBezTo>
                  <a:cubicBezTo>
                    <a:pt x="162" y="248"/>
                    <a:pt x="156" y="247"/>
                    <a:pt x="157" y="244"/>
                  </a:cubicBezTo>
                  <a:cubicBezTo>
                    <a:pt x="158" y="236"/>
                    <a:pt x="155" y="230"/>
                    <a:pt x="156" y="223"/>
                  </a:cubicBezTo>
                  <a:cubicBezTo>
                    <a:pt x="156" y="215"/>
                    <a:pt x="158" y="217"/>
                    <a:pt x="162" y="212"/>
                  </a:cubicBezTo>
                  <a:cubicBezTo>
                    <a:pt x="165" y="210"/>
                    <a:pt x="166" y="205"/>
                    <a:pt x="169" y="203"/>
                  </a:cubicBezTo>
                  <a:cubicBezTo>
                    <a:pt x="173" y="201"/>
                    <a:pt x="174" y="205"/>
                    <a:pt x="178" y="206"/>
                  </a:cubicBezTo>
                  <a:cubicBezTo>
                    <a:pt x="184" y="206"/>
                    <a:pt x="190" y="204"/>
                    <a:pt x="195" y="202"/>
                  </a:cubicBezTo>
                  <a:cubicBezTo>
                    <a:pt x="193" y="199"/>
                    <a:pt x="189" y="199"/>
                    <a:pt x="188" y="195"/>
                  </a:cubicBezTo>
                  <a:cubicBezTo>
                    <a:pt x="193" y="195"/>
                    <a:pt x="199" y="192"/>
                    <a:pt x="201" y="188"/>
                  </a:cubicBezTo>
                  <a:cubicBezTo>
                    <a:pt x="205" y="183"/>
                    <a:pt x="213" y="191"/>
                    <a:pt x="213" y="185"/>
                  </a:cubicBezTo>
                  <a:cubicBezTo>
                    <a:pt x="217" y="187"/>
                    <a:pt x="219" y="186"/>
                    <a:pt x="221" y="190"/>
                  </a:cubicBezTo>
                  <a:cubicBezTo>
                    <a:pt x="224" y="193"/>
                    <a:pt x="227" y="192"/>
                    <a:pt x="230" y="190"/>
                  </a:cubicBezTo>
                  <a:cubicBezTo>
                    <a:pt x="237" y="184"/>
                    <a:pt x="235" y="174"/>
                    <a:pt x="232" y="167"/>
                  </a:cubicBezTo>
                  <a:cubicBezTo>
                    <a:pt x="230" y="162"/>
                    <a:pt x="234" y="161"/>
                    <a:pt x="235" y="157"/>
                  </a:cubicBezTo>
                  <a:cubicBezTo>
                    <a:pt x="236" y="154"/>
                    <a:pt x="236" y="149"/>
                    <a:pt x="235" y="146"/>
                  </a:cubicBezTo>
                  <a:cubicBezTo>
                    <a:pt x="233" y="142"/>
                    <a:pt x="237" y="141"/>
                    <a:pt x="240" y="141"/>
                  </a:cubicBezTo>
                  <a:cubicBezTo>
                    <a:pt x="244" y="140"/>
                    <a:pt x="247" y="141"/>
                    <a:pt x="251" y="138"/>
                  </a:cubicBezTo>
                  <a:cubicBezTo>
                    <a:pt x="256" y="134"/>
                    <a:pt x="255" y="134"/>
                    <a:pt x="253" y="129"/>
                  </a:cubicBezTo>
                  <a:cubicBezTo>
                    <a:pt x="252" y="125"/>
                    <a:pt x="249" y="120"/>
                    <a:pt x="246" y="118"/>
                  </a:cubicBezTo>
                  <a:cubicBezTo>
                    <a:pt x="238" y="113"/>
                    <a:pt x="237" y="107"/>
                    <a:pt x="247" y="109"/>
                  </a:cubicBezTo>
                  <a:cubicBezTo>
                    <a:pt x="255" y="111"/>
                    <a:pt x="272" y="114"/>
                    <a:pt x="274" y="104"/>
                  </a:cubicBezTo>
                  <a:cubicBezTo>
                    <a:pt x="274" y="101"/>
                    <a:pt x="274" y="98"/>
                    <a:pt x="272" y="96"/>
                  </a:cubicBezTo>
                  <a:cubicBezTo>
                    <a:pt x="271" y="95"/>
                    <a:pt x="266" y="93"/>
                    <a:pt x="267" y="91"/>
                  </a:cubicBezTo>
                  <a:cubicBezTo>
                    <a:pt x="268" y="90"/>
                    <a:pt x="269" y="90"/>
                    <a:pt x="270" y="90"/>
                  </a:cubicBezTo>
                  <a:cubicBezTo>
                    <a:pt x="269" y="87"/>
                    <a:pt x="271" y="85"/>
                    <a:pt x="273" y="83"/>
                  </a:cubicBezTo>
                  <a:cubicBezTo>
                    <a:pt x="274" y="81"/>
                    <a:pt x="279" y="77"/>
                    <a:pt x="279" y="74"/>
                  </a:cubicBezTo>
                  <a:cubicBezTo>
                    <a:pt x="279" y="72"/>
                    <a:pt x="280" y="70"/>
                    <a:pt x="281" y="69"/>
                  </a:cubicBezTo>
                  <a:cubicBezTo>
                    <a:pt x="283" y="67"/>
                    <a:pt x="279" y="66"/>
                    <a:pt x="278" y="65"/>
                  </a:cubicBezTo>
                  <a:cubicBezTo>
                    <a:pt x="278" y="64"/>
                    <a:pt x="278" y="63"/>
                    <a:pt x="279" y="62"/>
                  </a:cubicBezTo>
                  <a:cubicBezTo>
                    <a:pt x="281" y="61"/>
                    <a:pt x="278" y="57"/>
                    <a:pt x="278" y="56"/>
                  </a:cubicBezTo>
                  <a:cubicBezTo>
                    <a:pt x="277" y="54"/>
                    <a:pt x="273" y="49"/>
                    <a:pt x="272" y="47"/>
                  </a:cubicBezTo>
                  <a:cubicBezTo>
                    <a:pt x="270" y="44"/>
                    <a:pt x="266" y="42"/>
                    <a:pt x="264" y="40"/>
                  </a:cubicBezTo>
                  <a:cubicBezTo>
                    <a:pt x="260" y="37"/>
                    <a:pt x="271" y="24"/>
                    <a:pt x="274" y="26"/>
                  </a:cubicBezTo>
                  <a:cubicBezTo>
                    <a:pt x="279" y="27"/>
                    <a:pt x="279" y="22"/>
                    <a:pt x="282" y="19"/>
                  </a:cubicBezTo>
                  <a:cubicBezTo>
                    <a:pt x="285" y="16"/>
                    <a:pt x="288" y="14"/>
                    <a:pt x="292" y="13"/>
                  </a:cubicBezTo>
                  <a:cubicBezTo>
                    <a:pt x="301" y="11"/>
                    <a:pt x="309" y="11"/>
                    <a:pt x="318" y="10"/>
                  </a:cubicBezTo>
                  <a:cubicBezTo>
                    <a:pt x="322" y="10"/>
                    <a:pt x="329" y="8"/>
                    <a:pt x="333" y="10"/>
                  </a:cubicBezTo>
                  <a:cubicBezTo>
                    <a:pt x="337" y="12"/>
                    <a:pt x="337" y="13"/>
                    <a:pt x="340" y="10"/>
                  </a:cubicBezTo>
                  <a:cubicBezTo>
                    <a:pt x="345" y="6"/>
                    <a:pt x="358" y="0"/>
                    <a:pt x="361" y="9"/>
                  </a:cubicBezTo>
                  <a:cubicBezTo>
                    <a:pt x="365" y="2"/>
                    <a:pt x="374" y="8"/>
                    <a:pt x="377" y="12"/>
                  </a:cubicBezTo>
                  <a:cubicBezTo>
                    <a:pt x="380" y="16"/>
                    <a:pt x="387" y="14"/>
                    <a:pt x="391" y="18"/>
                  </a:cubicBezTo>
                  <a:cubicBezTo>
                    <a:pt x="394" y="21"/>
                    <a:pt x="396" y="24"/>
                    <a:pt x="397" y="28"/>
                  </a:cubicBezTo>
                  <a:cubicBezTo>
                    <a:pt x="398" y="30"/>
                    <a:pt x="398" y="35"/>
                    <a:pt x="399" y="38"/>
                  </a:cubicBezTo>
                  <a:cubicBezTo>
                    <a:pt x="400" y="40"/>
                    <a:pt x="406" y="44"/>
                    <a:pt x="408" y="46"/>
                  </a:cubicBezTo>
                  <a:cubicBezTo>
                    <a:pt x="411" y="49"/>
                    <a:pt x="415" y="44"/>
                    <a:pt x="418" y="44"/>
                  </a:cubicBezTo>
                  <a:cubicBezTo>
                    <a:pt x="418" y="56"/>
                    <a:pt x="448" y="61"/>
                    <a:pt x="457" y="58"/>
                  </a:cubicBezTo>
                  <a:cubicBezTo>
                    <a:pt x="454" y="60"/>
                    <a:pt x="437" y="68"/>
                    <a:pt x="439" y="73"/>
                  </a:cubicBezTo>
                  <a:cubicBezTo>
                    <a:pt x="439" y="75"/>
                    <a:pt x="437" y="79"/>
                    <a:pt x="435" y="77"/>
                  </a:cubicBezTo>
                  <a:cubicBezTo>
                    <a:pt x="432" y="75"/>
                    <a:pt x="432" y="80"/>
                    <a:pt x="431" y="82"/>
                  </a:cubicBezTo>
                  <a:cubicBezTo>
                    <a:pt x="430" y="84"/>
                    <a:pt x="413" y="87"/>
                    <a:pt x="410" y="89"/>
                  </a:cubicBezTo>
                  <a:cubicBezTo>
                    <a:pt x="400" y="94"/>
                    <a:pt x="394" y="90"/>
                    <a:pt x="383" y="88"/>
                  </a:cubicBezTo>
                  <a:cubicBezTo>
                    <a:pt x="375" y="86"/>
                    <a:pt x="364" y="80"/>
                    <a:pt x="356" y="85"/>
                  </a:cubicBezTo>
                  <a:cubicBezTo>
                    <a:pt x="350" y="89"/>
                    <a:pt x="347" y="97"/>
                    <a:pt x="354" y="100"/>
                  </a:cubicBezTo>
                  <a:cubicBezTo>
                    <a:pt x="360" y="102"/>
                    <a:pt x="352" y="107"/>
                    <a:pt x="357" y="108"/>
                  </a:cubicBezTo>
                  <a:cubicBezTo>
                    <a:pt x="359" y="109"/>
                    <a:pt x="370" y="109"/>
                    <a:pt x="366" y="113"/>
                  </a:cubicBezTo>
                  <a:cubicBezTo>
                    <a:pt x="362" y="117"/>
                    <a:pt x="356" y="119"/>
                    <a:pt x="364" y="124"/>
                  </a:cubicBezTo>
                  <a:cubicBezTo>
                    <a:pt x="370" y="129"/>
                    <a:pt x="363" y="135"/>
                    <a:pt x="367" y="139"/>
                  </a:cubicBezTo>
                  <a:cubicBezTo>
                    <a:pt x="369" y="141"/>
                    <a:pt x="372" y="143"/>
                    <a:pt x="374" y="145"/>
                  </a:cubicBezTo>
                  <a:cubicBezTo>
                    <a:pt x="376" y="145"/>
                    <a:pt x="376" y="147"/>
                    <a:pt x="377" y="148"/>
                  </a:cubicBezTo>
                  <a:cubicBezTo>
                    <a:pt x="377" y="152"/>
                    <a:pt x="378" y="151"/>
                    <a:pt x="382" y="152"/>
                  </a:cubicBezTo>
                  <a:cubicBezTo>
                    <a:pt x="389" y="154"/>
                    <a:pt x="387" y="162"/>
                    <a:pt x="395" y="163"/>
                  </a:cubicBezTo>
                  <a:cubicBezTo>
                    <a:pt x="399" y="164"/>
                    <a:pt x="406" y="164"/>
                    <a:pt x="410" y="168"/>
                  </a:cubicBezTo>
                  <a:cubicBezTo>
                    <a:pt x="413" y="173"/>
                    <a:pt x="401" y="177"/>
                    <a:pt x="399" y="178"/>
                  </a:cubicBezTo>
                  <a:cubicBezTo>
                    <a:pt x="392" y="181"/>
                    <a:pt x="386" y="186"/>
                    <a:pt x="392" y="193"/>
                  </a:cubicBezTo>
                  <a:cubicBezTo>
                    <a:pt x="395" y="198"/>
                    <a:pt x="389" y="210"/>
                    <a:pt x="398" y="210"/>
                  </a:cubicBezTo>
                  <a:cubicBezTo>
                    <a:pt x="397" y="213"/>
                    <a:pt x="389" y="215"/>
                    <a:pt x="388" y="219"/>
                  </a:cubicBezTo>
                  <a:cubicBezTo>
                    <a:pt x="387" y="225"/>
                    <a:pt x="376" y="232"/>
                    <a:pt x="381" y="237"/>
                  </a:cubicBezTo>
                  <a:cubicBezTo>
                    <a:pt x="388" y="244"/>
                    <a:pt x="372" y="247"/>
                    <a:pt x="369" y="249"/>
                  </a:cubicBezTo>
                  <a:cubicBezTo>
                    <a:pt x="366" y="251"/>
                    <a:pt x="367" y="256"/>
                    <a:pt x="366" y="260"/>
                  </a:cubicBezTo>
                  <a:cubicBezTo>
                    <a:pt x="365" y="265"/>
                    <a:pt x="364" y="271"/>
                    <a:pt x="361" y="276"/>
                  </a:cubicBezTo>
                  <a:cubicBezTo>
                    <a:pt x="358" y="284"/>
                    <a:pt x="350" y="285"/>
                    <a:pt x="344" y="291"/>
                  </a:cubicBezTo>
                  <a:cubicBezTo>
                    <a:pt x="342" y="293"/>
                    <a:pt x="342" y="296"/>
                    <a:pt x="341" y="299"/>
                  </a:cubicBezTo>
                  <a:cubicBezTo>
                    <a:pt x="341" y="305"/>
                    <a:pt x="336" y="308"/>
                    <a:pt x="334" y="313"/>
                  </a:cubicBezTo>
                  <a:cubicBezTo>
                    <a:pt x="330" y="323"/>
                    <a:pt x="324" y="320"/>
                    <a:pt x="314" y="323"/>
                  </a:cubicBezTo>
                  <a:cubicBezTo>
                    <a:pt x="311" y="324"/>
                    <a:pt x="307" y="327"/>
                    <a:pt x="304" y="327"/>
                  </a:cubicBezTo>
                  <a:cubicBezTo>
                    <a:pt x="299" y="327"/>
                    <a:pt x="297" y="321"/>
                    <a:pt x="295" y="318"/>
                  </a:cubicBezTo>
                  <a:cubicBezTo>
                    <a:pt x="290" y="311"/>
                    <a:pt x="283" y="322"/>
                    <a:pt x="281" y="326"/>
                  </a:cubicBezTo>
                  <a:cubicBezTo>
                    <a:pt x="278" y="334"/>
                    <a:pt x="272" y="341"/>
                    <a:pt x="269" y="348"/>
                  </a:cubicBezTo>
                  <a:cubicBezTo>
                    <a:pt x="265" y="358"/>
                    <a:pt x="270" y="363"/>
                    <a:pt x="279" y="365"/>
                  </a:cubicBezTo>
                  <a:cubicBezTo>
                    <a:pt x="288" y="367"/>
                    <a:pt x="292" y="368"/>
                    <a:pt x="291" y="378"/>
                  </a:cubicBezTo>
                  <a:cubicBezTo>
                    <a:pt x="290" y="384"/>
                    <a:pt x="289" y="397"/>
                    <a:pt x="299" y="397"/>
                  </a:cubicBezTo>
                  <a:cubicBezTo>
                    <a:pt x="302" y="397"/>
                    <a:pt x="306" y="395"/>
                    <a:pt x="308" y="397"/>
                  </a:cubicBezTo>
                  <a:cubicBezTo>
                    <a:pt x="311" y="400"/>
                    <a:pt x="309" y="406"/>
                    <a:pt x="311" y="409"/>
                  </a:cubicBezTo>
                  <a:cubicBezTo>
                    <a:pt x="316" y="416"/>
                    <a:pt x="321" y="421"/>
                    <a:pt x="323" y="429"/>
                  </a:cubicBezTo>
                  <a:cubicBezTo>
                    <a:pt x="324" y="432"/>
                    <a:pt x="326" y="431"/>
                    <a:pt x="322" y="433"/>
                  </a:cubicBezTo>
                  <a:cubicBezTo>
                    <a:pt x="320" y="435"/>
                    <a:pt x="324" y="441"/>
                    <a:pt x="326" y="441"/>
                  </a:cubicBezTo>
                  <a:cubicBezTo>
                    <a:pt x="321" y="446"/>
                    <a:pt x="315" y="451"/>
                    <a:pt x="310" y="443"/>
                  </a:cubicBezTo>
                  <a:cubicBezTo>
                    <a:pt x="308" y="439"/>
                    <a:pt x="305" y="442"/>
                    <a:pt x="302" y="443"/>
                  </a:cubicBezTo>
                  <a:cubicBezTo>
                    <a:pt x="301" y="444"/>
                    <a:pt x="300" y="444"/>
                    <a:pt x="298" y="445"/>
                  </a:cubicBezTo>
                  <a:cubicBezTo>
                    <a:pt x="296" y="446"/>
                    <a:pt x="297" y="448"/>
                    <a:pt x="295" y="449"/>
                  </a:cubicBezTo>
                  <a:cubicBezTo>
                    <a:pt x="287" y="453"/>
                    <a:pt x="279" y="445"/>
                    <a:pt x="271" y="446"/>
                  </a:cubicBezTo>
                  <a:cubicBezTo>
                    <a:pt x="266" y="446"/>
                    <a:pt x="260" y="447"/>
                    <a:pt x="256" y="445"/>
                  </a:cubicBezTo>
                  <a:cubicBezTo>
                    <a:pt x="257" y="448"/>
                    <a:pt x="259" y="457"/>
                    <a:pt x="254" y="457"/>
                  </a:cubicBezTo>
                  <a:cubicBezTo>
                    <a:pt x="249" y="457"/>
                    <a:pt x="241" y="457"/>
                    <a:pt x="242" y="464"/>
                  </a:cubicBezTo>
                  <a:cubicBezTo>
                    <a:pt x="241" y="460"/>
                    <a:pt x="241" y="460"/>
                    <a:pt x="240" y="464"/>
                  </a:cubicBezTo>
                  <a:cubicBezTo>
                    <a:pt x="238" y="462"/>
                    <a:pt x="237" y="460"/>
                    <a:pt x="236" y="458"/>
                  </a:cubicBezTo>
                  <a:cubicBezTo>
                    <a:pt x="237" y="460"/>
                    <a:pt x="237" y="462"/>
                    <a:pt x="236" y="464"/>
                  </a:cubicBezTo>
                  <a:cubicBezTo>
                    <a:pt x="234" y="462"/>
                    <a:pt x="233" y="461"/>
                    <a:pt x="231" y="459"/>
                  </a:cubicBezTo>
                  <a:cubicBezTo>
                    <a:pt x="232" y="464"/>
                    <a:pt x="228" y="461"/>
                    <a:pt x="225" y="463"/>
                  </a:cubicBezTo>
                  <a:cubicBezTo>
                    <a:pt x="225" y="461"/>
                    <a:pt x="225" y="460"/>
                    <a:pt x="225" y="458"/>
                  </a:cubicBezTo>
                  <a:cubicBezTo>
                    <a:pt x="221" y="461"/>
                    <a:pt x="217" y="456"/>
                    <a:pt x="221" y="454"/>
                  </a:cubicBezTo>
                  <a:cubicBezTo>
                    <a:pt x="216" y="454"/>
                    <a:pt x="210" y="448"/>
                    <a:pt x="215" y="444"/>
                  </a:cubicBezTo>
                  <a:cubicBezTo>
                    <a:pt x="209" y="441"/>
                    <a:pt x="212" y="431"/>
                    <a:pt x="208" y="429"/>
                  </a:cubicBezTo>
                  <a:cubicBezTo>
                    <a:pt x="205" y="428"/>
                    <a:pt x="192" y="427"/>
                    <a:pt x="193" y="423"/>
                  </a:cubicBezTo>
                  <a:cubicBezTo>
                    <a:pt x="193" y="415"/>
                    <a:pt x="191" y="413"/>
                    <a:pt x="187" y="406"/>
                  </a:cubicBezTo>
                  <a:cubicBezTo>
                    <a:pt x="184" y="401"/>
                    <a:pt x="175" y="396"/>
                    <a:pt x="173" y="405"/>
                  </a:cubicBezTo>
                  <a:cubicBezTo>
                    <a:pt x="178" y="405"/>
                    <a:pt x="182" y="400"/>
                    <a:pt x="184" y="407"/>
                  </a:cubicBezTo>
                  <a:cubicBezTo>
                    <a:pt x="179" y="403"/>
                    <a:pt x="173" y="406"/>
                    <a:pt x="168" y="407"/>
                  </a:cubicBezTo>
                  <a:cubicBezTo>
                    <a:pt x="162" y="409"/>
                    <a:pt x="157" y="407"/>
                    <a:pt x="151" y="409"/>
                  </a:cubicBezTo>
                  <a:cubicBezTo>
                    <a:pt x="148" y="410"/>
                    <a:pt x="128" y="409"/>
                    <a:pt x="133" y="415"/>
                  </a:cubicBezTo>
                  <a:cubicBezTo>
                    <a:pt x="131" y="416"/>
                    <a:pt x="129" y="415"/>
                    <a:pt x="129" y="412"/>
                  </a:cubicBezTo>
                  <a:cubicBezTo>
                    <a:pt x="121" y="416"/>
                    <a:pt x="115" y="404"/>
                    <a:pt x="111" y="406"/>
                  </a:cubicBezTo>
                  <a:cubicBezTo>
                    <a:pt x="111" y="407"/>
                    <a:pt x="112" y="408"/>
                    <a:pt x="113" y="409"/>
                  </a:cubicBezTo>
                  <a:cubicBezTo>
                    <a:pt x="109" y="410"/>
                    <a:pt x="92" y="405"/>
                    <a:pt x="97" y="414"/>
                  </a:cubicBezTo>
                  <a:cubicBezTo>
                    <a:pt x="92" y="412"/>
                    <a:pt x="61" y="410"/>
                    <a:pt x="64" y="418"/>
                  </a:cubicBezTo>
                  <a:cubicBezTo>
                    <a:pt x="62" y="418"/>
                    <a:pt x="60" y="415"/>
                    <a:pt x="59" y="414"/>
                  </a:cubicBezTo>
                  <a:cubicBezTo>
                    <a:pt x="56" y="412"/>
                    <a:pt x="56" y="416"/>
                    <a:pt x="54" y="417"/>
                  </a:cubicBezTo>
                  <a:cubicBezTo>
                    <a:pt x="47" y="421"/>
                    <a:pt x="41" y="416"/>
                    <a:pt x="42" y="410"/>
                  </a:cubicBezTo>
                  <a:cubicBezTo>
                    <a:pt x="42" y="401"/>
                    <a:pt x="40" y="370"/>
                    <a:pt x="56" y="374"/>
                  </a:cubicBezTo>
                  <a:cubicBezTo>
                    <a:pt x="52" y="361"/>
                    <a:pt x="81" y="368"/>
                    <a:pt x="83" y="361"/>
                  </a:cubicBezTo>
                  <a:cubicBezTo>
                    <a:pt x="83" y="358"/>
                    <a:pt x="84" y="346"/>
                    <a:pt x="83" y="345"/>
                  </a:cubicBezTo>
                  <a:cubicBezTo>
                    <a:pt x="80" y="343"/>
                    <a:pt x="76" y="345"/>
                    <a:pt x="72" y="344"/>
                  </a:cubicBezTo>
                  <a:cubicBezTo>
                    <a:pt x="67" y="344"/>
                    <a:pt x="68" y="336"/>
                    <a:pt x="68" y="332"/>
                  </a:cubicBezTo>
                  <a:cubicBezTo>
                    <a:pt x="67" y="325"/>
                    <a:pt x="65" y="317"/>
                    <a:pt x="63" y="311"/>
                  </a:cubicBezTo>
                  <a:cubicBezTo>
                    <a:pt x="62" y="308"/>
                    <a:pt x="57" y="307"/>
                    <a:pt x="55" y="306"/>
                  </a:cubicBezTo>
                  <a:cubicBezTo>
                    <a:pt x="50" y="303"/>
                    <a:pt x="46" y="302"/>
                    <a:pt x="41" y="299"/>
                  </a:cubicBezTo>
                  <a:cubicBezTo>
                    <a:pt x="31" y="295"/>
                    <a:pt x="27" y="288"/>
                    <a:pt x="22" y="279"/>
                  </a:cubicBezTo>
                  <a:cubicBezTo>
                    <a:pt x="16" y="269"/>
                    <a:pt x="8" y="261"/>
                    <a:pt x="0" y="25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46">
              <a:extLst>
                <a:ext uri="{FF2B5EF4-FFF2-40B4-BE49-F238E27FC236}">
                  <a16:creationId xmlns:a16="http://schemas.microsoft.com/office/drawing/2014/main" id="{7F95020F-544C-4AAA-8934-A08E54675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720" y="2479984"/>
              <a:ext cx="992148" cy="1005496"/>
            </a:xfrm>
            <a:custGeom>
              <a:avLst/>
              <a:gdLst>
                <a:gd name="T0" fmla="*/ 78 w 457"/>
                <a:gd name="T1" fmla="*/ 265 h 464"/>
                <a:gd name="T2" fmla="*/ 124 w 457"/>
                <a:gd name="T3" fmla="*/ 263 h 464"/>
                <a:gd name="T4" fmla="*/ 157 w 457"/>
                <a:gd name="T5" fmla="*/ 244 h 464"/>
                <a:gd name="T6" fmla="*/ 169 w 457"/>
                <a:gd name="T7" fmla="*/ 203 h 464"/>
                <a:gd name="T8" fmla="*/ 188 w 457"/>
                <a:gd name="T9" fmla="*/ 195 h 464"/>
                <a:gd name="T10" fmla="*/ 221 w 457"/>
                <a:gd name="T11" fmla="*/ 190 h 464"/>
                <a:gd name="T12" fmla="*/ 235 w 457"/>
                <a:gd name="T13" fmla="*/ 157 h 464"/>
                <a:gd name="T14" fmla="*/ 251 w 457"/>
                <a:gd name="T15" fmla="*/ 138 h 464"/>
                <a:gd name="T16" fmla="*/ 247 w 457"/>
                <a:gd name="T17" fmla="*/ 109 h 464"/>
                <a:gd name="T18" fmla="*/ 267 w 457"/>
                <a:gd name="T19" fmla="*/ 91 h 464"/>
                <a:gd name="T20" fmla="*/ 279 w 457"/>
                <a:gd name="T21" fmla="*/ 74 h 464"/>
                <a:gd name="T22" fmla="*/ 279 w 457"/>
                <a:gd name="T23" fmla="*/ 62 h 464"/>
                <a:gd name="T24" fmla="*/ 264 w 457"/>
                <a:gd name="T25" fmla="*/ 40 h 464"/>
                <a:gd name="T26" fmla="*/ 292 w 457"/>
                <a:gd name="T27" fmla="*/ 13 h 464"/>
                <a:gd name="T28" fmla="*/ 340 w 457"/>
                <a:gd name="T29" fmla="*/ 10 h 464"/>
                <a:gd name="T30" fmla="*/ 391 w 457"/>
                <a:gd name="T31" fmla="*/ 18 h 464"/>
                <a:gd name="T32" fmla="*/ 408 w 457"/>
                <a:gd name="T33" fmla="*/ 46 h 464"/>
                <a:gd name="T34" fmla="*/ 439 w 457"/>
                <a:gd name="T35" fmla="*/ 73 h 464"/>
                <a:gd name="T36" fmla="*/ 410 w 457"/>
                <a:gd name="T37" fmla="*/ 89 h 464"/>
                <a:gd name="T38" fmla="*/ 354 w 457"/>
                <a:gd name="T39" fmla="*/ 100 h 464"/>
                <a:gd name="T40" fmla="*/ 364 w 457"/>
                <a:gd name="T41" fmla="*/ 124 h 464"/>
                <a:gd name="T42" fmla="*/ 377 w 457"/>
                <a:gd name="T43" fmla="*/ 148 h 464"/>
                <a:gd name="T44" fmla="*/ 410 w 457"/>
                <a:gd name="T45" fmla="*/ 168 h 464"/>
                <a:gd name="T46" fmla="*/ 398 w 457"/>
                <a:gd name="T47" fmla="*/ 210 h 464"/>
                <a:gd name="T48" fmla="*/ 369 w 457"/>
                <a:gd name="T49" fmla="*/ 249 h 464"/>
                <a:gd name="T50" fmla="*/ 344 w 457"/>
                <a:gd name="T51" fmla="*/ 291 h 464"/>
                <a:gd name="T52" fmla="*/ 314 w 457"/>
                <a:gd name="T53" fmla="*/ 323 h 464"/>
                <a:gd name="T54" fmla="*/ 281 w 457"/>
                <a:gd name="T55" fmla="*/ 326 h 464"/>
                <a:gd name="T56" fmla="*/ 291 w 457"/>
                <a:gd name="T57" fmla="*/ 378 h 464"/>
                <a:gd name="T58" fmla="*/ 311 w 457"/>
                <a:gd name="T59" fmla="*/ 409 h 464"/>
                <a:gd name="T60" fmla="*/ 326 w 457"/>
                <a:gd name="T61" fmla="*/ 441 h 464"/>
                <a:gd name="T62" fmla="*/ 298 w 457"/>
                <a:gd name="T63" fmla="*/ 445 h 464"/>
                <a:gd name="T64" fmla="*/ 256 w 457"/>
                <a:gd name="T65" fmla="*/ 445 h 464"/>
                <a:gd name="T66" fmla="*/ 240 w 457"/>
                <a:gd name="T67" fmla="*/ 464 h 464"/>
                <a:gd name="T68" fmla="*/ 231 w 457"/>
                <a:gd name="T69" fmla="*/ 459 h 464"/>
                <a:gd name="T70" fmla="*/ 221 w 457"/>
                <a:gd name="T71" fmla="*/ 454 h 464"/>
                <a:gd name="T72" fmla="*/ 193 w 457"/>
                <a:gd name="T73" fmla="*/ 423 h 464"/>
                <a:gd name="T74" fmla="*/ 184 w 457"/>
                <a:gd name="T75" fmla="*/ 407 h 464"/>
                <a:gd name="T76" fmla="*/ 133 w 457"/>
                <a:gd name="T77" fmla="*/ 415 h 464"/>
                <a:gd name="T78" fmla="*/ 113 w 457"/>
                <a:gd name="T79" fmla="*/ 409 h 464"/>
                <a:gd name="T80" fmla="*/ 59 w 457"/>
                <a:gd name="T81" fmla="*/ 414 h 464"/>
                <a:gd name="T82" fmla="*/ 56 w 457"/>
                <a:gd name="T83" fmla="*/ 374 h 464"/>
                <a:gd name="T84" fmla="*/ 72 w 457"/>
                <a:gd name="T85" fmla="*/ 344 h 464"/>
                <a:gd name="T86" fmla="*/ 55 w 457"/>
                <a:gd name="T87" fmla="*/ 306 h 464"/>
                <a:gd name="T88" fmla="*/ 0 w 457"/>
                <a:gd name="T89" fmla="*/ 25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7" h="464">
                  <a:moveTo>
                    <a:pt x="0" y="253"/>
                  </a:moveTo>
                  <a:cubicBezTo>
                    <a:pt x="12" y="256"/>
                    <a:pt x="24" y="262"/>
                    <a:pt x="37" y="266"/>
                  </a:cubicBezTo>
                  <a:cubicBezTo>
                    <a:pt x="51" y="270"/>
                    <a:pt x="63" y="265"/>
                    <a:pt x="78" y="265"/>
                  </a:cubicBezTo>
                  <a:cubicBezTo>
                    <a:pt x="83" y="265"/>
                    <a:pt x="88" y="267"/>
                    <a:pt x="93" y="268"/>
                  </a:cubicBezTo>
                  <a:cubicBezTo>
                    <a:pt x="98" y="269"/>
                    <a:pt x="102" y="265"/>
                    <a:pt x="106" y="263"/>
                  </a:cubicBezTo>
                  <a:cubicBezTo>
                    <a:pt x="112" y="261"/>
                    <a:pt x="118" y="264"/>
                    <a:pt x="124" y="263"/>
                  </a:cubicBezTo>
                  <a:cubicBezTo>
                    <a:pt x="129" y="263"/>
                    <a:pt x="134" y="260"/>
                    <a:pt x="139" y="259"/>
                  </a:cubicBezTo>
                  <a:cubicBezTo>
                    <a:pt x="145" y="258"/>
                    <a:pt x="156" y="257"/>
                    <a:pt x="159" y="252"/>
                  </a:cubicBezTo>
                  <a:cubicBezTo>
                    <a:pt x="162" y="248"/>
                    <a:pt x="156" y="247"/>
                    <a:pt x="157" y="244"/>
                  </a:cubicBezTo>
                  <a:cubicBezTo>
                    <a:pt x="158" y="236"/>
                    <a:pt x="155" y="230"/>
                    <a:pt x="156" y="223"/>
                  </a:cubicBezTo>
                  <a:cubicBezTo>
                    <a:pt x="156" y="215"/>
                    <a:pt x="158" y="217"/>
                    <a:pt x="162" y="212"/>
                  </a:cubicBezTo>
                  <a:cubicBezTo>
                    <a:pt x="165" y="210"/>
                    <a:pt x="166" y="205"/>
                    <a:pt x="169" y="203"/>
                  </a:cubicBezTo>
                  <a:cubicBezTo>
                    <a:pt x="173" y="201"/>
                    <a:pt x="174" y="205"/>
                    <a:pt x="178" y="206"/>
                  </a:cubicBezTo>
                  <a:cubicBezTo>
                    <a:pt x="184" y="206"/>
                    <a:pt x="190" y="204"/>
                    <a:pt x="195" y="202"/>
                  </a:cubicBezTo>
                  <a:cubicBezTo>
                    <a:pt x="193" y="199"/>
                    <a:pt x="189" y="199"/>
                    <a:pt x="188" y="195"/>
                  </a:cubicBezTo>
                  <a:cubicBezTo>
                    <a:pt x="193" y="195"/>
                    <a:pt x="199" y="192"/>
                    <a:pt x="201" y="188"/>
                  </a:cubicBezTo>
                  <a:cubicBezTo>
                    <a:pt x="205" y="183"/>
                    <a:pt x="213" y="191"/>
                    <a:pt x="213" y="185"/>
                  </a:cubicBezTo>
                  <a:cubicBezTo>
                    <a:pt x="217" y="187"/>
                    <a:pt x="219" y="186"/>
                    <a:pt x="221" y="190"/>
                  </a:cubicBezTo>
                  <a:cubicBezTo>
                    <a:pt x="224" y="193"/>
                    <a:pt x="227" y="192"/>
                    <a:pt x="230" y="190"/>
                  </a:cubicBezTo>
                  <a:cubicBezTo>
                    <a:pt x="237" y="184"/>
                    <a:pt x="235" y="174"/>
                    <a:pt x="232" y="167"/>
                  </a:cubicBezTo>
                  <a:cubicBezTo>
                    <a:pt x="230" y="162"/>
                    <a:pt x="234" y="161"/>
                    <a:pt x="235" y="157"/>
                  </a:cubicBezTo>
                  <a:cubicBezTo>
                    <a:pt x="236" y="154"/>
                    <a:pt x="236" y="149"/>
                    <a:pt x="235" y="146"/>
                  </a:cubicBezTo>
                  <a:cubicBezTo>
                    <a:pt x="233" y="142"/>
                    <a:pt x="237" y="141"/>
                    <a:pt x="240" y="141"/>
                  </a:cubicBezTo>
                  <a:cubicBezTo>
                    <a:pt x="244" y="140"/>
                    <a:pt x="247" y="141"/>
                    <a:pt x="251" y="138"/>
                  </a:cubicBezTo>
                  <a:cubicBezTo>
                    <a:pt x="256" y="134"/>
                    <a:pt x="255" y="134"/>
                    <a:pt x="253" y="129"/>
                  </a:cubicBezTo>
                  <a:cubicBezTo>
                    <a:pt x="252" y="125"/>
                    <a:pt x="249" y="120"/>
                    <a:pt x="246" y="118"/>
                  </a:cubicBezTo>
                  <a:cubicBezTo>
                    <a:pt x="238" y="113"/>
                    <a:pt x="237" y="107"/>
                    <a:pt x="247" y="109"/>
                  </a:cubicBezTo>
                  <a:cubicBezTo>
                    <a:pt x="255" y="111"/>
                    <a:pt x="272" y="114"/>
                    <a:pt x="274" y="104"/>
                  </a:cubicBezTo>
                  <a:cubicBezTo>
                    <a:pt x="274" y="101"/>
                    <a:pt x="274" y="98"/>
                    <a:pt x="272" y="96"/>
                  </a:cubicBezTo>
                  <a:cubicBezTo>
                    <a:pt x="271" y="95"/>
                    <a:pt x="266" y="93"/>
                    <a:pt x="267" y="91"/>
                  </a:cubicBezTo>
                  <a:cubicBezTo>
                    <a:pt x="268" y="90"/>
                    <a:pt x="269" y="90"/>
                    <a:pt x="270" y="90"/>
                  </a:cubicBezTo>
                  <a:cubicBezTo>
                    <a:pt x="269" y="87"/>
                    <a:pt x="271" y="85"/>
                    <a:pt x="273" y="83"/>
                  </a:cubicBezTo>
                  <a:cubicBezTo>
                    <a:pt x="274" y="81"/>
                    <a:pt x="279" y="77"/>
                    <a:pt x="279" y="74"/>
                  </a:cubicBezTo>
                  <a:cubicBezTo>
                    <a:pt x="279" y="72"/>
                    <a:pt x="280" y="70"/>
                    <a:pt x="281" y="69"/>
                  </a:cubicBezTo>
                  <a:cubicBezTo>
                    <a:pt x="283" y="67"/>
                    <a:pt x="279" y="66"/>
                    <a:pt x="278" y="65"/>
                  </a:cubicBezTo>
                  <a:cubicBezTo>
                    <a:pt x="278" y="64"/>
                    <a:pt x="278" y="63"/>
                    <a:pt x="279" y="62"/>
                  </a:cubicBezTo>
                  <a:cubicBezTo>
                    <a:pt x="281" y="61"/>
                    <a:pt x="278" y="57"/>
                    <a:pt x="278" y="56"/>
                  </a:cubicBezTo>
                  <a:cubicBezTo>
                    <a:pt x="277" y="54"/>
                    <a:pt x="273" y="49"/>
                    <a:pt x="272" y="47"/>
                  </a:cubicBezTo>
                  <a:cubicBezTo>
                    <a:pt x="270" y="44"/>
                    <a:pt x="266" y="42"/>
                    <a:pt x="264" y="40"/>
                  </a:cubicBezTo>
                  <a:cubicBezTo>
                    <a:pt x="260" y="37"/>
                    <a:pt x="271" y="24"/>
                    <a:pt x="274" y="26"/>
                  </a:cubicBezTo>
                  <a:cubicBezTo>
                    <a:pt x="279" y="27"/>
                    <a:pt x="279" y="22"/>
                    <a:pt x="282" y="19"/>
                  </a:cubicBezTo>
                  <a:cubicBezTo>
                    <a:pt x="285" y="16"/>
                    <a:pt x="288" y="14"/>
                    <a:pt x="292" y="13"/>
                  </a:cubicBezTo>
                  <a:cubicBezTo>
                    <a:pt x="301" y="11"/>
                    <a:pt x="309" y="11"/>
                    <a:pt x="318" y="10"/>
                  </a:cubicBezTo>
                  <a:cubicBezTo>
                    <a:pt x="322" y="10"/>
                    <a:pt x="329" y="8"/>
                    <a:pt x="333" y="10"/>
                  </a:cubicBezTo>
                  <a:cubicBezTo>
                    <a:pt x="337" y="12"/>
                    <a:pt x="337" y="13"/>
                    <a:pt x="340" y="10"/>
                  </a:cubicBezTo>
                  <a:cubicBezTo>
                    <a:pt x="345" y="6"/>
                    <a:pt x="358" y="0"/>
                    <a:pt x="361" y="9"/>
                  </a:cubicBezTo>
                  <a:cubicBezTo>
                    <a:pt x="365" y="2"/>
                    <a:pt x="374" y="8"/>
                    <a:pt x="377" y="12"/>
                  </a:cubicBezTo>
                  <a:cubicBezTo>
                    <a:pt x="380" y="16"/>
                    <a:pt x="387" y="14"/>
                    <a:pt x="391" y="18"/>
                  </a:cubicBezTo>
                  <a:cubicBezTo>
                    <a:pt x="394" y="21"/>
                    <a:pt x="396" y="24"/>
                    <a:pt x="397" y="28"/>
                  </a:cubicBezTo>
                  <a:cubicBezTo>
                    <a:pt x="398" y="30"/>
                    <a:pt x="398" y="35"/>
                    <a:pt x="399" y="38"/>
                  </a:cubicBezTo>
                  <a:cubicBezTo>
                    <a:pt x="400" y="40"/>
                    <a:pt x="406" y="44"/>
                    <a:pt x="408" y="46"/>
                  </a:cubicBezTo>
                  <a:cubicBezTo>
                    <a:pt x="411" y="49"/>
                    <a:pt x="415" y="44"/>
                    <a:pt x="418" y="44"/>
                  </a:cubicBezTo>
                  <a:cubicBezTo>
                    <a:pt x="418" y="56"/>
                    <a:pt x="448" y="61"/>
                    <a:pt x="457" y="58"/>
                  </a:cubicBezTo>
                  <a:cubicBezTo>
                    <a:pt x="454" y="60"/>
                    <a:pt x="437" y="68"/>
                    <a:pt x="439" y="73"/>
                  </a:cubicBezTo>
                  <a:cubicBezTo>
                    <a:pt x="439" y="75"/>
                    <a:pt x="437" y="79"/>
                    <a:pt x="435" y="77"/>
                  </a:cubicBezTo>
                  <a:cubicBezTo>
                    <a:pt x="432" y="75"/>
                    <a:pt x="432" y="80"/>
                    <a:pt x="431" y="82"/>
                  </a:cubicBezTo>
                  <a:cubicBezTo>
                    <a:pt x="430" y="84"/>
                    <a:pt x="413" y="87"/>
                    <a:pt x="410" y="89"/>
                  </a:cubicBezTo>
                  <a:cubicBezTo>
                    <a:pt x="400" y="94"/>
                    <a:pt x="394" y="90"/>
                    <a:pt x="383" y="88"/>
                  </a:cubicBezTo>
                  <a:cubicBezTo>
                    <a:pt x="375" y="86"/>
                    <a:pt x="364" y="80"/>
                    <a:pt x="356" y="85"/>
                  </a:cubicBezTo>
                  <a:cubicBezTo>
                    <a:pt x="350" y="89"/>
                    <a:pt x="347" y="97"/>
                    <a:pt x="354" y="100"/>
                  </a:cubicBezTo>
                  <a:cubicBezTo>
                    <a:pt x="360" y="102"/>
                    <a:pt x="352" y="107"/>
                    <a:pt x="357" y="108"/>
                  </a:cubicBezTo>
                  <a:cubicBezTo>
                    <a:pt x="359" y="109"/>
                    <a:pt x="370" y="109"/>
                    <a:pt x="366" y="113"/>
                  </a:cubicBezTo>
                  <a:cubicBezTo>
                    <a:pt x="362" y="117"/>
                    <a:pt x="356" y="119"/>
                    <a:pt x="364" y="124"/>
                  </a:cubicBezTo>
                  <a:cubicBezTo>
                    <a:pt x="370" y="129"/>
                    <a:pt x="363" y="135"/>
                    <a:pt x="367" y="139"/>
                  </a:cubicBezTo>
                  <a:cubicBezTo>
                    <a:pt x="369" y="141"/>
                    <a:pt x="372" y="143"/>
                    <a:pt x="374" y="145"/>
                  </a:cubicBezTo>
                  <a:cubicBezTo>
                    <a:pt x="376" y="145"/>
                    <a:pt x="376" y="147"/>
                    <a:pt x="377" y="148"/>
                  </a:cubicBezTo>
                  <a:cubicBezTo>
                    <a:pt x="377" y="152"/>
                    <a:pt x="378" y="151"/>
                    <a:pt x="382" y="152"/>
                  </a:cubicBezTo>
                  <a:cubicBezTo>
                    <a:pt x="389" y="154"/>
                    <a:pt x="387" y="162"/>
                    <a:pt x="395" y="163"/>
                  </a:cubicBezTo>
                  <a:cubicBezTo>
                    <a:pt x="399" y="164"/>
                    <a:pt x="406" y="164"/>
                    <a:pt x="410" y="168"/>
                  </a:cubicBezTo>
                  <a:cubicBezTo>
                    <a:pt x="413" y="173"/>
                    <a:pt x="401" y="177"/>
                    <a:pt x="399" y="178"/>
                  </a:cubicBezTo>
                  <a:cubicBezTo>
                    <a:pt x="392" y="181"/>
                    <a:pt x="386" y="186"/>
                    <a:pt x="392" y="193"/>
                  </a:cubicBezTo>
                  <a:cubicBezTo>
                    <a:pt x="395" y="198"/>
                    <a:pt x="389" y="210"/>
                    <a:pt x="398" y="210"/>
                  </a:cubicBezTo>
                  <a:cubicBezTo>
                    <a:pt x="397" y="213"/>
                    <a:pt x="389" y="215"/>
                    <a:pt x="388" y="219"/>
                  </a:cubicBezTo>
                  <a:cubicBezTo>
                    <a:pt x="387" y="225"/>
                    <a:pt x="376" y="232"/>
                    <a:pt x="381" y="237"/>
                  </a:cubicBezTo>
                  <a:cubicBezTo>
                    <a:pt x="388" y="244"/>
                    <a:pt x="372" y="247"/>
                    <a:pt x="369" y="249"/>
                  </a:cubicBezTo>
                  <a:cubicBezTo>
                    <a:pt x="366" y="251"/>
                    <a:pt x="367" y="256"/>
                    <a:pt x="366" y="260"/>
                  </a:cubicBezTo>
                  <a:cubicBezTo>
                    <a:pt x="365" y="265"/>
                    <a:pt x="364" y="271"/>
                    <a:pt x="361" y="276"/>
                  </a:cubicBezTo>
                  <a:cubicBezTo>
                    <a:pt x="358" y="284"/>
                    <a:pt x="350" y="285"/>
                    <a:pt x="344" y="291"/>
                  </a:cubicBezTo>
                  <a:cubicBezTo>
                    <a:pt x="342" y="293"/>
                    <a:pt x="342" y="296"/>
                    <a:pt x="341" y="299"/>
                  </a:cubicBezTo>
                  <a:cubicBezTo>
                    <a:pt x="341" y="305"/>
                    <a:pt x="336" y="308"/>
                    <a:pt x="334" y="313"/>
                  </a:cubicBezTo>
                  <a:cubicBezTo>
                    <a:pt x="330" y="323"/>
                    <a:pt x="324" y="320"/>
                    <a:pt x="314" y="323"/>
                  </a:cubicBezTo>
                  <a:cubicBezTo>
                    <a:pt x="311" y="324"/>
                    <a:pt x="307" y="327"/>
                    <a:pt x="304" y="327"/>
                  </a:cubicBezTo>
                  <a:cubicBezTo>
                    <a:pt x="299" y="327"/>
                    <a:pt x="297" y="321"/>
                    <a:pt x="295" y="318"/>
                  </a:cubicBezTo>
                  <a:cubicBezTo>
                    <a:pt x="290" y="311"/>
                    <a:pt x="283" y="322"/>
                    <a:pt x="281" y="326"/>
                  </a:cubicBezTo>
                  <a:cubicBezTo>
                    <a:pt x="278" y="334"/>
                    <a:pt x="272" y="341"/>
                    <a:pt x="269" y="348"/>
                  </a:cubicBezTo>
                  <a:cubicBezTo>
                    <a:pt x="265" y="358"/>
                    <a:pt x="270" y="363"/>
                    <a:pt x="279" y="365"/>
                  </a:cubicBezTo>
                  <a:cubicBezTo>
                    <a:pt x="288" y="367"/>
                    <a:pt x="292" y="368"/>
                    <a:pt x="291" y="378"/>
                  </a:cubicBezTo>
                  <a:cubicBezTo>
                    <a:pt x="290" y="384"/>
                    <a:pt x="289" y="397"/>
                    <a:pt x="299" y="397"/>
                  </a:cubicBezTo>
                  <a:cubicBezTo>
                    <a:pt x="302" y="397"/>
                    <a:pt x="306" y="395"/>
                    <a:pt x="308" y="397"/>
                  </a:cubicBezTo>
                  <a:cubicBezTo>
                    <a:pt x="311" y="400"/>
                    <a:pt x="309" y="406"/>
                    <a:pt x="311" y="409"/>
                  </a:cubicBezTo>
                  <a:cubicBezTo>
                    <a:pt x="316" y="416"/>
                    <a:pt x="321" y="421"/>
                    <a:pt x="323" y="429"/>
                  </a:cubicBezTo>
                  <a:cubicBezTo>
                    <a:pt x="324" y="432"/>
                    <a:pt x="326" y="431"/>
                    <a:pt x="322" y="433"/>
                  </a:cubicBezTo>
                  <a:cubicBezTo>
                    <a:pt x="320" y="435"/>
                    <a:pt x="324" y="441"/>
                    <a:pt x="326" y="441"/>
                  </a:cubicBezTo>
                  <a:cubicBezTo>
                    <a:pt x="321" y="446"/>
                    <a:pt x="315" y="451"/>
                    <a:pt x="310" y="443"/>
                  </a:cubicBezTo>
                  <a:cubicBezTo>
                    <a:pt x="308" y="439"/>
                    <a:pt x="305" y="442"/>
                    <a:pt x="302" y="443"/>
                  </a:cubicBezTo>
                  <a:cubicBezTo>
                    <a:pt x="301" y="444"/>
                    <a:pt x="300" y="444"/>
                    <a:pt x="298" y="445"/>
                  </a:cubicBezTo>
                  <a:cubicBezTo>
                    <a:pt x="296" y="446"/>
                    <a:pt x="297" y="448"/>
                    <a:pt x="295" y="449"/>
                  </a:cubicBezTo>
                  <a:cubicBezTo>
                    <a:pt x="287" y="453"/>
                    <a:pt x="279" y="445"/>
                    <a:pt x="271" y="446"/>
                  </a:cubicBezTo>
                  <a:cubicBezTo>
                    <a:pt x="266" y="446"/>
                    <a:pt x="260" y="447"/>
                    <a:pt x="256" y="445"/>
                  </a:cubicBezTo>
                  <a:cubicBezTo>
                    <a:pt x="257" y="448"/>
                    <a:pt x="259" y="457"/>
                    <a:pt x="254" y="457"/>
                  </a:cubicBezTo>
                  <a:cubicBezTo>
                    <a:pt x="249" y="457"/>
                    <a:pt x="241" y="457"/>
                    <a:pt x="242" y="464"/>
                  </a:cubicBezTo>
                  <a:cubicBezTo>
                    <a:pt x="241" y="460"/>
                    <a:pt x="241" y="460"/>
                    <a:pt x="240" y="464"/>
                  </a:cubicBezTo>
                  <a:cubicBezTo>
                    <a:pt x="238" y="462"/>
                    <a:pt x="237" y="460"/>
                    <a:pt x="236" y="458"/>
                  </a:cubicBezTo>
                  <a:cubicBezTo>
                    <a:pt x="237" y="460"/>
                    <a:pt x="237" y="462"/>
                    <a:pt x="236" y="464"/>
                  </a:cubicBezTo>
                  <a:cubicBezTo>
                    <a:pt x="234" y="462"/>
                    <a:pt x="233" y="461"/>
                    <a:pt x="231" y="459"/>
                  </a:cubicBezTo>
                  <a:cubicBezTo>
                    <a:pt x="232" y="464"/>
                    <a:pt x="228" y="461"/>
                    <a:pt x="225" y="463"/>
                  </a:cubicBezTo>
                  <a:cubicBezTo>
                    <a:pt x="225" y="461"/>
                    <a:pt x="225" y="460"/>
                    <a:pt x="225" y="458"/>
                  </a:cubicBezTo>
                  <a:cubicBezTo>
                    <a:pt x="221" y="461"/>
                    <a:pt x="217" y="456"/>
                    <a:pt x="221" y="454"/>
                  </a:cubicBezTo>
                  <a:cubicBezTo>
                    <a:pt x="216" y="454"/>
                    <a:pt x="210" y="448"/>
                    <a:pt x="215" y="444"/>
                  </a:cubicBezTo>
                  <a:cubicBezTo>
                    <a:pt x="209" y="441"/>
                    <a:pt x="212" y="431"/>
                    <a:pt x="208" y="429"/>
                  </a:cubicBezTo>
                  <a:cubicBezTo>
                    <a:pt x="205" y="428"/>
                    <a:pt x="192" y="427"/>
                    <a:pt x="193" y="423"/>
                  </a:cubicBezTo>
                  <a:cubicBezTo>
                    <a:pt x="193" y="415"/>
                    <a:pt x="191" y="413"/>
                    <a:pt x="187" y="406"/>
                  </a:cubicBezTo>
                  <a:cubicBezTo>
                    <a:pt x="184" y="401"/>
                    <a:pt x="175" y="396"/>
                    <a:pt x="173" y="405"/>
                  </a:cubicBezTo>
                  <a:cubicBezTo>
                    <a:pt x="178" y="405"/>
                    <a:pt x="182" y="400"/>
                    <a:pt x="184" y="407"/>
                  </a:cubicBezTo>
                  <a:cubicBezTo>
                    <a:pt x="179" y="403"/>
                    <a:pt x="173" y="406"/>
                    <a:pt x="168" y="407"/>
                  </a:cubicBezTo>
                  <a:cubicBezTo>
                    <a:pt x="162" y="409"/>
                    <a:pt x="157" y="407"/>
                    <a:pt x="151" y="409"/>
                  </a:cubicBezTo>
                  <a:cubicBezTo>
                    <a:pt x="148" y="410"/>
                    <a:pt x="128" y="409"/>
                    <a:pt x="133" y="415"/>
                  </a:cubicBezTo>
                  <a:cubicBezTo>
                    <a:pt x="131" y="416"/>
                    <a:pt x="129" y="415"/>
                    <a:pt x="129" y="412"/>
                  </a:cubicBezTo>
                  <a:cubicBezTo>
                    <a:pt x="121" y="416"/>
                    <a:pt x="115" y="404"/>
                    <a:pt x="111" y="406"/>
                  </a:cubicBezTo>
                  <a:cubicBezTo>
                    <a:pt x="111" y="407"/>
                    <a:pt x="112" y="408"/>
                    <a:pt x="113" y="409"/>
                  </a:cubicBezTo>
                  <a:cubicBezTo>
                    <a:pt x="109" y="410"/>
                    <a:pt x="92" y="405"/>
                    <a:pt x="97" y="414"/>
                  </a:cubicBezTo>
                  <a:cubicBezTo>
                    <a:pt x="92" y="412"/>
                    <a:pt x="61" y="410"/>
                    <a:pt x="64" y="418"/>
                  </a:cubicBezTo>
                  <a:cubicBezTo>
                    <a:pt x="62" y="418"/>
                    <a:pt x="60" y="415"/>
                    <a:pt x="59" y="414"/>
                  </a:cubicBezTo>
                  <a:cubicBezTo>
                    <a:pt x="56" y="412"/>
                    <a:pt x="56" y="416"/>
                    <a:pt x="54" y="417"/>
                  </a:cubicBezTo>
                  <a:cubicBezTo>
                    <a:pt x="47" y="421"/>
                    <a:pt x="41" y="416"/>
                    <a:pt x="42" y="410"/>
                  </a:cubicBezTo>
                  <a:cubicBezTo>
                    <a:pt x="42" y="401"/>
                    <a:pt x="40" y="370"/>
                    <a:pt x="56" y="374"/>
                  </a:cubicBezTo>
                  <a:cubicBezTo>
                    <a:pt x="52" y="361"/>
                    <a:pt x="81" y="368"/>
                    <a:pt x="83" y="361"/>
                  </a:cubicBezTo>
                  <a:cubicBezTo>
                    <a:pt x="83" y="358"/>
                    <a:pt x="84" y="346"/>
                    <a:pt x="83" y="345"/>
                  </a:cubicBezTo>
                  <a:cubicBezTo>
                    <a:pt x="80" y="343"/>
                    <a:pt x="76" y="345"/>
                    <a:pt x="72" y="344"/>
                  </a:cubicBezTo>
                  <a:cubicBezTo>
                    <a:pt x="67" y="344"/>
                    <a:pt x="68" y="336"/>
                    <a:pt x="68" y="332"/>
                  </a:cubicBezTo>
                  <a:cubicBezTo>
                    <a:pt x="67" y="325"/>
                    <a:pt x="65" y="317"/>
                    <a:pt x="63" y="311"/>
                  </a:cubicBezTo>
                  <a:cubicBezTo>
                    <a:pt x="62" y="308"/>
                    <a:pt x="57" y="307"/>
                    <a:pt x="55" y="306"/>
                  </a:cubicBezTo>
                  <a:cubicBezTo>
                    <a:pt x="50" y="303"/>
                    <a:pt x="46" y="302"/>
                    <a:pt x="41" y="299"/>
                  </a:cubicBezTo>
                  <a:cubicBezTo>
                    <a:pt x="31" y="295"/>
                    <a:pt x="27" y="288"/>
                    <a:pt x="22" y="279"/>
                  </a:cubicBezTo>
                  <a:cubicBezTo>
                    <a:pt x="16" y="269"/>
                    <a:pt x="8" y="261"/>
                    <a:pt x="0" y="25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47">
              <a:extLst>
                <a:ext uri="{FF2B5EF4-FFF2-40B4-BE49-F238E27FC236}">
                  <a16:creationId xmlns:a16="http://schemas.microsoft.com/office/drawing/2014/main" id="{B0867A42-48D3-4E90-B034-303EB4961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3639" y="4842455"/>
              <a:ext cx="760795" cy="880921"/>
            </a:xfrm>
            <a:custGeom>
              <a:avLst/>
              <a:gdLst>
                <a:gd name="T0" fmla="*/ 76 w 350"/>
                <a:gd name="T1" fmla="*/ 19 h 408"/>
                <a:gd name="T2" fmla="*/ 52 w 350"/>
                <a:gd name="T3" fmla="*/ 18 h 408"/>
                <a:gd name="T4" fmla="*/ 19 w 350"/>
                <a:gd name="T5" fmla="*/ 4 h 408"/>
                <a:gd name="T6" fmla="*/ 63 w 350"/>
                <a:gd name="T7" fmla="*/ 68 h 408"/>
                <a:gd name="T8" fmla="*/ 87 w 350"/>
                <a:gd name="T9" fmla="*/ 98 h 408"/>
                <a:gd name="T10" fmla="*/ 107 w 350"/>
                <a:gd name="T11" fmla="*/ 123 h 408"/>
                <a:gd name="T12" fmla="*/ 126 w 350"/>
                <a:gd name="T13" fmla="*/ 138 h 408"/>
                <a:gd name="T14" fmla="*/ 133 w 350"/>
                <a:gd name="T15" fmla="*/ 166 h 408"/>
                <a:gd name="T16" fmla="*/ 147 w 350"/>
                <a:gd name="T17" fmla="*/ 192 h 408"/>
                <a:gd name="T18" fmla="*/ 178 w 350"/>
                <a:gd name="T19" fmla="*/ 235 h 408"/>
                <a:gd name="T20" fmla="*/ 182 w 350"/>
                <a:gd name="T21" fmla="*/ 246 h 408"/>
                <a:gd name="T22" fmla="*/ 196 w 350"/>
                <a:gd name="T23" fmla="*/ 285 h 408"/>
                <a:gd name="T24" fmla="*/ 217 w 350"/>
                <a:gd name="T25" fmla="*/ 313 h 408"/>
                <a:gd name="T26" fmla="*/ 240 w 350"/>
                <a:gd name="T27" fmla="*/ 341 h 408"/>
                <a:gd name="T28" fmla="*/ 272 w 350"/>
                <a:gd name="T29" fmla="*/ 368 h 408"/>
                <a:gd name="T30" fmla="*/ 286 w 350"/>
                <a:gd name="T31" fmla="*/ 386 h 408"/>
                <a:gd name="T32" fmla="*/ 293 w 350"/>
                <a:gd name="T33" fmla="*/ 394 h 408"/>
                <a:gd name="T34" fmla="*/ 300 w 350"/>
                <a:gd name="T35" fmla="*/ 390 h 408"/>
                <a:gd name="T36" fmla="*/ 322 w 350"/>
                <a:gd name="T37" fmla="*/ 387 h 408"/>
                <a:gd name="T38" fmla="*/ 339 w 350"/>
                <a:gd name="T39" fmla="*/ 387 h 408"/>
                <a:gd name="T40" fmla="*/ 343 w 350"/>
                <a:gd name="T41" fmla="*/ 351 h 408"/>
                <a:gd name="T42" fmla="*/ 345 w 350"/>
                <a:gd name="T43" fmla="*/ 330 h 408"/>
                <a:gd name="T44" fmla="*/ 347 w 350"/>
                <a:gd name="T45" fmla="*/ 313 h 408"/>
                <a:gd name="T46" fmla="*/ 343 w 350"/>
                <a:gd name="T47" fmla="*/ 300 h 408"/>
                <a:gd name="T48" fmla="*/ 316 w 350"/>
                <a:gd name="T49" fmla="*/ 280 h 408"/>
                <a:gd name="T50" fmla="*/ 305 w 350"/>
                <a:gd name="T51" fmla="*/ 291 h 408"/>
                <a:gd name="T52" fmla="*/ 314 w 350"/>
                <a:gd name="T53" fmla="*/ 271 h 408"/>
                <a:gd name="T54" fmla="*/ 304 w 350"/>
                <a:gd name="T55" fmla="*/ 258 h 408"/>
                <a:gd name="T56" fmla="*/ 283 w 350"/>
                <a:gd name="T57" fmla="*/ 234 h 408"/>
                <a:gd name="T58" fmla="*/ 269 w 350"/>
                <a:gd name="T59" fmla="*/ 214 h 408"/>
                <a:gd name="T60" fmla="*/ 268 w 350"/>
                <a:gd name="T61" fmla="*/ 211 h 408"/>
                <a:gd name="T62" fmla="*/ 267 w 350"/>
                <a:gd name="T63" fmla="*/ 207 h 408"/>
                <a:gd name="T64" fmla="*/ 283 w 350"/>
                <a:gd name="T65" fmla="*/ 198 h 408"/>
                <a:gd name="T66" fmla="*/ 261 w 350"/>
                <a:gd name="T67" fmla="*/ 185 h 408"/>
                <a:gd name="T68" fmla="*/ 251 w 350"/>
                <a:gd name="T69" fmla="*/ 173 h 408"/>
                <a:gd name="T70" fmla="*/ 235 w 350"/>
                <a:gd name="T71" fmla="*/ 165 h 408"/>
                <a:gd name="T72" fmla="*/ 220 w 350"/>
                <a:gd name="T73" fmla="*/ 142 h 408"/>
                <a:gd name="T74" fmla="*/ 204 w 350"/>
                <a:gd name="T75" fmla="*/ 127 h 408"/>
                <a:gd name="T76" fmla="*/ 194 w 350"/>
                <a:gd name="T77" fmla="*/ 135 h 408"/>
                <a:gd name="T78" fmla="*/ 180 w 350"/>
                <a:gd name="T79" fmla="*/ 122 h 408"/>
                <a:gd name="T80" fmla="*/ 169 w 350"/>
                <a:gd name="T81" fmla="*/ 111 h 408"/>
                <a:gd name="T82" fmla="*/ 162 w 350"/>
                <a:gd name="T83" fmla="*/ 96 h 408"/>
                <a:gd name="T84" fmla="*/ 134 w 350"/>
                <a:gd name="T85" fmla="*/ 72 h 408"/>
                <a:gd name="T86" fmla="*/ 123 w 350"/>
                <a:gd name="T87" fmla="*/ 63 h 408"/>
                <a:gd name="T88" fmla="*/ 108 w 350"/>
                <a:gd name="T89" fmla="*/ 43 h 408"/>
                <a:gd name="T90" fmla="*/ 85 w 350"/>
                <a:gd name="T91" fmla="*/ 1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0" h="408">
                  <a:moveTo>
                    <a:pt x="85" y="16"/>
                  </a:moveTo>
                  <a:cubicBezTo>
                    <a:pt x="83" y="18"/>
                    <a:pt x="79" y="20"/>
                    <a:pt x="76" y="19"/>
                  </a:cubicBezTo>
                  <a:cubicBezTo>
                    <a:pt x="73" y="18"/>
                    <a:pt x="72" y="16"/>
                    <a:pt x="69" y="16"/>
                  </a:cubicBezTo>
                  <a:cubicBezTo>
                    <a:pt x="63" y="15"/>
                    <a:pt x="58" y="18"/>
                    <a:pt x="52" y="18"/>
                  </a:cubicBezTo>
                  <a:cubicBezTo>
                    <a:pt x="45" y="17"/>
                    <a:pt x="41" y="15"/>
                    <a:pt x="36" y="10"/>
                  </a:cubicBezTo>
                  <a:cubicBezTo>
                    <a:pt x="33" y="6"/>
                    <a:pt x="24" y="0"/>
                    <a:pt x="19" y="4"/>
                  </a:cubicBezTo>
                  <a:cubicBezTo>
                    <a:pt x="0" y="17"/>
                    <a:pt x="46" y="54"/>
                    <a:pt x="53" y="64"/>
                  </a:cubicBezTo>
                  <a:cubicBezTo>
                    <a:pt x="56" y="67"/>
                    <a:pt x="59" y="68"/>
                    <a:pt x="63" y="68"/>
                  </a:cubicBezTo>
                  <a:cubicBezTo>
                    <a:pt x="70" y="70"/>
                    <a:pt x="73" y="77"/>
                    <a:pt x="76" y="83"/>
                  </a:cubicBezTo>
                  <a:cubicBezTo>
                    <a:pt x="78" y="86"/>
                    <a:pt x="83" y="96"/>
                    <a:pt x="87" y="98"/>
                  </a:cubicBezTo>
                  <a:cubicBezTo>
                    <a:pt x="95" y="101"/>
                    <a:pt x="92" y="108"/>
                    <a:pt x="94" y="115"/>
                  </a:cubicBezTo>
                  <a:cubicBezTo>
                    <a:pt x="96" y="121"/>
                    <a:pt x="102" y="119"/>
                    <a:pt x="107" y="123"/>
                  </a:cubicBezTo>
                  <a:cubicBezTo>
                    <a:pt x="110" y="125"/>
                    <a:pt x="113" y="127"/>
                    <a:pt x="116" y="129"/>
                  </a:cubicBezTo>
                  <a:cubicBezTo>
                    <a:pt x="119" y="132"/>
                    <a:pt x="123" y="134"/>
                    <a:pt x="126" y="138"/>
                  </a:cubicBezTo>
                  <a:cubicBezTo>
                    <a:pt x="130" y="142"/>
                    <a:pt x="126" y="143"/>
                    <a:pt x="128" y="148"/>
                  </a:cubicBezTo>
                  <a:cubicBezTo>
                    <a:pt x="129" y="154"/>
                    <a:pt x="132" y="160"/>
                    <a:pt x="133" y="166"/>
                  </a:cubicBezTo>
                  <a:cubicBezTo>
                    <a:pt x="135" y="172"/>
                    <a:pt x="140" y="179"/>
                    <a:pt x="139" y="186"/>
                  </a:cubicBezTo>
                  <a:cubicBezTo>
                    <a:pt x="139" y="193"/>
                    <a:pt x="144" y="188"/>
                    <a:pt x="147" y="192"/>
                  </a:cubicBezTo>
                  <a:cubicBezTo>
                    <a:pt x="152" y="197"/>
                    <a:pt x="158" y="196"/>
                    <a:pt x="159" y="204"/>
                  </a:cubicBezTo>
                  <a:cubicBezTo>
                    <a:pt x="161" y="216"/>
                    <a:pt x="176" y="223"/>
                    <a:pt x="178" y="235"/>
                  </a:cubicBezTo>
                  <a:cubicBezTo>
                    <a:pt x="179" y="236"/>
                    <a:pt x="176" y="237"/>
                    <a:pt x="177" y="238"/>
                  </a:cubicBezTo>
                  <a:cubicBezTo>
                    <a:pt x="179" y="241"/>
                    <a:pt x="181" y="243"/>
                    <a:pt x="182" y="246"/>
                  </a:cubicBezTo>
                  <a:cubicBezTo>
                    <a:pt x="185" y="252"/>
                    <a:pt x="192" y="261"/>
                    <a:pt x="192" y="268"/>
                  </a:cubicBezTo>
                  <a:cubicBezTo>
                    <a:pt x="192" y="274"/>
                    <a:pt x="192" y="279"/>
                    <a:pt x="196" y="285"/>
                  </a:cubicBezTo>
                  <a:cubicBezTo>
                    <a:pt x="199" y="289"/>
                    <a:pt x="204" y="292"/>
                    <a:pt x="207" y="297"/>
                  </a:cubicBezTo>
                  <a:cubicBezTo>
                    <a:pt x="210" y="303"/>
                    <a:pt x="212" y="308"/>
                    <a:pt x="217" y="313"/>
                  </a:cubicBezTo>
                  <a:cubicBezTo>
                    <a:pt x="222" y="317"/>
                    <a:pt x="228" y="320"/>
                    <a:pt x="232" y="327"/>
                  </a:cubicBezTo>
                  <a:cubicBezTo>
                    <a:pt x="235" y="333"/>
                    <a:pt x="234" y="336"/>
                    <a:pt x="240" y="341"/>
                  </a:cubicBezTo>
                  <a:cubicBezTo>
                    <a:pt x="246" y="346"/>
                    <a:pt x="251" y="351"/>
                    <a:pt x="256" y="357"/>
                  </a:cubicBezTo>
                  <a:cubicBezTo>
                    <a:pt x="261" y="361"/>
                    <a:pt x="266" y="365"/>
                    <a:pt x="272" y="368"/>
                  </a:cubicBezTo>
                  <a:cubicBezTo>
                    <a:pt x="277" y="371"/>
                    <a:pt x="278" y="373"/>
                    <a:pt x="281" y="378"/>
                  </a:cubicBezTo>
                  <a:cubicBezTo>
                    <a:pt x="282" y="381"/>
                    <a:pt x="284" y="384"/>
                    <a:pt x="286" y="386"/>
                  </a:cubicBezTo>
                  <a:cubicBezTo>
                    <a:pt x="288" y="388"/>
                    <a:pt x="290" y="390"/>
                    <a:pt x="292" y="391"/>
                  </a:cubicBezTo>
                  <a:cubicBezTo>
                    <a:pt x="293" y="392"/>
                    <a:pt x="291" y="393"/>
                    <a:pt x="293" y="394"/>
                  </a:cubicBezTo>
                  <a:cubicBezTo>
                    <a:pt x="294" y="395"/>
                    <a:pt x="304" y="408"/>
                    <a:pt x="304" y="401"/>
                  </a:cubicBezTo>
                  <a:cubicBezTo>
                    <a:pt x="304" y="397"/>
                    <a:pt x="300" y="394"/>
                    <a:pt x="300" y="390"/>
                  </a:cubicBezTo>
                  <a:cubicBezTo>
                    <a:pt x="299" y="385"/>
                    <a:pt x="308" y="392"/>
                    <a:pt x="309" y="393"/>
                  </a:cubicBezTo>
                  <a:cubicBezTo>
                    <a:pt x="316" y="399"/>
                    <a:pt x="323" y="399"/>
                    <a:pt x="322" y="387"/>
                  </a:cubicBezTo>
                  <a:cubicBezTo>
                    <a:pt x="326" y="391"/>
                    <a:pt x="329" y="399"/>
                    <a:pt x="336" y="400"/>
                  </a:cubicBezTo>
                  <a:cubicBezTo>
                    <a:pt x="339" y="401"/>
                    <a:pt x="339" y="389"/>
                    <a:pt x="339" y="387"/>
                  </a:cubicBezTo>
                  <a:cubicBezTo>
                    <a:pt x="340" y="380"/>
                    <a:pt x="341" y="372"/>
                    <a:pt x="341" y="365"/>
                  </a:cubicBezTo>
                  <a:cubicBezTo>
                    <a:pt x="342" y="361"/>
                    <a:pt x="344" y="355"/>
                    <a:pt x="343" y="351"/>
                  </a:cubicBezTo>
                  <a:cubicBezTo>
                    <a:pt x="341" y="348"/>
                    <a:pt x="340" y="347"/>
                    <a:pt x="341" y="344"/>
                  </a:cubicBezTo>
                  <a:cubicBezTo>
                    <a:pt x="342" y="340"/>
                    <a:pt x="345" y="335"/>
                    <a:pt x="345" y="330"/>
                  </a:cubicBezTo>
                  <a:cubicBezTo>
                    <a:pt x="345" y="327"/>
                    <a:pt x="341" y="327"/>
                    <a:pt x="342" y="323"/>
                  </a:cubicBezTo>
                  <a:cubicBezTo>
                    <a:pt x="343" y="320"/>
                    <a:pt x="345" y="316"/>
                    <a:pt x="347" y="313"/>
                  </a:cubicBezTo>
                  <a:cubicBezTo>
                    <a:pt x="349" y="310"/>
                    <a:pt x="350" y="309"/>
                    <a:pt x="349" y="304"/>
                  </a:cubicBezTo>
                  <a:cubicBezTo>
                    <a:pt x="349" y="300"/>
                    <a:pt x="345" y="302"/>
                    <a:pt x="343" y="300"/>
                  </a:cubicBezTo>
                  <a:cubicBezTo>
                    <a:pt x="340" y="297"/>
                    <a:pt x="335" y="286"/>
                    <a:pt x="337" y="282"/>
                  </a:cubicBezTo>
                  <a:cubicBezTo>
                    <a:pt x="334" y="281"/>
                    <a:pt x="317" y="277"/>
                    <a:pt x="316" y="280"/>
                  </a:cubicBezTo>
                  <a:cubicBezTo>
                    <a:pt x="315" y="279"/>
                    <a:pt x="315" y="278"/>
                    <a:pt x="314" y="277"/>
                  </a:cubicBezTo>
                  <a:cubicBezTo>
                    <a:pt x="310" y="282"/>
                    <a:pt x="310" y="288"/>
                    <a:pt x="305" y="291"/>
                  </a:cubicBezTo>
                  <a:cubicBezTo>
                    <a:pt x="306" y="289"/>
                    <a:pt x="313" y="281"/>
                    <a:pt x="306" y="281"/>
                  </a:cubicBezTo>
                  <a:cubicBezTo>
                    <a:pt x="310" y="279"/>
                    <a:pt x="315" y="276"/>
                    <a:pt x="314" y="271"/>
                  </a:cubicBezTo>
                  <a:cubicBezTo>
                    <a:pt x="314" y="268"/>
                    <a:pt x="310" y="269"/>
                    <a:pt x="308" y="268"/>
                  </a:cubicBezTo>
                  <a:cubicBezTo>
                    <a:pt x="305" y="266"/>
                    <a:pt x="304" y="260"/>
                    <a:pt x="304" y="258"/>
                  </a:cubicBezTo>
                  <a:cubicBezTo>
                    <a:pt x="302" y="251"/>
                    <a:pt x="300" y="245"/>
                    <a:pt x="300" y="238"/>
                  </a:cubicBezTo>
                  <a:cubicBezTo>
                    <a:pt x="299" y="234"/>
                    <a:pt x="287" y="233"/>
                    <a:pt x="283" y="234"/>
                  </a:cubicBezTo>
                  <a:cubicBezTo>
                    <a:pt x="280" y="235"/>
                    <a:pt x="275" y="229"/>
                    <a:pt x="272" y="227"/>
                  </a:cubicBezTo>
                  <a:cubicBezTo>
                    <a:pt x="269" y="224"/>
                    <a:pt x="270" y="218"/>
                    <a:pt x="269" y="214"/>
                  </a:cubicBezTo>
                  <a:cubicBezTo>
                    <a:pt x="270" y="216"/>
                    <a:pt x="273" y="216"/>
                    <a:pt x="275" y="215"/>
                  </a:cubicBezTo>
                  <a:cubicBezTo>
                    <a:pt x="274" y="211"/>
                    <a:pt x="271" y="211"/>
                    <a:pt x="268" y="211"/>
                  </a:cubicBezTo>
                  <a:cubicBezTo>
                    <a:pt x="270" y="211"/>
                    <a:pt x="272" y="209"/>
                    <a:pt x="273" y="207"/>
                  </a:cubicBezTo>
                  <a:cubicBezTo>
                    <a:pt x="271" y="207"/>
                    <a:pt x="269" y="207"/>
                    <a:pt x="267" y="207"/>
                  </a:cubicBezTo>
                  <a:cubicBezTo>
                    <a:pt x="270" y="206"/>
                    <a:pt x="272" y="203"/>
                    <a:pt x="275" y="201"/>
                  </a:cubicBezTo>
                  <a:cubicBezTo>
                    <a:pt x="277" y="199"/>
                    <a:pt x="282" y="200"/>
                    <a:pt x="283" y="198"/>
                  </a:cubicBezTo>
                  <a:cubicBezTo>
                    <a:pt x="285" y="195"/>
                    <a:pt x="278" y="188"/>
                    <a:pt x="276" y="186"/>
                  </a:cubicBezTo>
                  <a:cubicBezTo>
                    <a:pt x="271" y="180"/>
                    <a:pt x="267" y="180"/>
                    <a:pt x="261" y="185"/>
                  </a:cubicBezTo>
                  <a:cubicBezTo>
                    <a:pt x="256" y="188"/>
                    <a:pt x="245" y="196"/>
                    <a:pt x="240" y="189"/>
                  </a:cubicBezTo>
                  <a:cubicBezTo>
                    <a:pt x="250" y="195"/>
                    <a:pt x="270" y="177"/>
                    <a:pt x="251" y="173"/>
                  </a:cubicBezTo>
                  <a:cubicBezTo>
                    <a:pt x="248" y="172"/>
                    <a:pt x="245" y="174"/>
                    <a:pt x="242" y="172"/>
                  </a:cubicBezTo>
                  <a:cubicBezTo>
                    <a:pt x="239" y="171"/>
                    <a:pt x="238" y="167"/>
                    <a:pt x="235" y="165"/>
                  </a:cubicBezTo>
                  <a:cubicBezTo>
                    <a:pt x="230" y="161"/>
                    <a:pt x="233" y="152"/>
                    <a:pt x="227" y="147"/>
                  </a:cubicBezTo>
                  <a:cubicBezTo>
                    <a:pt x="224" y="146"/>
                    <a:pt x="222" y="143"/>
                    <a:pt x="220" y="142"/>
                  </a:cubicBezTo>
                  <a:cubicBezTo>
                    <a:pt x="217" y="140"/>
                    <a:pt x="214" y="142"/>
                    <a:pt x="211" y="140"/>
                  </a:cubicBezTo>
                  <a:cubicBezTo>
                    <a:pt x="206" y="138"/>
                    <a:pt x="207" y="131"/>
                    <a:pt x="204" y="127"/>
                  </a:cubicBezTo>
                  <a:cubicBezTo>
                    <a:pt x="202" y="125"/>
                    <a:pt x="192" y="115"/>
                    <a:pt x="190" y="121"/>
                  </a:cubicBezTo>
                  <a:cubicBezTo>
                    <a:pt x="188" y="125"/>
                    <a:pt x="194" y="131"/>
                    <a:pt x="194" y="135"/>
                  </a:cubicBezTo>
                  <a:cubicBezTo>
                    <a:pt x="192" y="133"/>
                    <a:pt x="192" y="131"/>
                    <a:pt x="190" y="129"/>
                  </a:cubicBezTo>
                  <a:cubicBezTo>
                    <a:pt x="188" y="125"/>
                    <a:pt x="183" y="125"/>
                    <a:pt x="180" y="122"/>
                  </a:cubicBezTo>
                  <a:cubicBezTo>
                    <a:pt x="175" y="117"/>
                    <a:pt x="175" y="109"/>
                    <a:pt x="170" y="105"/>
                  </a:cubicBezTo>
                  <a:cubicBezTo>
                    <a:pt x="168" y="106"/>
                    <a:pt x="168" y="108"/>
                    <a:pt x="169" y="111"/>
                  </a:cubicBezTo>
                  <a:cubicBezTo>
                    <a:pt x="168" y="109"/>
                    <a:pt x="163" y="99"/>
                    <a:pt x="165" y="107"/>
                  </a:cubicBezTo>
                  <a:cubicBezTo>
                    <a:pt x="162" y="103"/>
                    <a:pt x="166" y="99"/>
                    <a:pt x="162" y="96"/>
                  </a:cubicBezTo>
                  <a:cubicBezTo>
                    <a:pt x="157" y="93"/>
                    <a:pt x="154" y="88"/>
                    <a:pt x="149" y="84"/>
                  </a:cubicBezTo>
                  <a:cubicBezTo>
                    <a:pt x="144" y="81"/>
                    <a:pt x="140" y="75"/>
                    <a:pt x="134" y="72"/>
                  </a:cubicBezTo>
                  <a:cubicBezTo>
                    <a:pt x="132" y="71"/>
                    <a:pt x="130" y="71"/>
                    <a:pt x="128" y="70"/>
                  </a:cubicBezTo>
                  <a:cubicBezTo>
                    <a:pt x="125" y="68"/>
                    <a:pt x="125" y="66"/>
                    <a:pt x="123" y="63"/>
                  </a:cubicBezTo>
                  <a:cubicBezTo>
                    <a:pt x="120" y="60"/>
                    <a:pt x="114" y="60"/>
                    <a:pt x="111" y="57"/>
                  </a:cubicBezTo>
                  <a:cubicBezTo>
                    <a:pt x="107" y="53"/>
                    <a:pt x="113" y="47"/>
                    <a:pt x="108" y="43"/>
                  </a:cubicBezTo>
                  <a:cubicBezTo>
                    <a:pt x="104" y="39"/>
                    <a:pt x="103" y="39"/>
                    <a:pt x="100" y="33"/>
                  </a:cubicBezTo>
                  <a:cubicBezTo>
                    <a:pt x="99" y="27"/>
                    <a:pt x="89" y="20"/>
                    <a:pt x="85" y="1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48">
              <a:extLst>
                <a:ext uri="{FF2B5EF4-FFF2-40B4-BE49-F238E27FC236}">
                  <a16:creationId xmlns:a16="http://schemas.microsoft.com/office/drawing/2014/main" id="{73AA057E-3933-434A-B42B-5801D35CD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3639" y="4842455"/>
              <a:ext cx="760795" cy="880921"/>
            </a:xfrm>
            <a:custGeom>
              <a:avLst/>
              <a:gdLst>
                <a:gd name="T0" fmla="*/ 76 w 350"/>
                <a:gd name="T1" fmla="*/ 19 h 408"/>
                <a:gd name="T2" fmla="*/ 52 w 350"/>
                <a:gd name="T3" fmla="*/ 18 h 408"/>
                <a:gd name="T4" fmla="*/ 19 w 350"/>
                <a:gd name="T5" fmla="*/ 4 h 408"/>
                <a:gd name="T6" fmla="*/ 63 w 350"/>
                <a:gd name="T7" fmla="*/ 68 h 408"/>
                <a:gd name="T8" fmla="*/ 87 w 350"/>
                <a:gd name="T9" fmla="*/ 98 h 408"/>
                <a:gd name="T10" fmla="*/ 107 w 350"/>
                <a:gd name="T11" fmla="*/ 123 h 408"/>
                <a:gd name="T12" fmla="*/ 126 w 350"/>
                <a:gd name="T13" fmla="*/ 138 h 408"/>
                <a:gd name="T14" fmla="*/ 133 w 350"/>
                <a:gd name="T15" fmla="*/ 166 h 408"/>
                <a:gd name="T16" fmla="*/ 147 w 350"/>
                <a:gd name="T17" fmla="*/ 192 h 408"/>
                <a:gd name="T18" fmla="*/ 178 w 350"/>
                <a:gd name="T19" fmla="*/ 235 h 408"/>
                <a:gd name="T20" fmla="*/ 182 w 350"/>
                <a:gd name="T21" fmla="*/ 246 h 408"/>
                <a:gd name="T22" fmla="*/ 196 w 350"/>
                <a:gd name="T23" fmla="*/ 285 h 408"/>
                <a:gd name="T24" fmla="*/ 217 w 350"/>
                <a:gd name="T25" fmla="*/ 313 h 408"/>
                <a:gd name="T26" fmla="*/ 240 w 350"/>
                <a:gd name="T27" fmla="*/ 341 h 408"/>
                <a:gd name="T28" fmla="*/ 272 w 350"/>
                <a:gd name="T29" fmla="*/ 368 h 408"/>
                <a:gd name="T30" fmla="*/ 286 w 350"/>
                <a:gd name="T31" fmla="*/ 386 h 408"/>
                <a:gd name="T32" fmla="*/ 293 w 350"/>
                <a:gd name="T33" fmla="*/ 394 h 408"/>
                <a:gd name="T34" fmla="*/ 300 w 350"/>
                <a:gd name="T35" fmla="*/ 390 h 408"/>
                <a:gd name="T36" fmla="*/ 322 w 350"/>
                <a:gd name="T37" fmla="*/ 387 h 408"/>
                <a:gd name="T38" fmla="*/ 339 w 350"/>
                <a:gd name="T39" fmla="*/ 387 h 408"/>
                <a:gd name="T40" fmla="*/ 343 w 350"/>
                <a:gd name="T41" fmla="*/ 351 h 408"/>
                <a:gd name="T42" fmla="*/ 345 w 350"/>
                <a:gd name="T43" fmla="*/ 330 h 408"/>
                <a:gd name="T44" fmla="*/ 347 w 350"/>
                <a:gd name="T45" fmla="*/ 313 h 408"/>
                <a:gd name="T46" fmla="*/ 343 w 350"/>
                <a:gd name="T47" fmla="*/ 300 h 408"/>
                <a:gd name="T48" fmla="*/ 316 w 350"/>
                <a:gd name="T49" fmla="*/ 280 h 408"/>
                <a:gd name="T50" fmla="*/ 305 w 350"/>
                <a:gd name="T51" fmla="*/ 291 h 408"/>
                <a:gd name="T52" fmla="*/ 314 w 350"/>
                <a:gd name="T53" fmla="*/ 271 h 408"/>
                <a:gd name="T54" fmla="*/ 304 w 350"/>
                <a:gd name="T55" fmla="*/ 258 h 408"/>
                <a:gd name="T56" fmla="*/ 283 w 350"/>
                <a:gd name="T57" fmla="*/ 234 h 408"/>
                <a:gd name="T58" fmla="*/ 269 w 350"/>
                <a:gd name="T59" fmla="*/ 214 h 408"/>
                <a:gd name="T60" fmla="*/ 268 w 350"/>
                <a:gd name="T61" fmla="*/ 211 h 408"/>
                <a:gd name="T62" fmla="*/ 267 w 350"/>
                <a:gd name="T63" fmla="*/ 207 h 408"/>
                <a:gd name="T64" fmla="*/ 283 w 350"/>
                <a:gd name="T65" fmla="*/ 198 h 408"/>
                <a:gd name="T66" fmla="*/ 261 w 350"/>
                <a:gd name="T67" fmla="*/ 185 h 408"/>
                <a:gd name="T68" fmla="*/ 251 w 350"/>
                <a:gd name="T69" fmla="*/ 173 h 408"/>
                <a:gd name="T70" fmla="*/ 235 w 350"/>
                <a:gd name="T71" fmla="*/ 165 h 408"/>
                <a:gd name="T72" fmla="*/ 220 w 350"/>
                <a:gd name="T73" fmla="*/ 142 h 408"/>
                <a:gd name="T74" fmla="*/ 204 w 350"/>
                <a:gd name="T75" fmla="*/ 127 h 408"/>
                <a:gd name="T76" fmla="*/ 194 w 350"/>
                <a:gd name="T77" fmla="*/ 135 h 408"/>
                <a:gd name="T78" fmla="*/ 180 w 350"/>
                <a:gd name="T79" fmla="*/ 122 h 408"/>
                <a:gd name="T80" fmla="*/ 169 w 350"/>
                <a:gd name="T81" fmla="*/ 111 h 408"/>
                <a:gd name="T82" fmla="*/ 162 w 350"/>
                <a:gd name="T83" fmla="*/ 96 h 408"/>
                <a:gd name="T84" fmla="*/ 134 w 350"/>
                <a:gd name="T85" fmla="*/ 72 h 408"/>
                <a:gd name="T86" fmla="*/ 123 w 350"/>
                <a:gd name="T87" fmla="*/ 63 h 408"/>
                <a:gd name="T88" fmla="*/ 108 w 350"/>
                <a:gd name="T89" fmla="*/ 43 h 408"/>
                <a:gd name="T90" fmla="*/ 85 w 350"/>
                <a:gd name="T91" fmla="*/ 1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0" h="408">
                  <a:moveTo>
                    <a:pt x="85" y="16"/>
                  </a:moveTo>
                  <a:cubicBezTo>
                    <a:pt x="83" y="18"/>
                    <a:pt x="79" y="20"/>
                    <a:pt x="76" y="19"/>
                  </a:cubicBezTo>
                  <a:cubicBezTo>
                    <a:pt x="73" y="18"/>
                    <a:pt x="72" y="16"/>
                    <a:pt x="69" y="16"/>
                  </a:cubicBezTo>
                  <a:cubicBezTo>
                    <a:pt x="63" y="15"/>
                    <a:pt x="58" y="18"/>
                    <a:pt x="52" y="18"/>
                  </a:cubicBezTo>
                  <a:cubicBezTo>
                    <a:pt x="45" y="17"/>
                    <a:pt x="41" y="15"/>
                    <a:pt x="36" y="10"/>
                  </a:cubicBezTo>
                  <a:cubicBezTo>
                    <a:pt x="33" y="6"/>
                    <a:pt x="24" y="0"/>
                    <a:pt x="19" y="4"/>
                  </a:cubicBezTo>
                  <a:cubicBezTo>
                    <a:pt x="0" y="17"/>
                    <a:pt x="46" y="54"/>
                    <a:pt x="53" y="64"/>
                  </a:cubicBezTo>
                  <a:cubicBezTo>
                    <a:pt x="56" y="67"/>
                    <a:pt x="59" y="68"/>
                    <a:pt x="63" y="68"/>
                  </a:cubicBezTo>
                  <a:cubicBezTo>
                    <a:pt x="70" y="70"/>
                    <a:pt x="73" y="77"/>
                    <a:pt x="76" y="83"/>
                  </a:cubicBezTo>
                  <a:cubicBezTo>
                    <a:pt x="78" y="86"/>
                    <a:pt x="83" y="96"/>
                    <a:pt x="87" y="98"/>
                  </a:cubicBezTo>
                  <a:cubicBezTo>
                    <a:pt x="95" y="101"/>
                    <a:pt x="92" y="108"/>
                    <a:pt x="94" y="115"/>
                  </a:cubicBezTo>
                  <a:cubicBezTo>
                    <a:pt x="96" y="121"/>
                    <a:pt x="102" y="119"/>
                    <a:pt x="107" y="123"/>
                  </a:cubicBezTo>
                  <a:cubicBezTo>
                    <a:pt x="110" y="125"/>
                    <a:pt x="113" y="127"/>
                    <a:pt x="116" y="129"/>
                  </a:cubicBezTo>
                  <a:cubicBezTo>
                    <a:pt x="119" y="132"/>
                    <a:pt x="123" y="134"/>
                    <a:pt x="126" y="138"/>
                  </a:cubicBezTo>
                  <a:cubicBezTo>
                    <a:pt x="130" y="142"/>
                    <a:pt x="126" y="143"/>
                    <a:pt x="128" y="148"/>
                  </a:cubicBezTo>
                  <a:cubicBezTo>
                    <a:pt x="129" y="154"/>
                    <a:pt x="132" y="160"/>
                    <a:pt x="133" y="166"/>
                  </a:cubicBezTo>
                  <a:cubicBezTo>
                    <a:pt x="135" y="172"/>
                    <a:pt x="140" y="179"/>
                    <a:pt x="139" y="186"/>
                  </a:cubicBezTo>
                  <a:cubicBezTo>
                    <a:pt x="139" y="193"/>
                    <a:pt x="144" y="188"/>
                    <a:pt x="147" y="192"/>
                  </a:cubicBezTo>
                  <a:cubicBezTo>
                    <a:pt x="152" y="197"/>
                    <a:pt x="158" y="196"/>
                    <a:pt x="159" y="204"/>
                  </a:cubicBezTo>
                  <a:cubicBezTo>
                    <a:pt x="161" y="216"/>
                    <a:pt x="176" y="223"/>
                    <a:pt x="178" y="235"/>
                  </a:cubicBezTo>
                  <a:cubicBezTo>
                    <a:pt x="179" y="236"/>
                    <a:pt x="176" y="237"/>
                    <a:pt x="177" y="238"/>
                  </a:cubicBezTo>
                  <a:cubicBezTo>
                    <a:pt x="179" y="241"/>
                    <a:pt x="181" y="243"/>
                    <a:pt x="182" y="246"/>
                  </a:cubicBezTo>
                  <a:cubicBezTo>
                    <a:pt x="185" y="252"/>
                    <a:pt x="192" y="261"/>
                    <a:pt x="192" y="268"/>
                  </a:cubicBezTo>
                  <a:cubicBezTo>
                    <a:pt x="192" y="274"/>
                    <a:pt x="192" y="279"/>
                    <a:pt x="196" y="285"/>
                  </a:cubicBezTo>
                  <a:cubicBezTo>
                    <a:pt x="199" y="289"/>
                    <a:pt x="204" y="292"/>
                    <a:pt x="207" y="297"/>
                  </a:cubicBezTo>
                  <a:cubicBezTo>
                    <a:pt x="210" y="303"/>
                    <a:pt x="212" y="308"/>
                    <a:pt x="217" y="313"/>
                  </a:cubicBezTo>
                  <a:cubicBezTo>
                    <a:pt x="222" y="317"/>
                    <a:pt x="228" y="320"/>
                    <a:pt x="232" y="327"/>
                  </a:cubicBezTo>
                  <a:cubicBezTo>
                    <a:pt x="235" y="333"/>
                    <a:pt x="234" y="336"/>
                    <a:pt x="240" y="341"/>
                  </a:cubicBezTo>
                  <a:cubicBezTo>
                    <a:pt x="246" y="346"/>
                    <a:pt x="251" y="351"/>
                    <a:pt x="256" y="357"/>
                  </a:cubicBezTo>
                  <a:cubicBezTo>
                    <a:pt x="261" y="361"/>
                    <a:pt x="266" y="365"/>
                    <a:pt x="272" y="368"/>
                  </a:cubicBezTo>
                  <a:cubicBezTo>
                    <a:pt x="277" y="371"/>
                    <a:pt x="278" y="373"/>
                    <a:pt x="281" y="378"/>
                  </a:cubicBezTo>
                  <a:cubicBezTo>
                    <a:pt x="282" y="381"/>
                    <a:pt x="284" y="384"/>
                    <a:pt x="286" y="386"/>
                  </a:cubicBezTo>
                  <a:cubicBezTo>
                    <a:pt x="288" y="388"/>
                    <a:pt x="290" y="390"/>
                    <a:pt x="292" y="391"/>
                  </a:cubicBezTo>
                  <a:cubicBezTo>
                    <a:pt x="293" y="392"/>
                    <a:pt x="291" y="393"/>
                    <a:pt x="293" y="394"/>
                  </a:cubicBezTo>
                  <a:cubicBezTo>
                    <a:pt x="294" y="395"/>
                    <a:pt x="304" y="408"/>
                    <a:pt x="304" y="401"/>
                  </a:cubicBezTo>
                  <a:cubicBezTo>
                    <a:pt x="304" y="397"/>
                    <a:pt x="300" y="394"/>
                    <a:pt x="300" y="390"/>
                  </a:cubicBezTo>
                  <a:cubicBezTo>
                    <a:pt x="299" y="385"/>
                    <a:pt x="308" y="392"/>
                    <a:pt x="309" y="393"/>
                  </a:cubicBezTo>
                  <a:cubicBezTo>
                    <a:pt x="316" y="399"/>
                    <a:pt x="323" y="399"/>
                    <a:pt x="322" y="387"/>
                  </a:cubicBezTo>
                  <a:cubicBezTo>
                    <a:pt x="326" y="391"/>
                    <a:pt x="329" y="399"/>
                    <a:pt x="336" y="400"/>
                  </a:cubicBezTo>
                  <a:cubicBezTo>
                    <a:pt x="339" y="401"/>
                    <a:pt x="339" y="389"/>
                    <a:pt x="339" y="387"/>
                  </a:cubicBezTo>
                  <a:cubicBezTo>
                    <a:pt x="340" y="380"/>
                    <a:pt x="341" y="372"/>
                    <a:pt x="341" y="365"/>
                  </a:cubicBezTo>
                  <a:cubicBezTo>
                    <a:pt x="342" y="361"/>
                    <a:pt x="344" y="355"/>
                    <a:pt x="343" y="351"/>
                  </a:cubicBezTo>
                  <a:cubicBezTo>
                    <a:pt x="341" y="348"/>
                    <a:pt x="340" y="347"/>
                    <a:pt x="341" y="344"/>
                  </a:cubicBezTo>
                  <a:cubicBezTo>
                    <a:pt x="342" y="340"/>
                    <a:pt x="345" y="335"/>
                    <a:pt x="345" y="330"/>
                  </a:cubicBezTo>
                  <a:cubicBezTo>
                    <a:pt x="345" y="327"/>
                    <a:pt x="341" y="327"/>
                    <a:pt x="342" y="323"/>
                  </a:cubicBezTo>
                  <a:cubicBezTo>
                    <a:pt x="343" y="320"/>
                    <a:pt x="345" y="316"/>
                    <a:pt x="347" y="313"/>
                  </a:cubicBezTo>
                  <a:cubicBezTo>
                    <a:pt x="349" y="310"/>
                    <a:pt x="350" y="309"/>
                    <a:pt x="349" y="304"/>
                  </a:cubicBezTo>
                  <a:cubicBezTo>
                    <a:pt x="349" y="300"/>
                    <a:pt x="345" y="302"/>
                    <a:pt x="343" y="300"/>
                  </a:cubicBezTo>
                  <a:cubicBezTo>
                    <a:pt x="340" y="297"/>
                    <a:pt x="335" y="286"/>
                    <a:pt x="337" y="282"/>
                  </a:cubicBezTo>
                  <a:cubicBezTo>
                    <a:pt x="334" y="281"/>
                    <a:pt x="317" y="277"/>
                    <a:pt x="316" y="280"/>
                  </a:cubicBezTo>
                  <a:cubicBezTo>
                    <a:pt x="315" y="279"/>
                    <a:pt x="315" y="278"/>
                    <a:pt x="314" y="277"/>
                  </a:cubicBezTo>
                  <a:cubicBezTo>
                    <a:pt x="310" y="282"/>
                    <a:pt x="310" y="288"/>
                    <a:pt x="305" y="291"/>
                  </a:cubicBezTo>
                  <a:cubicBezTo>
                    <a:pt x="306" y="289"/>
                    <a:pt x="313" y="281"/>
                    <a:pt x="306" y="281"/>
                  </a:cubicBezTo>
                  <a:cubicBezTo>
                    <a:pt x="310" y="279"/>
                    <a:pt x="315" y="276"/>
                    <a:pt x="314" y="271"/>
                  </a:cubicBezTo>
                  <a:cubicBezTo>
                    <a:pt x="314" y="268"/>
                    <a:pt x="310" y="269"/>
                    <a:pt x="308" y="268"/>
                  </a:cubicBezTo>
                  <a:cubicBezTo>
                    <a:pt x="305" y="266"/>
                    <a:pt x="304" y="260"/>
                    <a:pt x="304" y="258"/>
                  </a:cubicBezTo>
                  <a:cubicBezTo>
                    <a:pt x="302" y="251"/>
                    <a:pt x="300" y="245"/>
                    <a:pt x="300" y="238"/>
                  </a:cubicBezTo>
                  <a:cubicBezTo>
                    <a:pt x="299" y="234"/>
                    <a:pt x="287" y="233"/>
                    <a:pt x="283" y="234"/>
                  </a:cubicBezTo>
                  <a:cubicBezTo>
                    <a:pt x="280" y="235"/>
                    <a:pt x="275" y="229"/>
                    <a:pt x="272" y="227"/>
                  </a:cubicBezTo>
                  <a:cubicBezTo>
                    <a:pt x="269" y="224"/>
                    <a:pt x="270" y="218"/>
                    <a:pt x="269" y="214"/>
                  </a:cubicBezTo>
                  <a:cubicBezTo>
                    <a:pt x="270" y="216"/>
                    <a:pt x="273" y="216"/>
                    <a:pt x="275" y="215"/>
                  </a:cubicBezTo>
                  <a:cubicBezTo>
                    <a:pt x="274" y="211"/>
                    <a:pt x="271" y="211"/>
                    <a:pt x="268" y="211"/>
                  </a:cubicBezTo>
                  <a:cubicBezTo>
                    <a:pt x="270" y="211"/>
                    <a:pt x="272" y="209"/>
                    <a:pt x="273" y="207"/>
                  </a:cubicBezTo>
                  <a:cubicBezTo>
                    <a:pt x="271" y="207"/>
                    <a:pt x="269" y="207"/>
                    <a:pt x="267" y="207"/>
                  </a:cubicBezTo>
                  <a:cubicBezTo>
                    <a:pt x="270" y="206"/>
                    <a:pt x="272" y="203"/>
                    <a:pt x="275" y="201"/>
                  </a:cubicBezTo>
                  <a:cubicBezTo>
                    <a:pt x="277" y="199"/>
                    <a:pt x="282" y="200"/>
                    <a:pt x="283" y="198"/>
                  </a:cubicBezTo>
                  <a:cubicBezTo>
                    <a:pt x="285" y="195"/>
                    <a:pt x="278" y="188"/>
                    <a:pt x="276" y="186"/>
                  </a:cubicBezTo>
                  <a:cubicBezTo>
                    <a:pt x="271" y="180"/>
                    <a:pt x="267" y="180"/>
                    <a:pt x="261" y="185"/>
                  </a:cubicBezTo>
                  <a:cubicBezTo>
                    <a:pt x="256" y="188"/>
                    <a:pt x="245" y="196"/>
                    <a:pt x="240" y="189"/>
                  </a:cubicBezTo>
                  <a:cubicBezTo>
                    <a:pt x="250" y="195"/>
                    <a:pt x="270" y="177"/>
                    <a:pt x="251" y="173"/>
                  </a:cubicBezTo>
                  <a:cubicBezTo>
                    <a:pt x="248" y="172"/>
                    <a:pt x="245" y="174"/>
                    <a:pt x="242" y="172"/>
                  </a:cubicBezTo>
                  <a:cubicBezTo>
                    <a:pt x="239" y="171"/>
                    <a:pt x="238" y="167"/>
                    <a:pt x="235" y="165"/>
                  </a:cubicBezTo>
                  <a:cubicBezTo>
                    <a:pt x="230" y="161"/>
                    <a:pt x="233" y="152"/>
                    <a:pt x="227" y="147"/>
                  </a:cubicBezTo>
                  <a:cubicBezTo>
                    <a:pt x="224" y="146"/>
                    <a:pt x="222" y="143"/>
                    <a:pt x="220" y="142"/>
                  </a:cubicBezTo>
                  <a:cubicBezTo>
                    <a:pt x="217" y="140"/>
                    <a:pt x="214" y="142"/>
                    <a:pt x="211" y="140"/>
                  </a:cubicBezTo>
                  <a:cubicBezTo>
                    <a:pt x="206" y="138"/>
                    <a:pt x="207" y="131"/>
                    <a:pt x="204" y="127"/>
                  </a:cubicBezTo>
                  <a:cubicBezTo>
                    <a:pt x="202" y="125"/>
                    <a:pt x="192" y="115"/>
                    <a:pt x="190" y="121"/>
                  </a:cubicBezTo>
                  <a:cubicBezTo>
                    <a:pt x="188" y="125"/>
                    <a:pt x="194" y="131"/>
                    <a:pt x="194" y="135"/>
                  </a:cubicBezTo>
                  <a:cubicBezTo>
                    <a:pt x="192" y="133"/>
                    <a:pt x="192" y="131"/>
                    <a:pt x="190" y="129"/>
                  </a:cubicBezTo>
                  <a:cubicBezTo>
                    <a:pt x="188" y="125"/>
                    <a:pt x="183" y="125"/>
                    <a:pt x="180" y="122"/>
                  </a:cubicBezTo>
                  <a:cubicBezTo>
                    <a:pt x="175" y="117"/>
                    <a:pt x="175" y="109"/>
                    <a:pt x="170" y="105"/>
                  </a:cubicBezTo>
                  <a:cubicBezTo>
                    <a:pt x="168" y="106"/>
                    <a:pt x="168" y="108"/>
                    <a:pt x="169" y="111"/>
                  </a:cubicBezTo>
                  <a:cubicBezTo>
                    <a:pt x="168" y="109"/>
                    <a:pt x="163" y="99"/>
                    <a:pt x="165" y="107"/>
                  </a:cubicBezTo>
                  <a:cubicBezTo>
                    <a:pt x="162" y="103"/>
                    <a:pt x="166" y="99"/>
                    <a:pt x="162" y="96"/>
                  </a:cubicBezTo>
                  <a:cubicBezTo>
                    <a:pt x="157" y="93"/>
                    <a:pt x="154" y="88"/>
                    <a:pt x="149" y="84"/>
                  </a:cubicBezTo>
                  <a:cubicBezTo>
                    <a:pt x="144" y="81"/>
                    <a:pt x="140" y="75"/>
                    <a:pt x="134" y="72"/>
                  </a:cubicBezTo>
                  <a:cubicBezTo>
                    <a:pt x="132" y="71"/>
                    <a:pt x="130" y="71"/>
                    <a:pt x="128" y="70"/>
                  </a:cubicBezTo>
                  <a:cubicBezTo>
                    <a:pt x="125" y="68"/>
                    <a:pt x="125" y="66"/>
                    <a:pt x="123" y="63"/>
                  </a:cubicBezTo>
                  <a:cubicBezTo>
                    <a:pt x="120" y="60"/>
                    <a:pt x="114" y="60"/>
                    <a:pt x="111" y="57"/>
                  </a:cubicBezTo>
                  <a:cubicBezTo>
                    <a:pt x="107" y="53"/>
                    <a:pt x="113" y="47"/>
                    <a:pt x="108" y="43"/>
                  </a:cubicBezTo>
                  <a:cubicBezTo>
                    <a:pt x="104" y="39"/>
                    <a:pt x="103" y="39"/>
                    <a:pt x="100" y="33"/>
                  </a:cubicBezTo>
                  <a:cubicBezTo>
                    <a:pt x="99" y="27"/>
                    <a:pt x="89" y="20"/>
                    <a:pt x="85" y="1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49">
              <a:extLst>
                <a:ext uri="{FF2B5EF4-FFF2-40B4-BE49-F238E27FC236}">
                  <a16:creationId xmlns:a16="http://schemas.microsoft.com/office/drawing/2014/main" id="{132618F2-0D44-4213-9D5E-E35E34A51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825" y="5051562"/>
              <a:ext cx="53389" cy="44491"/>
            </a:xfrm>
            <a:custGeom>
              <a:avLst/>
              <a:gdLst>
                <a:gd name="T0" fmla="*/ 19 w 25"/>
                <a:gd name="T1" fmla="*/ 19 h 20"/>
                <a:gd name="T2" fmla="*/ 24 w 25"/>
                <a:gd name="T3" fmla="*/ 17 h 20"/>
                <a:gd name="T4" fmla="*/ 18 w 25"/>
                <a:gd name="T5" fmla="*/ 12 h 20"/>
                <a:gd name="T6" fmla="*/ 12 w 25"/>
                <a:gd name="T7" fmla="*/ 9 h 20"/>
                <a:gd name="T8" fmla="*/ 7 w 25"/>
                <a:gd name="T9" fmla="*/ 3 h 20"/>
                <a:gd name="T10" fmla="*/ 3 w 25"/>
                <a:gd name="T11" fmla="*/ 1 h 20"/>
                <a:gd name="T12" fmla="*/ 3 w 25"/>
                <a:gd name="T13" fmla="*/ 8 h 20"/>
                <a:gd name="T14" fmla="*/ 19 w 25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0">
                  <a:moveTo>
                    <a:pt x="19" y="19"/>
                  </a:moveTo>
                  <a:cubicBezTo>
                    <a:pt x="21" y="20"/>
                    <a:pt x="25" y="20"/>
                    <a:pt x="24" y="17"/>
                  </a:cubicBezTo>
                  <a:cubicBezTo>
                    <a:pt x="24" y="16"/>
                    <a:pt x="19" y="13"/>
                    <a:pt x="18" y="12"/>
                  </a:cubicBezTo>
                  <a:cubicBezTo>
                    <a:pt x="16" y="10"/>
                    <a:pt x="15" y="9"/>
                    <a:pt x="12" y="9"/>
                  </a:cubicBezTo>
                  <a:cubicBezTo>
                    <a:pt x="13" y="6"/>
                    <a:pt x="9" y="4"/>
                    <a:pt x="7" y="3"/>
                  </a:cubicBezTo>
                  <a:cubicBezTo>
                    <a:pt x="6" y="2"/>
                    <a:pt x="5" y="0"/>
                    <a:pt x="3" y="1"/>
                  </a:cubicBezTo>
                  <a:cubicBezTo>
                    <a:pt x="0" y="3"/>
                    <a:pt x="0" y="6"/>
                    <a:pt x="3" y="8"/>
                  </a:cubicBezTo>
                  <a:cubicBezTo>
                    <a:pt x="8" y="12"/>
                    <a:pt x="16" y="13"/>
                    <a:pt x="19" y="1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50">
              <a:extLst>
                <a:ext uri="{FF2B5EF4-FFF2-40B4-BE49-F238E27FC236}">
                  <a16:creationId xmlns:a16="http://schemas.microsoft.com/office/drawing/2014/main" id="{B1D0A776-C929-4BBF-8C56-8116F7719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825" y="5051562"/>
              <a:ext cx="53389" cy="44491"/>
            </a:xfrm>
            <a:custGeom>
              <a:avLst/>
              <a:gdLst>
                <a:gd name="T0" fmla="*/ 19 w 25"/>
                <a:gd name="T1" fmla="*/ 19 h 20"/>
                <a:gd name="T2" fmla="*/ 24 w 25"/>
                <a:gd name="T3" fmla="*/ 17 h 20"/>
                <a:gd name="T4" fmla="*/ 18 w 25"/>
                <a:gd name="T5" fmla="*/ 12 h 20"/>
                <a:gd name="T6" fmla="*/ 12 w 25"/>
                <a:gd name="T7" fmla="*/ 9 h 20"/>
                <a:gd name="T8" fmla="*/ 7 w 25"/>
                <a:gd name="T9" fmla="*/ 3 h 20"/>
                <a:gd name="T10" fmla="*/ 3 w 25"/>
                <a:gd name="T11" fmla="*/ 1 h 20"/>
                <a:gd name="T12" fmla="*/ 3 w 25"/>
                <a:gd name="T13" fmla="*/ 8 h 20"/>
                <a:gd name="T14" fmla="*/ 19 w 25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0">
                  <a:moveTo>
                    <a:pt x="19" y="19"/>
                  </a:moveTo>
                  <a:cubicBezTo>
                    <a:pt x="21" y="20"/>
                    <a:pt x="25" y="20"/>
                    <a:pt x="24" y="17"/>
                  </a:cubicBezTo>
                  <a:cubicBezTo>
                    <a:pt x="24" y="16"/>
                    <a:pt x="19" y="13"/>
                    <a:pt x="18" y="12"/>
                  </a:cubicBezTo>
                  <a:cubicBezTo>
                    <a:pt x="16" y="10"/>
                    <a:pt x="15" y="9"/>
                    <a:pt x="12" y="9"/>
                  </a:cubicBezTo>
                  <a:cubicBezTo>
                    <a:pt x="13" y="6"/>
                    <a:pt x="9" y="4"/>
                    <a:pt x="7" y="3"/>
                  </a:cubicBezTo>
                  <a:cubicBezTo>
                    <a:pt x="6" y="2"/>
                    <a:pt x="5" y="0"/>
                    <a:pt x="3" y="1"/>
                  </a:cubicBezTo>
                  <a:cubicBezTo>
                    <a:pt x="0" y="3"/>
                    <a:pt x="0" y="6"/>
                    <a:pt x="3" y="8"/>
                  </a:cubicBezTo>
                  <a:cubicBezTo>
                    <a:pt x="8" y="12"/>
                    <a:pt x="16" y="13"/>
                    <a:pt x="19" y="1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51">
              <a:extLst>
                <a:ext uri="{FF2B5EF4-FFF2-40B4-BE49-F238E27FC236}">
                  <a16:creationId xmlns:a16="http://schemas.microsoft.com/office/drawing/2014/main" id="{15B51379-874B-40BD-91FA-D8BDE8927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2705" y="5158341"/>
              <a:ext cx="53389" cy="80084"/>
            </a:xfrm>
            <a:custGeom>
              <a:avLst/>
              <a:gdLst>
                <a:gd name="T0" fmla="*/ 17 w 25"/>
                <a:gd name="T1" fmla="*/ 31 h 37"/>
                <a:gd name="T2" fmla="*/ 23 w 25"/>
                <a:gd name="T3" fmla="*/ 16 h 37"/>
                <a:gd name="T4" fmla="*/ 10 w 25"/>
                <a:gd name="T5" fmla="*/ 1 h 37"/>
                <a:gd name="T6" fmla="*/ 0 w 25"/>
                <a:gd name="T7" fmla="*/ 3 h 37"/>
                <a:gd name="T8" fmla="*/ 8 w 25"/>
                <a:gd name="T9" fmla="*/ 17 h 37"/>
                <a:gd name="T10" fmla="*/ 14 w 25"/>
                <a:gd name="T11" fmla="*/ 23 h 37"/>
                <a:gd name="T12" fmla="*/ 17 w 25"/>
                <a:gd name="T13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7">
                  <a:moveTo>
                    <a:pt x="17" y="31"/>
                  </a:moveTo>
                  <a:cubicBezTo>
                    <a:pt x="23" y="37"/>
                    <a:pt x="25" y="19"/>
                    <a:pt x="23" y="16"/>
                  </a:cubicBezTo>
                  <a:cubicBezTo>
                    <a:pt x="19" y="12"/>
                    <a:pt x="14" y="3"/>
                    <a:pt x="10" y="1"/>
                  </a:cubicBezTo>
                  <a:cubicBezTo>
                    <a:pt x="6" y="0"/>
                    <a:pt x="4" y="5"/>
                    <a:pt x="0" y="3"/>
                  </a:cubicBezTo>
                  <a:cubicBezTo>
                    <a:pt x="1" y="8"/>
                    <a:pt x="5" y="12"/>
                    <a:pt x="8" y="17"/>
                  </a:cubicBezTo>
                  <a:cubicBezTo>
                    <a:pt x="9" y="19"/>
                    <a:pt x="12" y="20"/>
                    <a:pt x="14" y="23"/>
                  </a:cubicBezTo>
                  <a:cubicBezTo>
                    <a:pt x="15" y="25"/>
                    <a:pt x="16" y="28"/>
                    <a:pt x="17" y="3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52">
              <a:extLst>
                <a:ext uri="{FF2B5EF4-FFF2-40B4-BE49-F238E27FC236}">
                  <a16:creationId xmlns:a16="http://schemas.microsoft.com/office/drawing/2014/main" id="{9573FD4F-D254-4E88-839E-5506DC32C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2705" y="5158341"/>
              <a:ext cx="53389" cy="80084"/>
            </a:xfrm>
            <a:custGeom>
              <a:avLst/>
              <a:gdLst>
                <a:gd name="T0" fmla="*/ 17 w 25"/>
                <a:gd name="T1" fmla="*/ 31 h 37"/>
                <a:gd name="T2" fmla="*/ 23 w 25"/>
                <a:gd name="T3" fmla="*/ 16 h 37"/>
                <a:gd name="T4" fmla="*/ 10 w 25"/>
                <a:gd name="T5" fmla="*/ 1 h 37"/>
                <a:gd name="T6" fmla="*/ 0 w 25"/>
                <a:gd name="T7" fmla="*/ 3 h 37"/>
                <a:gd name="T8" fmla="*/ 8 w 25"/>
                <a:gd name="T9" fmla="*/ 17 h 37"/>
                <a:gd name="T10" fmla="*/ 14 w 25"/>
                <a:gd name="T11" fmla="*/ 23 h 37"/>
                <a:gd name="T12" fmla="*/ 17 w 25"/>
                <a:gd name="T13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7">
                  <a:moveTo>
                    <a:pt x="17" y="31"/>
                  </a:moveTo>
                  <a:cubicBezTo>
                    <a:pt x="23" y="37"/>
                    <a:pt x="25" y="19"/>
                    <a:pt x="23" y="16"/>
                  </a:cubicBezTo>
                  <a:cubicBezTo>
                    <a:pt x="19" y="12"/>
                    <a:pt x="14" y="3"/>
                    <a:pt x="10" y="1"/>
                  </a:cubicBezTo>
                  <a:cubicBezTo>
                    <a:pt x="6" y="0"/>
                    <a:pt x="4" y="5"/>
                    <a:pt x="0" y="3"/>
                  </a:cubicBezTo>
                  <a:cubicBezTo>
                    <a:pt x="1" y="8"/>
                    <a:pt x="5" y="12"/>
                    <a:pt x="8" y="17"/>
                  </a:cubicBezTo>
                  <a:cubicBezTo>
                    <a:pt x="9" y="19"/>
                    <a:pt x="12" y="20"/>
                    <a:pt x="14" y="23"/>
                  </a:cubicBezTo>
                  <a:cubicBezTo>
                    <a:pt x="15" y="25"/>
                    <a:pt x="16" y="28"/>
                    <a:pt x="17" y="3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53">
              <a:extLst>
                <a:ext uri="{FF2B5EF4-FFF2-40B4-BE49-F238E27FC236}">
                  <a16:creationId xmlns:a16="http://schemas.microsoft.com/office/drawing/2014/main" id="{02319AB3-A219-4DA7-822C-2C0B14F3B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2705" y="5100502"/>
              <a:ext cx="13347" cy="13347"/>
            </a:xfrm>
            <a:custGeom>
              <a:avLst/>
              <a:gdLst>
                <a:gd name="T0" fmla="*/ 6 w 6"/>
                <a:gd name="T1" fmla="*/ 7 h 7"/>
                <a:gd name="T2" fmla="*/ 0 w 6"/>
                <a:gd name="T3" fmla="*/ 2 h 7"/>
                <a:gd name="T4" fmla="*/ 6 w 6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4"/>
                    <a:pt x="4" y="0"/>
                    <a:pt x="0" y="2"/>
                  </a:cubicBezTo>
                  <a:cubicBezTo>
                    <a:pt x="2" y="4"/>
                    <a:pt x="4" y="5"/>
                    <a:pt x="6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54">
              <a:extLst>
                <a:ext uri="{FF2B5EF4-FFF2-40B4-BE49-F238E27FC236}">
                  <a16:creationId xmlns:a16="http://schemas.microsoft.com/office/drawing/2014/main" id="{2A763B6A-7618-4BB6-A482-70E97C2F4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2705" y="5100502"/>
              <a:ext cx="13347" cy="13347"/>
            </a:xfrm>
            <a:custGeom>
              <a:avLst/>
              <a:gdLst>
                <a:gd name="T0" fmla="*/ 6 w 6"/>
                <a:gd name="T1" fmla="*/ 7 h 7"/>
                <a:gd name="T2" fmla="*/ 0 w 6"/>
                <a:gd name="T3" fmla="*/ 2 h 7"/>
                <a:gd name="T4" fmla="*/ 6 w 6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4"/>
                    <a:pt x="4" y="0"/>
                    <a:pt x="0" y="2"/>
                  </a:cubicBezTo>
                  <a:cubicBezTo>
                    <a:pt x="2" y="4"/>
                    <a:pt x="4" y="5"/>
                    <a:pt x="6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55">
              <a:extLst>
                <a:ext uri="{FF2B5EF4-FFF2-40B4-BE49-F238E27FC236}">
                  <a16:creationId xmlns:a16="http://schemas.microsoft.com/office/drawing/2014/main" id="{B3B894D2-4710-4258-9B70-7725511F4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339" y="5291813"/>
              <a:ext cx="17796" cy="26695"/>
            </a:xfrm>
            <a:custGeom>
              <a:avLst/>
              <a:gdLst>
                <a:gd name="T0" fmla="*/ 7 w 8"/>
                <a:gd name="T1" fmla="*/ 7 h 12"/>
                <a:gd name="T2" fmla="*/ 5 w 8"/>
                <a:gd name="T3" fmla="*/ 0 h 12"/>
                <a:gd name="T4" fmla="*/ 1 w 8"/>
                <a:gd name="T5" fmla="*/ 8 h 12"/>
                <a:gd name="T6" fmla="*/ 7 w 8"/>
                <a:gd name="T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2">
                  <a:moveTo>
                    <a:pt x="7" y="7"/>
                  </a:moveTo>
                  <a:cubicBezTo>
                    <a:pt x="8" y="4"/>
                    <a:pt x="7" y="1"/>
                    <a:pt x="5" y="0"/>
                  </a:cubicBezTo>
                  <a:cubicBezTo>
                    <a:pt x="3" y="2"/>
                    <a:pt x="2" y="5"/>
                    <a:pt x="1" y="8"/>
                  </a:cubicBezTo>
                  <a:cubicBezTo>
                    <a:pt x="0" y="11"/>
                    <a:pt x="8" y="12"/>
                    <a:pt x="7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56">
              <a:extLst>
                <a:ext uri="{FF2B5EF4-FFF2-40B4-BE49-F238E27FC236}">
                  <a16:creationId xmlns:a16="http://schemas.microsoft.com/office/drawing/2014/main" id="{4DD389F6-B8F0-4561-A034-8A50CA525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339" y="5291813"/>
              <a:ext cx="17796" cy="26695"/>
            </a:xfrm>
            <a:custGeom>
              <a:avLst/>
              <a:gdLst>
                <a:gd name="T0" fmla="*/ 7 w 8"/>
                <a:gd name="T1" fmla="*/ 7 h 12"/>
                <a:gd name="T2" fmla="*/ 5 w 8"/>
                <a:gd name="T3" fmla="*/ 0 h 12"/>
                <a:gd name="T4" fmla="*/ 1 w 8"/>
                <a:gd name="T5" fmla="*/ 8 h 12"/>
                <a:gd name="T6" fmla="*/ 7 w 8"/>
                <a:gd name="T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2">
                  <a:moveTo>
                    <a:pt x="7" y="7"/>
                  </a:moveTo>
                  <a:cubicBezTo>
                    <a:pt x="8" y="4"/>
                    <a:pt x="7" y="1"/>
                    <a:pt x="5" y="0"/>
                  </a:cubicBezTo>
                  <a:cubicBezTo>
                    <a:pt x="3" y="2"/>
                    <a:pt x="2" y="5"/>
                    <a:pt x="1" y="8"/>
                  </a:cubicBezTo>
                  <a:cubicBezTo>
                    <a:pt x="0" y="11"/>
                    <a:pt x="8" y="12"/>
                    <a:pt x="7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57">
              <a:extLst>
                <a:ext uri="{FF2B5EF4-FFF2-40B4-BE49-F238E27FC236}">
                  <a16:creationId xmlns:a16="http://schemas.microsoft.com/office/drawing/2014/main" id="{377813C9-C2AA-4EF3-91DD-0E6AB464F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2788" y="5269568"/>
              <a:ext cx="17796" cy="26695"/>
            </a:xfrm>
            <a:custGeom>
              <a:avLst/>
              <a:gdLst>
                <a:gd name="T0" fmla="*/ 0 w 7"/>
                <a:gd name="T1" fmla="*/ 0 h 12"/>
                <a:gd name="T2" fmla="*/ 6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1" y="4"/>
                    <a:pt x="4" y="8"/>
                    <a:pt x="6" y="12"/>
                  </a:cubicBezTo>
                  <a:cubicBezTo>
                    <a:pt x="7" y="9"/>
                    <a:pt x="4" y="0"/>
                    <a:pt x="0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58">
              <a:extLst>
                <a:ext uri="{FF2B5EF4-FFF2-40B4-BE49-F238E27FC236}">
                  <a16:creationId xmlns:a16="http://schemas.microsoft.com/office/drawing/2014/main" id="{F0CA4C43-4B8D-4DD6-9631-455297318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2788" y="5269568"/>
              <a:ext cx="17796" cy="26695"/>
            </a:xfrm>
            <a:custGeom>
              <a:avLst/>
              <a:gdLst>
                <a:gd name="T0" fmla="*/ 0 w 7"/>
                <a:gd name="T1" fmla="*/ 0 h 12"/>
                <a:gd name="T2" fmla="*/ 6 w 7"/>
                <a:gd name="T3" fmla="*/ 12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0" y="0"/>
                  </a:moveTo>
                  <a:cubicBezTo>
                    <a:pt x="1" y="4"/>
                    <a:pt x="4" y="8"/>
                    <a:pt x="6" y="12"/>
                  </a:cubicBezTo>
                  <a:cubicBezTo>
                    <a:pt x="7" y="9"/>
                    <a:pt x="4" y="0"/>
                    <a:pt x="0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59">
              <a:extLst>
                <a:ext uri="{FF2B5EF4-FFF2-40B4-BE49-F238E27FC236}">
                  <a16:creationId xmlns:a16="http://schemas.microsoft.com/office/drawing/2014/main" id="{536F0ED7-C852-4085-BA77-CE6129844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6136" y="5256221"/>
              <a:ext cx="17796" cy="8898"/>
            </a:xfrm>
            <a:custGeom>
              <a:avLst/>
              <a:gdLst>
                <a:gd name="T0" fmla="*/ 8 w 8"/>
                <a:gd name="T1" fmla="*/ 4 h 5"/>
                <a:gd name="T2" fmla="*/ 0 w 8"/>
                <a:gd name="T3" fmla="*/ 3 h 5"/>
                <a:gd name="T4" fmla="*/ 8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4"/>
                  </a:moveTo>
                  <a:cubicBezTo>
                    <a:pt x="8" y="0"/>
                    <a:pt x="2" y="1"/>
                    <a:pt x="0" y="3"/>
                  </a:cubicBezTo>
                  <a:cubicBezTo>
                    <a:pt x="2" y="5"/>
                    <a:pt x="5" y="5"/>
                    <a:pt x="8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60">
              <a:extLst>
                <a:ext uri="{FF2B5EF4-FFF2-40B4-BE49-F238E27FC236}">
                  <a16:creationId xmlns:a16="http://schemas.microsoft.com/office/drawing/2014/main" id="{5C234056-38CA-4C5D-9FE2-FEFE797D2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6136" y="5256221"/>
              <a:ext cx="17796" cy="8898"/>
            </a:xfrm>
            <a:custGeom>
              <a:avLst/>
              <a:gdLst>
                <a:gd name="T0" fmla="*/ 8 w 8"/>
                <a:gd name="T1" fmla="*/ 4 h 5"/>
                <a:gd name="T2" fmla="*/ 0 w 8"/>
                <a:gd name="T3" fmla="*/ 3 h 5"/>
                <a:gd name="T4" fmla="*/ 8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4"/>
                  </a:moveTo>
                  <a:cubicBezTo>
                    <a:pt x="8" y="0"/>
                    <a:pt x="2" y="1"/>
                    <a:pt x="0" y="3"/>
                  </a:cubicBezTo>
                  <a:cubicBezTo>
                    <a:pt x="2" y="5"/>
                    <a:pt x="5" y="5"/>
                    <a:pt x="8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61">
              <a:extLst>
                <a:ext uri="{FF2B5EF4-FFF2-40B4-BE49-F238E27FC236}">
                  <a16:creationId xmlns:a16="http://schemas.microsoft.com/office/drawing/2014/main" id="{B9EFCCB0-4A27-4C71-8F28-25E13E49B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0585" y="5340753"/>
              <a:ext cx="57838" cy="66736"/>
            </a:xfrm>
            <a:custGeom>
              <a:avLst/>
              <a:gdLst>
                <a:gd name="T0" fmla="*/ 16 w 28"/>
                <a:gd name="T1" fmla="*/ 31 h 31"/>
                <a:gd name="T2" fmla="*/ 10 w 28"/>
                <a:gd name="T3" fmla="*/ 0 h 31"/>
                <a:gd name="T4" fmla="*/ 3 w 28"/>
                <a:gd name="T5" fmla="*/ 3 h 31"/>
                <a:gd name="T6" fmla="*/ 2 w 28"/>
                <a:gd name="T7" fmla="*/ 14 h 31"/>
                <a:gd name="T8" fmla="*/ 16 w 28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1">
                  <a:moveTo>
                    <a:pt x="16" y="31"/>
                  </a:moveTo>
                  <a:cubicBezTo>
                    <a:pt x="28" y="29"/>
                    <a:pt x="10" y="6"/>
                    <a:pt x="10" y="0"/>
                  </a:cubicBezTo>
                  <a:cubicBezTo>
                    <a:pt x="8" y="1"/>
                    <a:pt x="5" y="1"/>
                    <a:pt x="3" y="3"/>
                  </a:cubicBezTo>
                  <a:cubicBezTo>
                    <a:pt x="1" y="5"/>
                    <a:pt x="0" y="11"/>
                    <a:pt x="2" y="14"/>
                  </a:cubicBezTo>
                  <a:cubicBezTo>
                    <a:pt x="6" y="19"/>
                    <a:pt x="9" y="29"/>
                    <a:pt x="16" y="3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62">
              <a:extLst>
                <a:ext uri="{FF2B5EF4-FFF2-40B4-BE49-F238E27FC236}">
                  <a16:creationId xmlns:a16="http://schemas.microsoft.com/office/drawing/2014/main" id="{CA5725F3-3F07-4BA1-BBF4-CD76433D4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0585" y="5340753"/>
              <a:ext cx="57838" cy="66736"/>
            </a:xfrm>
            <a:custGeom>
              <a:avLst/>
              <a:gdLst>
                <a:gd name="T0" fmla="*/ 16 w 28"/>
                <a:gd name="T1" fmla="*/ 31 h 31"/>
                <a:gd name="T2" fmla="*/ 10 w 28"/>
                <a:gd name="T3" fmla="*/ 0 h 31"/>
                <a:gd name="T4" fmla="*/ 3 w 28"/>
                <a:gd name="T5" fmla="*/ 3 h 31"/>
                <a:gd name="T6" fmla="*/ 2 w 28"/>
                <a:gd name="T7" fmla="*/ 14 h 31"/>
                <a:gd name="T8" fmla="*/ 16 w 28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1">
                  <a:moveTo>
                    <a:pt x="16" y="31"/>
                  </a:moveTo>
                  <a:cubicBezTo>
                    <a:pt x="28" y="29"/>
                    <a:pt x="10" y="6"/>
                    <a:pt x="10" y="0"/>
                  </a:cubicBezTo>
                  <a:cubicBezTo>
                    <a:pt x="8" y="1"/>
                    <a:pt x="5" y="1"/>
                    <a:pt x="3" y="3"/>
                  </a:cubicBezTo>
                  <a:cubicBezTo>
                    <a:pt x="1" y="5"/>
                    <a:pt x="0" y="11"/>
                    <a:pt x="2" y="14"/>
                  </a:cubicBezTo>
                  <a:cubicBezTo>
                    <a:pt x="6" y="19"/>
                    <a:pt x="9" y="29"/>
                    <a:pt x="16" y="3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63">
              <a:extLst>
                <a:ext uri="{FF2B5EF4-FFF2-40B4-BE49-F238E27FC236}">
                  <a16:creationId xmlns:a16="http://schemas.microsoft.com/office/drawing/2014/main" id="{8AAF66EE-E1D2-4835-96DB-3D41FF045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3974" y="5420837"/>
              <a:ext cx="31144" cy="26695"/>
            </a:xfrm>
            <a:custGeom>
              <a:avLst/>
              <a:gdLst>
                <a:gd name="T0" fmla="*/ 14 w 14"/>
                <a:gd name="T1" fmla="*/ 13 h 13"/>
                <a:gd name="T2" fmla="*/ 5 w 14"/>
                <a:gd name="T3" fmla="*/ 2 h 13"/>
                <a:gd name="T4" fmla="*/ 14 w 14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14" y="13"/>
                  </a:moveTo>
                  <a:cubicBezTo>
                    <a:pt x="13" y="10"/>
                    <a:pt x="9" y="0"/>
                    <a:pt x="5" y="2"/>
                  </a:cubicBezTo>
                  <a:cubicBezTo>
                    <a:pt x="0" y="6"/>
                    <a:pt x="11" y="12"/>
                    <a:pt x="14" y="1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64">
              <a:extLst>
                <a:ext uri="{FF2B5EF4-FFF2-40B4-BE49-F238E27FC236}">
                  <a16:creationId xmlns:a16="http://schemas.microsoft.com/office/drawing/2014/main" id="{E53436AE-7FB7-48B2-BF38-658144C6C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3974" y="5420837"/>
              <a:ext cx="31144" cy="26695"/>
            </a:xfrm>
            <a:custGeom>
              <a:avLst/>
              <a:gdLst>
                <a:gd name="T0" fmla="*/ 14 w 14"/>
                <a:gd name="T1" fmla="*/ 13 h 13"/>
                <a:gd name="T2" fmla="*/ 5 w 14"/>
                <a:gd name="T3" fmla="*/ 2 h 13"/>
                <a:gd name="T4" fmla="*/ 14 w 14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3">
                  <a:moveTo>
                    <a:pt x="14" y="13"/>
                  </a:moveTo>
                  <a:cubicBezTo>
                    <a:pt x="13" y="10"/>
                    <a:pt x="9" y="0"/>
                    <a:pt x="5" y="2"/>
                  </a:cubicBezTo>
                  <a:cubicBezTo>
                    <a:pt x="0" y="6"/>
                    <a:pt x="11" y="12"/>
                    <a:pt x="14" y="1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65">
              <a:extLst>
                <a:ext uri="{FF2B5EF4-FFF2-40B4-BE49-F238E27FC236}">
                  <a16:creationId xmlns:a16="http://schemas.microsoft.com/office/drawing/2014/main" id="{5DCDBA76-C66A-4CE7-B03E-EE4A0413E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9567" y="5460879"/>
              <a:ext cx="17796" cy="26695"/>
            </a:xfrm>
            <a:custGeom>
              <a:avLst/>
              <a:gdLst>
                <a:gd name="T0" fmla="*/ 2 w 9"/>
                <a:gd name="T1" fmla="*/ 9 h 13"/>
                <a:gd name="T2" fmla="*/ 8 w 9"/>
                <a:gd name="T3" fmla="*/ 9 h 13"/>
                <a:gd name="T4" fmla="*/ 1 w 9"/>
                <a:gd name="T5" fmla="*/ 0 h 13"/>
                <a:gd name="T6" fmla="*/ 2 w 9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2" y="9"/>
                  </a:moveTo>
                  <a:cubicBezTo>
                    <a:pt x="2" y="13"/>
                    <a:pt x="6" y="11"/>
                    <a:pt x="8" y="9"/>
                  </a:cubicBezTo>
                  <a:cubicBezTo>
                    <a:pt x="9" y="6"/>
                    <a:pt x="4" y="1"/>
                    <a:pt x="1" y="0"/>
                  </a:cubicBezTo>
                  <a:cubicBezTo>
                    <a:pt x="0" y="3"/>
                    <a:pt x="2" y="6"/>
                    <a:pt x="2" y="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6">
              <a:extLst>
                <a:ext uri="{FF2B5EF4-FFF2-40B4-BE49-F238E27FC236}">
                  <a16:creationId xmlns:a16="http://schemas.microsoft.com/office/drawing/2014/main" id="{EC6EE280-E57B-45A3-9C1F-0349D8C52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9567" y="5460879"/>
              <a:ext cx="17796" cy="26695"/>
            </a:xfrm>
            <a:custGeom>
              <a:avLst/>
              <a:gdLst>
                <a:gd name="T0" fmla="*/ 2 w 9"/>
                <a:gd name="T1" fmla="*/ 9 h 13"/>
                <a:gd name="T2" fmla="*/ 8 w 9"/>
                <a:gd name="T3" fmla="*/ 9 h 13"/>
                <a:gd name="T4" fmla="*/ 1 w 9"/>
                <a:gd name="T5" fmla="*/ 0 h 13"/>
                <a:gd name="T6" fmla="*/ 2 w 9"/>
                <a:gd name="T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2" y="9"/>
                  </a:moveTo>
                  <a:cubicBezTo>
                    <a:pt x="2" y="13"/>
                    <a:pt x="6" y="11"/>
                    <a:pt x="8" y="9"/>
                  </a:cubicBezTo>
                  <a:cubicBezTo>
                    <a:pt x="9" y="6"/>
                    <a:pt x="4" y="1"/>
                    <a:pt x="1" y="0"/>
                  </a:cubicBezTo>
                  <a:cubicBezTo>
                    <a:pt x="0" y="3"/>
                    <a:pt x="2" y="6"/>
                    <a:pt x="2" y="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67">
              <a:extLst>
                <a:ext uri="{FF2B5EF4-FFF2-40B4-BE49-F238E27FC236}">
                  <a16:creationId xmlns:a16="http://schemas.microsoft.com/office/drawing/2014/main" id="{B28748FE-563E-4F92-ABB6-802B4D692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4016" y="5478675"/>
              <a:ext cx="26695" cy="44491"/>
            </a:xfrm>
            <a:custGeom>
              <a:avLst/>
              <a:gdLst>
                <a:gd name="T0" fmla="*/ 11 w 12"/>
                <a:gd name="T1" fmla="*/ 20 h 20"/>
                <a:gd name="T2" fmla="*/ 10 w 12"/>
                <a:gd name="T3" fmla="*/ 14 h 20"/>
                <a:gd name="T4" fmla="*/ 11 w 12"/>
                <a:gd name="T5" fmla="*/ 9 h 20"/>
                <a:gd name="T6" fmla="*/ 5 w 12"/>
                <a:gd name="T7" fmla="*/ 2 h 20"/>
                <a:gd name="T8" fmla="*/ 11 w 12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0">
                  <a:moveTo>
                    <a:pt x="11" y="20"/>
                  </a:moveTo>
                  <a:cubicBezTo>
                    <a:pt x="11" y="17"/>
                    <a:pt x="9" y="16"/>
                    <a:pt x="10" y="14"/>
                  </a:cubicBezTo>
                  <a:cubicBezTo>
                    <a:pt x="10" y="11"/>
                    <a:pt x="12" y="11"/>
                    <a:pt x="11" y="9"/>
                  </a:cubicBezTo>
                  <a:cubicBezTo>
                    <a:pt x="10" y="7"/>
                    <a:pt x="8" y="0"/>
                    <a:pt x="5" y="2"/>
                  </a:cubicBezTo>
                  <a:cubicBezTo>
                    <a:pt x="0" y="3"/>
                    <a:pt x="9" y="18"/>
                    <a:pt x="11" y="2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68">
              <a:extLst>
                <a:ext uri="{FF2B5EF4-FFF2-40B4-BE49-F238E27FC236}">
                  <a16:creationId xmlns:a16="http://schemas.microsoft.com/office/drawing/2014/main" id="{1ABBA50A-73AE-4ECB-9ADD-19FDECC3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4016" y="5478675"/>
              <a:ext cx="26695" cy="44491"/>
            </a:xfrm>
            <a:custGeom>
              <a:avLst/>
              <a:gdLst>
                <a:gd name="T0" fmla="*/ 11 w 12"/>
                <a:gd name="T1" fmla="*/ 20 h 20"/>
                <a:gd name="T2" fmla="*/ 10 w 12"/>
                <a:gd name="T3" fmla="*/ 14 h 20"/>
                <a:gd name="T4" fmla="*/ 11 w 12"/>
                <a:gd name="T5" fmla="*/ 9 h 20"/>
                <a:gd name="T6" fmla="*/ 5 w 12"/>
                <a:gd name="T7" fmla="*/ 2 h 20"/>
                <a:gd name="T8" fmla="*/ 11 w 12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0">
                  <a:moveTo>
                    <a:pt x="11" y="20"/>
                  </a:moveTo>
                  <a:cubicBezTo>
                    <a:pt x="11" y="17"/>
                    <a:pt x="9" y="16"/>
                    <a:pt x="10" y="14"/>
                  </a:cubicBezTo>
                  <a:cubicBezTo>
                    <a:pt x="10" y="11"/>
                    <a:pt x="12" y="11"/>
                    <a:pt x="11" y="9"/>
                  </a:cubicBezTo>
                  <a:cubicBezTo>
                    <a:pt x="10" y="7"/>
                    <a:pt x="8" y="0"/>
                    <a:pt x="5" y="2"/>
                  </a:cubicBezTo>
                  <a:cubicBezTo>
                    <a:pt x="0" y="3"/>
                    <a:pt x="9" y="18"/>
                    <a:pt x="11" y="2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69">
              <a:extLst>
                <a:ext uri="{FF2B5EF4-FFF2-40B4-BE49-F238E27FC236}">
                  <a16:creationId xmlns:a16="http://schemas.microsoft.com/office/drawing/2014/main" id="{283F174F-44C7-4BB2-B9BB-58DEBA12A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998" y="5109400"/>
              <a:ext cx="26695" cy="35593"/>
            </a:xfrm>
            <a:custGeom>
              <a:avLst/>
              <a:gdLst>
                <a:gd name="T0" fmla="*/ 13 w 13"/>
                <a:gd name="T1" fmla="*/ 7 h 16"/>
                <a:gd name="T2" fmla="*/ 1 w 13"/>
                <a:gd name="T3" fmla="*/ 6 h 16"/>
                <a:gd name="T4" fmla="*/ 6 w 13"/>
                <a:gd name="T5" fmla="*/ 15 h 16"/>
                <a:gd name="T6" fmla="*/ 13 w 13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13" y="7"/>
                  </a:moveTo>
                  <a:cubicBezTo>
                    <a:pt x="11" y="1"/>
                    <a:pt x="3" y="0"/>
                    <a:pt x="1" y="6"/>
                  </a:cubicBezTo>
                  <a:cubicBezTo>
                    <a:pt x="0" y="9"/>
                    <a:pt x="2" y="14"/>
                    <a:pt x="6" y="15"/>
                  </a:cubicBezTo>
                  <a:cubicBezTo>
                    <a:pt x="11" y="16"/>
                    <a:pt x="11" y="10"/>
                    <a:pt x="13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70">
              <a:extLst>
                <a:ext uri="{FF2B5EF4-FFF2-40B4-BE49-F238E27FC236}">
                  <a16:creationId xmlns:a16="http://schemas.microsoft.com/office/drawing/2014/main" id="{FA2CDFB3-D905-4DA4-9B09-F28DCA0CD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998" y="5109400"/>
              <a:ext cx="26695" cy="35593"/>
            </a:xfrm>
            <a:custGeom>
              <a:avLst/>
              <a:gdLst>
                <a:gd name="T0" fmla="*/ 13 w 13"/>
                <a:gd name="T1" fmla="*/ 7 h 16"/>
                <a:gd name="T2" fmla="*/ 1 w 13"/>
                <a:gd name="T3" fmla="*/ 6 h 16"/>
                <a:gd name="T4" fmla="*/ 6 w 13"/>
                <a:gd name="T5" fmla="*/ 15 h 16"/>
                <a:gd name="T6" fmla="*/ 13 w 13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6">
                  <a:moveTo>
                    <a:pt x="13" y="7"/>
                  </a:moveTo>
                  <a:cubicBezTo>
                    <a:pt x="11" y="1"/>
                    <a:pt x="3" y="0"/>
                    <a:pt x="1" y="6"/>
                  </a:cubicBezTo>
                  <a:cubicBezTo>
                    <a:pt x="0" y="9"/>
                    <a:pt x="2" y="14"/>
                    <a:pt x="6" y="15"/>
                  </a:cubicBezTo>
                  <a:cubicBezTo>
                    <a:pt x="11" y="16"/>
                    <a:pt x="11" y="10"/>
                    <a:pt x="13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71">
              <a:extLst>
                <a:ext uri="{FF2B5EF4-FFF2-40B4-BE49-F238E27FC236}">
                  <a16:creationId xmlns:a16="http://schemas.microsoft.com/office/drawing/2014/main" id="{D5BCB1DF-2F23-423C-B824-26E9497C9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7489" y="5149442"/>
              <a:ext cx="31144" cy="26695"/>
            </a:xfrm>
            <a:custGeom>
              <a:avLst/>
              <a:gdLst>
                <a:gd name="T0" fmla="*/ 14 w 15"/>
                <a:gd name="T1" fmla="*/ 4 h 13"/>
                <a:gd name="T2" fmla="*/ 1 w 15"/>
                <a:gd name="T3" fmla="*/ 0 h 13"/>
                <a:gd name="T4" fmla="*/ 7 w 15"/>
                <a:gd name="T5" fmla="*/ 7 h 13"/>
                <a:gd name="T6" fmla="*/ 15 w 15"/>
                <a:gd name="T7" fmla="*/ 13 h 13"/>
                <a:gd name="T8" fmla="*/ 14 w 15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4" y="4"/>
                  </a:moveTo>
                  <a:cubicBezTo>
                    <a:pt x="10" y="2"/>
                    <a:pt x="5" y="2"/>
                    <a:pt x="1" y="0"/>
                  </a:cubicBezTo>
                  <a:cubicBezTo>
                    <a:pt x="0" y="4"/>
                    <a:pt x="3" y="6"/>
                    <a:pt x="7" y="7"/>
                  </a:cubicBezTo>
                  <a:cubicBezTo>
                    <a:pt x="10" y="7"/>
                    <a:pt x="12" y="11"/>
                    <a:pt x="15" y="13"/>
                  </a:cubicBezTo>
                  <a:cubicBezTo>
                    <a:pt x="15" y="10"/>
                    <a:pt x="15" y="7"/>
                    <a:pt x="14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2">
              <a:extLst>
                <a:ext uri="{FF2B5EF4-FFF2-40B4-BE49-F238E27FC236}">
                  <a16:creationId xmlns:a16="http://schemas.microsoft.com/office/drawing/2014/main" id="{21153647-1566-429E-84BE-EEE71100D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7489" y="5149442"/>
              <a:ext cx="31144" cy="26695"/>
            </a:xfrm>
            <a:custGeom>
              <a:avLst/>
              <a:gdLst>
                <a:gd name="T0" fmla="*/ 14 w 15"/>
                <a:gd name="T1" fmla="*/ 4 h 13"/>
                <a:gd name="T2" fmla="*/ 1 w 15"/>
                <a:gd name="T3" fmla="*/ 0 h 13"/>
                <a:gd name="T4" fmla="*/ 7 w 15"/>
                <a:gd name="T5" fmla="*/ 7 h 13"/>
                <a:gd name="T6" fmla="*/ 15 w 15"/>
                <a:gd name="T7" fmla="*/ 13 h 13"/>
                <a:gd name="T8" fmla="*/ 14 w 15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4" y="4"/>
                  </a:moveTo>
                  <a:cubicBezTo>
                    <a:pt x="10" y="2"/>
                    <a:pt x="5" y="2"/>
                    <a:pt x="1" y="0"/>
                  </a:cubicBezTo>
                  <a:cubicBezTo>
                    <a:pt x="0" y="4"/>
                    <a:pt x="3" y="6"/>
                    <a:pt x="7" y="7"/>
                  </a:cubicBezTo>
                  <a:cubicBezTo>
                    <a:pt x="10" y="7"/>
                    <a:pt x="12" y="11"/>
                    <a:pt x="15" y="13"/>
                  </a:cubicBezTo>
                  <a:cubicBezTo>
                    <a:pt x="15" y="10"/>
                    <a:pt x="15" y="7"/>
                    <a:pt x="14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73">
              <a:extLst>
                <a:ext uri="{FF2B5EF4-FFF2-40B4-BE49-F238E27FC236}">
                  <a16:creationId xmlns:a16="http://schemas.microsoft.com/office/drawing/2014/main" id="{AAF9968D-92A2-45B3-BFBD-590ABCB6F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6387" y="5167239"/>
              <a:ext cx="22245" cy="31144"/>
            </a:xfrm>
            <a:custGeom>
              <a:avLst/>
              <a:gdLst>
                <a:gd name="T0" fmla="*/ 9 w 9"/>
                <a:gd name="T1" fmla="*/ 7 h 16"/>
                <a:gd name="T2" fmla="*/ 1 w 9"/>
                <a:gd name="T3" fmla="*/ 0 h 16"/>
                <a:gd name="T4" fmla="*/ 8 w 9"/>
                <a:gd name="T5" fmla="*/ 16 h 16"/>
                <a:gd name="T6" fmla="*/ 9 w 9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9" y="7"/>
                  </a:moveTo>
                  <a:cubicBezTo>
                    <a:pt x="8" y="4"/>
                    <a:pt x="5" y="0"/>
                    <a:pt x="1" y="0"/>
                  </a:cubicBezTo>
                  <a:cubicBezTo>
                    <a:pt x="0" y="5"/>
                    <a:pt x="1" y="14"/>
                    <a:pt x="8" y="16"/>
                  </a:cubicBezTo>
                  <a:cubicBezTo>
                    <a:pt x="9" y="13"/>
                    <a:pt x="8" y="10"/>
                    <a:pt x="9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74">
              <a:extLst>
                <a:ext uri="{FF2B5EF4-FFF2-40B4-BE49-F238E27FC236}">
                  <a16:creationId xmlns:a16="http://schemas.microsoft.com/office/drawing/2014/main" id="{377208A8-C314-4D0A-B100-B8962AAEE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6387" y="5167239"/>
              <a:ext cx="22245" cy="31144"/>
            </a:xfrm>
            <a:custGeom>
              <a:avLst/>
              <a:gdLst>
                <a:gd name="T0" fmla="*/ 9 w 9"/>
                <a:gd name="T1" fmla="*/ 7 h 16"/>
                <a:gd name="T2" fmla="*/ 1 w 9"/>
                <a:gd name="T3" fmla="*/ 0 h 16"/>
                <a:gd name="T4" fmla="*/ 8 w 9"/>
                <a:gd name="T5" fmla="*/ 16 h 16"/>
                <a:gd name="T6" fmla="*/ 9 w 9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6">
                  <a:moveTo>
                    <a:pt x="9" y="7"/>
                  </a:moveTo>
                  <a:cubicBezTo>
                    <a:pt x="8" y="4"/>
                    <a:pt x="5" y="0"/>
                    <a:pt x="1" y="0"/>
                  </a:cubicBezTo>
                  <a:cubicBezTo>
                    <a:pt x="0" y="5"/>
                    <a:pt x="1" y="14"/>
                    <a:pt x="8" y="16"/>
                  </a:cubicBezTo>
                  <a:cubicBezTo>
                    <a:pt x="9" y="13"/>
                    <a:pt x="8" y="10"/>
                    <a:pt x="9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75">
              <a:extLst>
                <a:ext uri="{FF2B5EF4-FFF2-40B4-BE49-F238E27FC236}">
                  <a16:creationId xmlns:a16="http://schemas.microsoft.com/office/drawing/2014/main" id="{4EC689E3-D73E-4E50-8CB4-981BE423B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4183" y="5185035"/>
              <a:ext cx="40042" cy="31144"/>
            </a:xfrm>
            <a:custGeom>
              <a:avLst/>
              <a:gdLst>
                <a:gd name="T0" fmla="*/ 19 w 19"/>
                <a:gd name="T1" fmla="*/ 12 h 15"/>
                <a:gd name="T2" fmla="*/ 9 w 19"/>
                <a:gd name="T3" fmla="*/ 4 h 15"/>
                <a:gd name="T4" fmla="*/ 3 w 19"/>
                <a:gd name="T5" fmla="*/ 0 h 15"/>
                <a:gd name="T6" fmla="*/ 2 w 19"/>
                <a:gd name="T7" fmla="*/ 11 h 15"/>
                <a:gd name="T8" fmla="*/ 18 w 19"/>
                <a:gd name="T9" fmla="*/ 15 h 15"/>
                <a:gd name="T10" fmla="*/ 19 w 1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5">
                  <a:moveTo>
                    <a:pt x="19" y="12"/>
                  </a:moveTo>
                  <a:cubicBezTo>
                    <a:pt x="17" y="8"/>
                    <a:pt x="13" y="6"/>
                    <a:pt x="9" y="4"/>
                  </a:cubicBezTo>
                  <a:cubicBezTo>
                    <a:pt x="7" y="4"/>
                    <a:pt x="5" y="1"/>
                    <a:pt x="3" y="0"/>
                  </a:cubicBezTo>
                  <a:cubicBezTo>
                    <a:pt x="2" y="0"/>
                    <a:pt x="0" y="10"/>
                    <a:pt x="2" y="11"/>
                  </a:cubicBezTo>
                  <a:cubicBezTo>
                    <a:pt x="7" y="14"/>
                    <a:pt x="14" y="11"/>
                    <a:pt x="18" y="15"/>
                  </a:cubicBezTo>
                  <a:cubicBezTo>
                    <a:pt x="19" y="14"/>
                    <a:pt x="19" y="13"/>
                    <a:pt x="19" y="1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76">
              <a:extLst>
                <a:ext uri="{FF2B5EF4-FFF2-40B4-BE49-F238E27FC236}">
                  <a16:creationId xmlns:a16="http://schemas.microsoft.com/office/drawing/2014/main" id="{2084473B-C579-42D1-BB9E-B981B2566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4183" y="5185035"/>
              <a:ext cx="40042" cy="31144"/>
            </a:xfrm>
            <a:custGeom>
              <a:avLst/>
              <a:gdLst>
                <a:gd name="T0" fmla="*/ 19 w 19"/>
                <a:gd name="T1" fmla="*/ 12 h 15"/>
                <a:gd name="T2" fmla="*/ 9 w 19"/>
                <a:gd name="T3" fmla="*/ 4 h 15"/>
                <a:gd name="T4" fmla="*/ 3 w 19"/>
                <a:gd name="T5" fmla="*/ 0 h 15"/>
                <a:gd name="T6" fmla="*/ 2 w 19"/>
                <a:gd name="T7" fmla="*/ 11 h 15"/>
                <a:gd name="T8" fmla="*/ 18 w 19"/>
                <a:gd name="T9" fmla="*/ 15 h 15"/>
                <a:gd name="T10" fmla="*/ 19 w 19"/>
                <a:gd name="T11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5">
                  <a:moveTo>
                    <a:pt x="19" y="12"/>
                  </a:moveTo>
                  <a:cubicBezTo>
                    <a:pt x="17" y="8"/>
                    <a:pt x="13" y="6"/>
                    <a:pt x="9" y="4"/>
                  </a:cubicBezTo>
                  <a:cubicBezTo>
                    <a:pt x="7" y="4"/>
                    <a:pt x="5" y="1"/>
                    <a:pt x="3" y="0"/>
                  </a:cubicBezTo>
                  <a:cubicBezTo>
                    <a:pt x="2" y="0"/>
                    <a:pt x="0" y="10"/>
                    <a:pt x="2" y="11"/>
                  </a:cubicBezTo>
                  <a:cubicBezTo>
                    <a:pt x="7" y="14"/>
                    <a:pt x="14" y="11"/>
                    <a:pt x="18" y="15"/>
                  </a:cubicBezTo>
                  <a:cubicBezTo>
                    <a:pt x="19" y="14"/>
                    <a:pt x="19" y="13"/>
                    <a:pt x="19" y="1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77">
              <a:extLst>
                <a:ext uri="{FF2B5EF4-FFF2-40B4-BE49-F238E27FC236}">
                  <a16:creationId xmlns:a16="http://schemas.microsoft.com/office/drawing/2014/main" id="{5DBCC965-91F2-46C2-BB6D-2A8B4042A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531" y="5176137"/>
              <a:ext cx="35593" cy="35593"/>
            </a:xfrm>
            <a:custGeom>
              <a:avLst/>
              <a:gdLst>
                <a:gd name="T0" fmla="*/ 16 w 16"/>
                <a:gd name="T1" fmla="*/ 15 h 17"/>
                <a:gd name="T2" fmla="*/ 2 w 16"/>
                <a:gd name="T3" fmla="*/ 9 h 17"/>
                <a:gd name="T4" fmla="*/ 16 w 16"/>
                <a:gd name="T5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16" y="15"/>
                  </a:moveTo>
                  <a:cubicBezTo>
                    <a:pt x="15" y="10"/>
                    <a:pt x="0" y="0"/>
                    <a:pt x="2" y="9"/>
                  </a:cubicBezTo>
                  <a:cubicBezTo>
                    <a:pt x="8" y="6"/>
                    <a:pt x="10" y="17"/>
                    <a:pt x="16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78">
              <a:extLst>
                <a:ext uri="{FF2B5EF4-FFF2-40B4-BE49-F238E27FC236}">
                  <a16:creationId xmlns:a16="http://schemas.microsoft.com/office/drawing/2014/main" id="{87F683B6-564E-446A-A022-FC3A69ACB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531" y="5176137"/>
              <a:ext cx="35593" cy="35593"/>
            </a:xfrm>
            <a:custGeom>
              <a:avLst/>
              <a:gdLst>
                <a:gd name="T0" fmla="*/ 16 w 16"/>
                <a:gd name="T1" fmla="*/ 15 h 17"/>
                <a:gd name="T2" fmla="*/ 2 w 16"/>
                <a:gd name="T3" fmla="*/ 9 h 17"/>
                <a:gd name="T4" fmla="*/ 16 w 16"/>
                <a:gd name="T5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7">
                  <a:moveTo>
                    <a:pt x="16" y="15"/>
                  </a:moveTo>
                  <a:cubicBezTo>
                    <a:pt x="15" y="10"/>
                    <a:pt x="0" y="0"/>
                    <a:pt x="2" y="9"/>
                  </a:cubicBezTo>
                  <a:cubicBezTo>
                    <a:pt x="8" y="6"/>
                    <a:pt x="10" y="17"/>
                    <a:pt x="16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79">
              <a:extLst>
                <a:ext uri="{FF2B5EF4-FFF2-40B4-BE49-F238E27FC236}">
                  <a16:creationId xmlns:a16="http://schemas.microsoft.com/office/drawing/2014/main" id="{EFBEED16-20E4-40B5-850D-ABAF935B4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0920" y="5287364"/>
              <a:ext cx="17796" cy="13347"/>
            </a:xfrm>
            <a:custGeom>
              <a:avLst/>
              <a:gdLst>
                <a:gd name="T0" fmla="*/ 9 w 9"/>
                <a:gd name="T1" fmla="*/ 2 h 7"/>
                <a:gd name="T2" fmla="*/ 3 w 9"/>
                <a:gd name="T3" fmla="*/ 5 h 7"/>
                <a:gd name="T4" fmla="*/ 9 w 9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cubicBezTo>
                    <a:pt x="7" y="0"/>
                    <a:pt x="0" y="1"/>
                    <a:pt x="3" y="5"/>
                  </a:cubicBezTo>
                  <a:cubicBezTo>
                    <a:pt x="5" y="7"/>
                    <a:pt x="9" y="4"/>
                    <a:pt x="9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80">
              <a:extLst>
                <a:ext uri="{FF2B5EF4-FFF2-40B4-BE49-F238E27FC236}">
                  <a16:creationId xmlns:a16="http://schemas.microsoft.com/office/drawing/2014/main" id="{E10C5204-34C0-4AE5-8CAF-7F755C711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0920" y="5287364"/>
              <a:ext cx="17796" cy="13347"/>
            </a:xfrm>
            <a:custGeom>
              <a:avLst/>
              <a:gdLst>
                <a:gd name="T0" fmla="*/ 9 w 9"/>
                <a:gd name="T1" fmla="*/ 2 h 7"/>
                <a:gd name="T2" fmla="*/ 3 w 9"/>
                <a:gd name="T3" fmla="*/ 5 h 7"/>
                <a:gd name="T4" fmla="*/ 9 w 9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cubicBezTo>
                    <a:pt x="7" y="0"/>
                    <a:pt x="0" y="1"/>
                    <a:pt x="3" y="5"/>
                  </a:cubicBezTo>
                  <a:cubicBezTo>
                    <a:pt x="5" y="7"/>
                    <a:pt x="9" y="4"/>
                    <a:pt x="9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1">
              <a:extLst>
                <a:ext uri="{FF2B5EF4-FFF2-40B4-BE49-F238E27FC236}">
                  <a16:creationId xmlns:a16="http://schemas.microsoft.com/office/drawing/2014/main" id="{486CFB54-C970-4294-A1AD-D646391C7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9860" y="5171688"/>
              <a:ext cx="31144" cy="44491"/>
            </a:xfrm>
            <a:custGeom>
              <a:avLst/>
              <a:gdLst>
                <a:gd name="T0" fmla="*/ 15 w 15"/>
                <a:gd name="T1" fmla="*/ 10 h 20"/>
                <a:gd name="T2" fmla="*/ 4 w 15"/>
                <a:gd name="T3" fmla="*/ 11 h 20"/>
                <a:gd name="T4" fmla="*/ 10 w 15"/>
                <a:gd name="T5" fmla="*/ 14 h 20"/>
                <a:gd name="T6" fmla="*/ 15 w 15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0">
                  <a:moveTo>
                    <a:pt x="15" y="10"/>
                  </a:moveTo>
                  <a:cubicBezTo>
                    <a:pt x="11" y="0"/>
                    <a:pt x="0" y="9"/>
                    <a:pt x="4" y="11"/>
                  </a:cubicBezTo>
                  <a:cubicBezTo>
                    <a:pt x="8" y="12"/>
                    <a:pt x="9" y="9"/>
                    <a:pt x="10" y="14"/>
                  </a:cubicBezTo>
                  <a:cubicBezTo>
                    <a:pt x="11" y="20"/>
                    <a:pt x="15" y="12"/>
                    <a:pt x="15" y="1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82">
              <a:extLst>
                <a:ext uri="{FF2B5EF4-FFF2-40B4-BE49-F238E27FC236}">
                  <a16:creationId xmlns:a16="http://schemas.microsoft.com/office/drawing/2014/main" id="{0965ECF9-9A96-46FB-8816-E12A094D8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9860" y="5171688"/>
              <a:ext cx="31144" cy="44491"/>
            </a:xfrm>
            <a:custGeom>
              <a:avLst/>
              <a:gdLst>
                <a:gd name="T0" fmla="*/ 15 w 15"/>
                <a:gd name="T1" fmla="*/ 10 h 20"/>
                <a:gd name="T2" fmla="*/ 4 w 15"/>
                <a:gd name="T3" fmla="*/ 11 h 20"/>
                <a:gd name="T4" fmla="*/ 10 w 15"/>
                <a:gd name="T5" fmla="*/ 14 h 20"/>
                <a:gd name="T6" fmla="*/ 15 w 15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0">
                  <a:moveTo>
                    <a:pt x="15" y="10"/>
                  </a:moveTo>
                  <a:cubicBezTo>
                    <a:pt x="11" y="0"/>
                    <a:pt x="0" y="9"/>
                    <a:pt x="4" y="11"/>
                  </a:cubicBezTo>
                  <a:cubicBezTo>
                    <a:pt x="8" y="12"/>
                    <a:pt x="9" y="9"/>
                    <a:pt x="10" y="14"/>
                  </a:cubicBezTo>
                  <a:cubicBezTo>
                    <a:pt x="11" y="20"/>
                    <a:pt x="15" y="12"/>
                    <a:pt x="15" y="1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83">
              <a:extLst>
                <a:ext uri="{FF2B5EF4-FFF2-40B4-BE49-F238E27FC236}">
                  <a16:creationId xmlns:a16="http://schemas.microsoft.com/office/drawing/2014/main" id="{4503C4AD-B42B-4436-821B-CDFCED475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9860" y="5296262"/>
              <a:ext cx="31144" cy="22245"/>
            </a:xfrm>
            <a:custGeom>
              <a:avLst/>
              <a:gdLst>
                <a:gd name="T0" fmla="*/ 9 w 13"/>
                <a:gd name="T1" fmla="*/ 0 h 11"/>
                <a:gd name="T2" fmla="*/ 3 w 13"/>
                <a:gd name="T3" fmla="*/ 2 h 11"/>
                <a:gd name="T4" fmla="*/ 6 w 13"/>
                <a:gd name="T5" fmla="*/ 11 h 11"/>
                <a:gd name="T6" fmla="*/ 10 w 13"/>
                <a:gd name="T7" fmla="*/ 9 h 11"/>
                <a:gd name="T8" fmla="*/ 9 w 1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9" y="0"/>
                  </a:moveTo>
                  <a:cubicBezTo>
                    <a:pt x="7" y="1"/>
                    <a:pt x="5" y="2"/>
                    <a:pt x="3" y="2"/>
                  </a:cubicBezTo>
                  <a:cubicBezTo>
                    <a:pt x="0" y="3"/>
                    <a:pt x="5" y="10"/>
                    <a:pt x="6" y="11"/>
                  </a:cubicBezTo>
                  <a:cubicBezTo>
                    <a:pt x="6" y="9"/>
                    <a:pt x="7" y="8"/>
                    <a:pt x="10" y="9"/>
                  </a:cubicBezTo>
                  <a:cubicBezTo>
                    <a:pt x="10" y="6"/>
                    <a:pt x="13" y="3"/>
                    <a:pt x="9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384">
              <a:extLst>
                <a:ext uri="{FF2B5EF4-FFF2-40B4-BE49-F238E27FC236}">
                  <a16:creationId xmlns:a16="http://schemas.microsoft.com/office/drawing/2014/main" id="{40A9CEB6-B264-4F31-A115-8E446C366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9860" y="5296262"/>
              <a:ext cx="31144" cy="22245"/>
            </a:xfrm>
            <a:custGeom>
              <a:avLst/>
              <a:gdLst>
                <a:gd name="T0" fmla="*/ 9 w 13"/>
                <a:gd name="T1" fmla="*/ 0 h 11"/>
                <a:gd name="T2" fmla="*/ 3 w 13"/>
                <a:gd name="T3" fmla="*/ 2 h 11"/>
                <a:gd name="T4" fmla="*/ 6 w 13"/>
                <a:gd name="T5" fmla="*/ 11 h 11"/>
                <a:gd name="T6" fmla="*/ 10 w 13"/>
                <a:gd name="T7" fmla="*/ 9 h 11"/>
                <a:gd name="T8" fmla="*/ 9 w 13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9" y="0"/>
                  </a:moveTo>
                  <a:cubicBezTo>
                    <a:pt x="7" y="1"/>
                    <a:pt x="5" y="2"/>
                    <a:pt x="3" y="2"/>
                  </a:cubicBezTo>
                  <a:cubicBezTo>
                    <a:pt x="0" y="3"/>
                    <a:pt x="5" y="10"/>
                    <a:pt x="6" y="11"/>
                  </a:cubicBezTo>
                  <a:cubicBezTo>
                    <a:pt x="6" y="9"/>
                    <a:pt x="7" y="8"/>
                    <a:pt x="10" y="9"/>
                  </a:cubicBezTo>
                  <a:cubicBezTo>
                    <a:pt x="10" y="6"/>
                    <a:pt x="13" y="3"/>
                    <a:pt x="9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385">
              <a:extLst>
                <a:ext uri="{FF2B5EF4-FFF2-40B4-BE49-F238E27FC236}">
                  <a16:creationId xmlns:a16="http://schemas.microsoft.com/office/drawing/2014/main" id="{CEB18A30-F563-4D9B-8BF3-C59DC2E67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7656" y="5269568"/>
              <a:ext cx="40042" cy="26695"/>
            </a:xfrm>
            <a:custGeom>
              <a:avLst/>
              <a:gdLst>
                <a:gd name="T0" fmla="*/ 3 w 18"/>
                <a:gd name="T1" fmla="*/ 0 h 12"/>
                <a:gd name="T2" fmla="*/ 4 w 18"/>
                <a:gd name="T3" fmla="*/ 9 h 12"/>
                <a:gd name="T4" fmla="*/ 10 w 18"/>
                <a:gd name="T5" fmla="*/ 9 h 12"/>
                <a:gd name="T6" fmla="*/ 18 w 18"/>
                <a:gd name="T7" fmla="*/ 10 h 12"/>
                <a:gd name="T8" fmla="*/ 3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3" y="0"/>
                  </a:moveTo>
                  <a:cubicBezTo>
                    <a:pt x="3" y="2"/>
                    <a:pt x="0" y="10"/>
                    <a:pt x="4" y="9"/>
                  </a:cubicBezTo>
                  <a:cubicBezTo>
                    <a:pt x="7" y="9"/>
                    <a:pt x="8" y="8"/>
                    <a:pt x="10" y="9"/>
                  </a:cubicBezTo>
                  <a:cubicBezTo>
                    <a:pt x="13" y="10"/>
                    <a:pt x="15" y="12"/>
                    <a:pt x="18" y="10"/>
                  </a:cubicBezTo>
                  <a:cubicBezTo>
                    <a:pt x="16" y="8"/>
                    <a:pt x="6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386">
              <a:extLst>
                <a:ext uri="{FF2B5EF4-FFF2-40B4-BE49-F238E27FC236}">
                  <a16:creationId xmlns:a16="http://schemas.microsoft.com/office/drawing/2014/main" id="{5D3B78D6-4768-4223-83AA-87E1CB5CA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7656" y="5269568"/>
              <a:ext cx="40042" cy="26695"/>
            </a:xfrm>
            <a:custGeom>
              <a:avLst/>
              <a:gdLst>
                <a:gd name="T0" fmla="*/ 3 w 18"/>
                <a:gd name="T1" fmla="*/ 0 h 12"/>
                <a:gd name="T2" fmla="*/ 4 w 18"/>
                <a:gd name="T3" fmla="*/ 9 h 12"/>
                <a:gd name="T4" fmla="*/ 10 w 18"/>
                <a:gd name="T5" fmla="*/ 9 h 12"/>
                <a:gd name="T6" fmla="*/ 18 w 18"/>
                <a:gd name="T7" fmla="*/ 10 h 12"/>
                <a:gd name="T8" fmla="*/ 3 w 1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3" y="0"/>
                  </a:moveTo>
                  <a:cubicBezTo>
                    <a:pt x="3" y="2"/>
                    <a:pt x="0" y="10"/>
                    <a:pt x="4" y="9"/>
                  </a:cubicBezTo>
                  <a:cubicBezTo>
                    <a:pt x="7" y="9"/>
                    <a:pt x="8" y="8"/>
                    <a:pt x="10" y="9"/>
                  </a:cubicBezTo>
                  <a:cubicBezTo>
                    <a:pt x="13" y="10"/>
                    <a:pt x="15" y="12"/>
                    <a:pt x="18" y="10"/>
                  </a:cubicBezTo>
                  <a:cubicBezTo>
                    <a:pt x="16" y="8"/>
                    <a:pt x="6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387">
              <a:extLst>
                <a:ext uri="{FF2B5EF4-FFF2-40B4-BE49-F238E27FC236}">
                  <a16:creationId xmlns:a16="http://schemas.microsoft.com/office/drawing/2014/main" id="{466AB6C5-CDA8-485B-9FAF-7B20A06E7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105" y="5211730"/>
              <a:ext cx="889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388">
              <a:extLst>
                <a:ext uri="{FF2B5EF4-FFF2-40B4-BE49-F238E27FC236}">
                  <a16:creationId xmlns:a16="http://schemas.microsoft.com/office/drawing/2014/main" id="{C6E89D65-413B-45FC-B2A1-9317FBF61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105" y="5211730"/>
              <a:ext cx="889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389">
              <a:extLst>
                <a:ext uri="{FF2B5EF4-FFF2-40B4-BE49-F238E27FC236}">
                  <a16:creationId xmlns:a16="http://schemas.microsoft.com/office/drawing/2014/main" id="{CD78C3D8-680C-4B1E-A248-414D9420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7698" y="5705579"/>
              <a:ext cx="609526" cy="226904"/>
            </a:xfrm>
            <a:custGeom>
              <a:avLst/>
              <a:gdLst>
                <a:gd name="T0" fmla="*/ 47 w 283"/>
                <a:gd name="T1" fmla="*/ 10 h 105"/>
                <a:gd name="T2" fmla="*/ 29 w 283"/>
                <a:gd name="T3" fmla="*/ 8 h 105"/>
                <a:gd name="T4" fmla="*/ 20 w 283"/>
                <a:gd name="T5" fmla="*/ 13 h 105"/>
                <a:gd name="T6" fmla="*/ 13 w 283"/>
                <a:gd name="T7" fmla="*/ 24 h 105"/>
                <a:gd name="T8" fmla="*/ 8 w 283"/>
                <a:gd name="T9" fmla="*/ 36 h 105"/>
                <a:gd name="T10" fmla="*/ 0 w 283"/>
                <a:gd name="T11" fmla="*/ 35 h 105"/>
                <a:gd name="T12" fmla="*/ 28 w 283"/>
                <a:gd name="T13" fmla="*/ 39 h 105"/>
                <a:gd name="T14" fmla="*/ 37 w 283"/>
                <a:gd name="T15" fmla="*/ 43 h 105"/>
                <a:gd name="T16" fmla="*/ 35 w 283"/>
                <a:gd name="T17" fmla="*/ 51 h 105"/>
                <a:gd name="T18" fmla="*/ 62 w 283"/>
                <a:gd name="T19" fmla="*/ 59 h 105"/>
                <a:gd name="T20" fmla="*/ 87 w 283"/>
                <a:gd name="T21" fmla="*/ 70 h 105"/>
                <a:gd name="T22" fmla="*/ 96 w 283"/>
                <a:gd name="T23" fmla="*/ 70 h 105"/>
                <a:gd name="T24" fmla="*/ 103 w 283"/>
                <a:gd name="T25" fmla="*/ 66 h 105"/>
                <a:gd name="T26" fmla="*/ 134 w 283"/>
                <a:gd name="T27" fmla="*/ 71 h 105"/>
                <a:gd name="T28" fmla="*/ 170 w 283"/>
                <a:gd name="T29" fmla="*/ 85 h 105"/>
                <a:gd name="T30" fmla="*/ 188 w 283"/>
                <a:gd name="T31" fmla="*/ 87 h 105"/>
                <a:gd name="T32" fmla="*/ 202 w 283"/>
                <a:gd name="T33" fmla="*/ 88 h 105"/>
                <a:gd name="T34" fmla="*/ 234 w 283"/>
                <a:gd name="T35" fmla="*/ 89 h 105"/>
                <a:gd name="T36" fmla="*/ 259 w 283"/>
                <a:gd name="T37" fmla="*/ 97 h 105"/>
                <a:gd name="T38" fmla="*/ 275 w 283"/>
                <a:gd name="T39" fmla="*/ 100 h 105"/>
                <a:gd name="T40" fmla="*/ 281 w 283"/>
                <a:gd name="T41" fmla="*/ 104 h 105"/>
                <a:gd name="T42" fmla="*/ 278 w 283"/>
                <a:gd name="T43" fmla="*/ 96 h 105"/>
                <a:gd name="T44" fmla="*/ 279 w 283"/>
                <a:gd name="T45" fmla="*/ 74 h 105"/>
                <a:gd name="T46" fmla="*/ 272 w 283"/>
                <a:gd name="T47" fmla="*/ 67 h 105"/>
                <a:gd name="T48" fmla="*/ 258 w 283"/>
                <a:gd name="T49" fmla="*/ 67 h 105"/>
                <a:gd name="T50" fmla="*/ 241 w 283"/>
                <a:gd name="T51" fmla="*/ 68 h 105"/>
                <a:gd name="T52" fmla="*/ 229 w 283"/>
                <a:gd name="T53" fmla="*/ 61 h 105"/>
                <a:gd name="T54" fmla="*/ 226 w 283"/>
                <a:gd name="T55" fmla="*/ 51 h 105"/>
                <a:gd name="T56" fmla="*/ 224 w 283"/>
                <a:gd name="T57" fmla="*/ 38 h 105"/>
                <a:gd name="T58" fmla="*/ 211 w 283"/>
                <a:gd name="T59" fmla="*/ 39 h 105"/>
                <a:gd name="T60" fmla="*/ 207 w 283"/>
                <a:gd name="T61" fmla="*/ 37 h 105"/>
                <a:gd name="T62" fmla="*/ 198 w 283"/>
                <a:gd name="T63" fmla="*/ 35 h 105"/>
                <a:gd name="T64" fmla="*/ 191 w 283"/>
                <a:gd name="T65" fmla="*/ 31 h 105"/>
                <a:gd name="T66" fmla="*/ 180 w 283"/>
                <a:gd name="T67" fmla="*/ 30 h 105"/>
                <a:gd name="T68" fmla="*/ 165 w 283"/>
                <a:gd name="T69" fmla="*/ 31 h 105"/>
                <a:gd name="T70" fmla="*/ 155 w 283"/>
                <a:gd name="T71" fmla="*/ 41 h 105"/>
                <a:gd name="T72" fmla="*/ 148 w 283"/>
                <a:gd name="T73" fmla="*/ 39 h 105"/>
                <a:gd name="T74" fmla="*/ 139 w 283"/>
                <a:gd name="T75" fmla="*/ 39 h 105"/>
                <a:gd name="T76" fmla="*/ 126 w 283"/>
                <a:gd name="T77" fmla="*/ 38 h 105"/>
                <a:gd name="T78" fmla="*/ 115 w 283"/>
                <a:gd name="T79" fmla="*/ 36 h 105"/>
                <a:gd name="T80" fmla="*/ 97 w 283"/>
                <a:gd name="T81" fmla="*/ 20 h 105"/>
                <a:gd name="T82" fmla="*/ 90 w 283"/>
                <a:gd name="T83" fmla="*/ 20 h 105"/>
                <a:gd name="T84" fmla="*/ 78 w 283"/>
                <a:gd name="T85" fmla="*/ 16 h 105"/>
                <a:gd name="T86" fmla="*/ 68 w 283"/>
                <a:gd name="T87" fmla="*/ 10 h 105"/>
                <a:gd name="T88" fmla="*/ 56 w 283"/>
                <a:gd name="T89" fmla="*/ 5 h 105"/>
                <a:gd name="T90" fmla="*/ 47 w 283"/>
                <a:gd name="T91" fmla="*/ 1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3" h="105">
                  <a:moveTo>
                    <a:pt x="47" y="10"/>
                  </a:moveTo>
                  <a:cubicBezTo>
                    <a:pt x="44" y="8"/>
                    <a:pt x="32" y="6"/>
                    <a:pt x="29" y="8"/>
                  </a:cubicBezTo>
                  <a:cubicBezTo>
                    <a:pt x="29" y="0"/>
                    <a:pt x="21" y="11"/>
                    <a:pt x="20" y="13"/>
                  </a:cubicBezTo>
                  <a:cubicBezTo>
                    <a:pt x="19" y="16"/>
                    <a:pt x="19" y="29"/>
                    <a:pt x="13" y="24"/>
                  </a:cubicBezTo>
                  <a:cubicBezTo>
                    <a:pt x="12" y="28"/>
                    <a:pt x="10" y="32"/>
                    <a:pt x="8" y="36"/>
                  </a:cubicBezTo>
                  <a:cubicBezTo>
                    <a:pt x="6" y="32"/>
                    <a:pt x="3" y="33"/>
                    <a:pt x="0" y="35"/>
                  </a:cubicBezTo>
                  <a:cubicBezTo>
                    <a:pt x="9" y="39"/>
                    <a:pt x="20" y="34"/>
                    <a:pt x="28" y="39"/>
                  </a:cubicBezTo>
                  <a:cubicBezTo>
                    <a:pt x="31" y="41"/>
                    <a:pt x="35" y="41"/>
                    <a:pt x="37" y="43"/>
                  </a:cubicBezTo>
                  <a:cubicBezTo>
                    <a:pt x="42" y="45"/>
                    <a:pt x="36" y="48"/>
                    <a:pt x="35" y="51"/>
                  </a:cubicBezTo>
                  <a:cubicBezTo>
                    <a:pt x="33" y="60"/>
                    <a:pt x="58" y="59"/>
                    <a:pt x="62" y="59"/>
                  </a:cubicBezTo>
                  <a:cubicBezTo>
                    <a:pt x="71" y="61"/>
                    <a:pt x="78" y="67"/>
                    <a:pt x="87" y="70"/>
                  </a:cubicBezTo>
                  <a:cubicBezTo>
                    <a:pt x="90" y="70"/>
                    <a:pt x="94" y="71"/>
                    <a:pt x="96" y="70"/>
                  </a:cubicBezTo>
                  <a:cubicBezTo>
                    <a:pt x="99" y="68"/>
                    <a:pt x="98" y="66"/>
                    <a:pt x="103" y="66"/>
                  </a:cubicBezTo>
                  <a:cubicBezTo>
                    <a:pt x="113" y="65"/>
                    <a:pt x="124" y="68"/>
                    <a:pt x="134" y="71"/>
                  </a:cubicBezTo>
                  <a:cubicBezTo>
                    <a:pt x="146" y="75"/>
                    <a:pt x="158" y="82"/>
                    <a:pt x="170" y="85"/>
                  </a:cubicBezTo>
                  <a:cubicBezTo>
                    <a:pt x="176" y="86"/>
                    <a:pt x="183" y="85"/>
                    <a:pt x="188" y="87"/>
                  </a:cubicBezTo>
                  <a:cubicBezTo>
                    <a:pt x="193" y="89"/>
                    <a:pt x="197" y="87"/>
                    <a:pt x="202" y="88"/>
                  </a:cubicBezTo>
                  <a:cubicBezTo>
                    <a:pt x="213" y="89"/>
                    <a:pt x="225" y="95"/>
                    <a:pt x="234" y="89"/>
                  </a:cubicBezTo>
                  <a:cubicBezTo>
                    <a:pt x="242" y="83"/>
                    <a:pt x="252" y="93"/>
                    <a:pt x="259" y="97"/>
                  </a:cubicBezTo>
                  <a:cubicBezTo>
                    <a:pt x="261" y="98"/>
                    <a:pt x="275" y="99"/>
                    <a:pt x="275" y="100"/>
                  </a:cubicBezTo>
                  <a:cubicBezTo>
                    <a:pt x="274" y="103"/>
                    <a:pt x="279" y="105"/>
                    <a:pt x="281" y="104"/>
                  </a:cubicBezTo>
                  <a:cubicBezTo>
                    <a:pt x="283" y="103"/>
                    <a:pt x="278" y="97"/>
                    <a:pt x="278" y="96"/>
                  </a:cubicBezTo>
                  <a:cubicBezTo>
                    <a:pt x="273" y="89"/>
                    <a:pt x="279" y="82"/>
                    <a:pt x="279" y="74"/>
                  </a:cubicBezTo>
                  <a:cubicBezTo>
                    <a:pt x="280" y="69"/>
                    <a:pt x="275" y="68"/>
                    <a:pt x="272" y="67"/>
                  </a:cubicBezTo>
                  <a:cubicBezTo>
                    <a:pt x="266" y="65"/>
                    <a:pt x="264" y="68"/>
                    <a:pt x="258" y="67"/>
                  </a:cubicBezTo>
                  <a:cubicBezTo>
                    <a:pt x="253" y="67"/>
                    <a:pt x="246" y="71"/>
                    <a:pt x="241" y="68"/>
                  </a:cubicBezTo>
                  <a:cubicBezTo>
                    <a:pt x="238" y="67"/>
                    <a:pt x="230" y="64"/>
                    <a:pt x="229" y="61"/>
                  </a:cubicBezTo>
                  <a:cubicBezTo>
                    <a:pt x="228" y="58"/>
                    <a:pt x="233" y="45"/>
                    <a:pt x="226" y="51"/>
                  </a:cubicBezTo>
                  <a:cubicBezTo>
                    <a:pt x="227" y="47"/>
                    <a:pt x="224" y="43"/>
                    <a:pt x="224" y="38"/>
                  </a:cubicBezTo>
                  <a:cubicBezTo>
                    <a:pt x="220" y="40"/>
                    <a:pt x="215" y="39"/>
                    <a:pt x="211" y="39"/>
                  </a:cubicBezTo>
                  <a:cubicBezTo>
                    <a:pt x="209" y="39"/>
                    <a:pt x="208" y="38"/>
                    <a:pt x="207" y="37"/>
                  </a:cubicBezTo>
                  <a:cubicBezTo>
                    <a:pt x="204" y="35"/>
                    <a:pt x="201" y="36"/>
                    <a:pt x="198" y="35"/>
                  </a:cubicBezTo>
                  <a:cubicBezTo>
                    <a:pt x="196" y="34"/>
                    <a:pt x="193" y="27"/>
                    <a:pt x="191" y="31"/>
                  </a:cubicBezTo>
                  <a:cubicBezTo>
                    <a:pt x="188" y="34"/>
                    <a:pt x="182" y="33"/>
                    <a:pt x="180" y="30"/>
                  </a:cubicBezTo>
                  <a:cubicBezTo>
                    <a:pt x="175" y="21"/>
                    <a:pt x="169" y="20"/>
                    <a:pt x="165" y="31"/>
                  </a:cubicBezTo>
                  <a:cubicBezTo>
                    <a:pt x="164" y="34"/>
                    <a:pt x="161" y="43"/>
                    <a:pt x="155" y="41"/>
                  </a:cubicBezTo>
                  <a:cubicBezTo>
                    <a:pt x="152" y="40"/>
                    <a:pt x="152" y="38"/>
                    <a:pt x="148" y="39"/>
                  </a:cubicBezTo>
                  <a:cubicBezTo>
                    <a:pt x="145" y="39"/>
                    <a:pt x="142" y="40"/>
                    <a:pt x="139" y="39"/>
                  </a:cubicBezTo>
                  <a:cubicBezTo>
                    <a:pt x="134" y="38"/>
                    <a:pt x="131" y="38"/>
                    <a:pt x="126" y="38"/>
                  </a:cubicBezTo>
                  <a:cubicBezTo>
                    <a:pt x="123" y="38"/>
                    <a:pt x="118" y="34"/>
                    <a:pt x="115" y="36"/>
                  </a:cubicBezTo>
                  <a:cubicBezTo>
                    <a:pt x="104" y="42"/>
                    <a:pt x="101" y="26"/>
                    <a:pt x="97" y="20"/>
                  </a:cubicBezTo>
                  <a:cubicBezTo>
                    <a:pt x="93" y="14"/>
                    <a:pt x="93" y="20"/>
                    <a:pt x="90" y="20"/>
                  </a:cubicBezTo>
                  <a:cubicBezTo>
                    <a:pt x="86" y="20"/>
                    <a:pt x="82" y="13"/>
                    <a:pt x="78" y="16"/>
                  </a:cubicBezTo>
                  <a:cubicBezTo>
                    <a:pt x="73" y="18"/>
                    <a:pt x="70" y="12"/>
                    <a:pt x="68" y="10"/>
                  </a:cubicBezTo>
                  <a:cubicBezTo>
                    <a:pt x="64" y="7"/>
                    <a:pt x="61" y="8"/>
                    <a:pt x="56" y="5"/>
                  </a:cubicBezTo>
                  <a:cubicBezTo>
                    <a:pt x="55" y="9"/>
                    <a:pt x="51" y="15"/>
                    <a:pt x="47" y="1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390">
              <a:extLst>
                <a:ext uri="{FF2B5EF4-FFF2-40B4-BE49-F238E27FC236}">
                  <a16:creationId xmlns:a16="http://schemas.microsoft.com/office/drawing/2014/main" id="{B036DA2C-C16E-404E-9CC4-D15CD33A0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7698" y="5705579"/>
              <a:ext cx="609526" cy="226904"/>
            </a:xfrm>
            <a:custGeom>
              <a:avLst/>
              <a:gdLst>
                <a:gd name="T0" fmla="*/ 47 w 283"/>
                <a:gd name="T1" fmla="*/ 10 h 105"/>
                <a:gd name="T2" fmla="*/ 29 w 283"/>
                <a:gd name="T3" fmla="*/ 8 h 105"/>
                <a:gd name="T4" fmla="*/ 20 w 283"/>
                <a:gd name="T5" fmla="*/ 13 h 105"/>
                <a:gd name="T6" fmla="*/ 13 w 283"/>
                <a:gd name="T7" fmla="*/ 24 h 105"/>
                <a:gd name="T8" fmla="*/ 8 w 283"/>
                <a:gd name="T9" fmla="*/ 36 h 105"/>
                <a:gd name="T10" fmla="*/ 0 w 283"/>
                <a:gd name="T11" fmla="*/ 35 h 105"/>
                <a:gd name="T12" fmla="*/ 28 w 283"/>
                <a:gd name="T13" fmla="*/ 39 h 105"/>
                <a:gd name="T14" fmla="*/ 37 w 283"/>
                <a:gd name="T15" fmla="*/ 43 h 105"/>
                <a:gd name="T16" fmla="*/ 35 w 283"/>
                <a:gd name="T17" fmla="*/ 51 h 105"/>
                <a:gd name="T18" fmla="*/ 62 w 283"/>
                <a:gd name="T19" fmla="*/ 59 h 105"/>
                <a:gd name="T20" fmla="*/ 87 w 283"/>
                <a:gd name="T21" fmla="*/ 70 h 105"/>
                <a:gd name="T22" fmla="*/ 96 w 283"/>
                <a:gd name="T23" fmla="*/ 70 h 105"/>
                <a:gd name="T24" fmla="*/ 103 w 283"/>
                <a:gd name="T25" fmla="*/ 66 h 105"/>
                <a:gd name="T26" fmla="*/ 134 w 283"/>
                <a:gd name="T27" fmla="*/ 71 h 105"/>
                <a:gd name="T28" fmla="*/ 170 w 283"/>
                <a:gd name="T29" fmla="*/ 85 h 105"/>
                <a:gd name="T30" fmla="*/ 188 w 283"/>
                <a:gd name="T31" fmla="*/ 87 h 105"/>
                <a:gd name="T32" fmla="*/ 202 w 283"/>
                <a:gd name="T33" fmla="*/ 88 h 105"/>
                <a:gd name="T34" fmla="*/ 234 w 283"/>
                <a:gd name="T35" fmla="*/ 89 h 105"/>
                <a:gd name="T36" fmla="*/ 259 w 283"/>
                <a:gd name="T37" fmla="*/ 97 h 105"/>
                <a:gd name="T38" fmla="*/ 275 w 283"/>
                <a:gd name="T39" fmla="*/ 100 h 105"/>
                <a:gd name="T40" fmla="*/ 281 w 283"/>
                <a:gd name="T41" fmla="*/ 104 h 105"/>
                <a:gd name="T42" fmla="*/ 278 w 283"/>
                <a:gd name="T43" fmla="*/ 96 h 105"/>
                <a:gd name="T44" fmla="*/ 279 w 283"/>
                <a:gd name="T45" fmla="*/ 74 h 105"/>
                <a:gd name="T46" fmla="*/ 272 w 283"/>
                <a:gd name="T47" fmla="*/ 67 h 105"/>
                <a:gd name="T48" fmla="*/ 258 w 283"/>
                <a:gd name="T49" fmla="*/ 67 h 105"/>
                <a:gd name="T50" fmla="*/ 241 w 283"/>
                <a:gd name="T51" fmla="*/ 68 h 105"/>
                <a:gd name="T52" fmla="*/ 229 w 283"/>
                <a:gd name="T53" fmla="*/ 61 h 105"/>
                <a:gd name="T54" fmla="*/ 226 w 283"/>
                <a:gd name="T55" fmla="*/ 51 h 105"/>
                <a:gd name="T56" fmla="*/ 224 w 283"/>
                <a:gd name="T57" fmla="*/ 38 h 105"/>
                <a:gd name="T58" fmla="*/ 211 w 283"/>
                <a:gd name="T59" fmla="*/ 39 h 105"/>
                <a:gd name="T60" fmla="*/ 207 w 283"/>
                <a:gd name="T61" fmla="*/ 37 h 105"/>
                <a:gd name="T62" fmla="*/ 198 w 283"/>
                <a:gd name="T63" fmla="*/ 35 h 105"/>
                <a:gd name="T64" fmla="*/ 191 w 283"/>
                <a:gd name="T65" fmla="*/ 31 h 105"/>
                <a:gd name="T66" fmla="*/ 180 w 283"/>
                <a:gd name="T67" fmla="*/ 30 h 105"/>
                <a:gd name="T68" fmla="*/ 165 w 283"/>
                <a:gd name="T69" fmla="*/ 31 h 105"/>
                <a:gd name="T70" fmla="*/ 155 w 283"/>
                <a:gd name="T71" fmla="*/ 41 h 105"/>
                <a:gd name="T72" fmla="*/ 148 w 283"/>
                <a:gd name="T73" fmla="*/ 39 h 105"/>
                <a:gd name="T74" fmla="*/ 139 w 283"/>
                <a:gd name="T75" fmla="*/ 39 h 105"/>
                <a:gd name="T76" fmla="*/ 126 w 283"/>
                <a:gd name="T77" fmla="*/ 38 h 105"/>
                <a:gd name="T78" fmla="*/ 115 w 283"/>
                <a:gd name="T79" fmla="*/ 36 h 105"/>
                <a:gd name="T80" fmla="*/ 97 w 283"/>
                <a:gd name="T81" fmla="*/ 20 h 105"/>
                <a:gd name="T82" fmla="*/ 90 w 283"/>
                <a:gd name="T83" fmla="*/ 20 h 105"/>
                <a:gd name="T84" fmla="*/ 78 w 283"/>
                <a:gd name="T85" fmla="*/ 16 h 105"/>
                <a:gd name="T86" fmla="*/ 68 w 283"/>
                <a:gd name="T87" fmla="*/ 10 h 105"/>
                <a:gd name="T88" fmla="*/ 56 w 283"/>
                <a:gd name="T89" fmla="*/ 5 h 105"/>
                <a:gd name="T90" fmla="*/ 47 w 283"/>
                <a:gd name="T91" fmla="*/ 1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3" h="105">
                  <a:moveTo>
                    <a:pt x="47" y="10"/>
                  </a:moveTo>
                  <a:cubicBezTo>
                    <a:pt x="44" y="8"/>
                    <a:pt x="32" y="6"/>
                    <a:pt x="29" y="8"/>
                  </a:cubicBezTo>
                  <a:cubicBezTo>
                    <a:pt x="29" y="0"/>
                    <a:pt x="21" y="11"/>
                    <a:pt x="20" y="13"/>
                  </a:cubicBezTo>
                  <a:cubicBezTo>
                    <a:pt x="19" y="16"/>
                    <a:pt x="19" y="29"/>
                    <a:pt x="13" y="24"/>
                  </a:cubicBezTo>
                  <a:cubicBezTo>
                    <a:pt x="12" y="28"/>
                    <a:pt x="10" y="32"/>
                    <a:pt x="8" y="36"/>
                  </a:cubicBezTo>
                  <a:cubicBezTo>
                    <a:pt x="6" y="32"/>
                    <a:pt x="3" y="33"/>
                    <a:pt x="0" y="35"/>
                  </a:cubicBezTo>
                  <a:cubicBezTo>
                    <a:pt x="9" y="39"/>
                    <a:pt x="20" y="34"/>
                    <a:pt x="28" y="39"/>
                  </a:cubicBezTo>
                  <a:cubicBezTo>
                    <a:pt x="31" y="41"/>
                    <a:pt x="35" y="41"/>
                    <a:pt x="37" y="43"/>
                  </a:cubicBezTo>
                  <a:cubicBezTo>
                    <a:pt x="42" y="45"/>
                    <a:pt x="36" y="48"/>
                    <a:pt x="35" y="51"/>
                  </a:cubicBezTo>
                  <a:cubicBezTo>
                    <a:pt x="33" y="60"/>
                    <a:pt x="58" y="59"/>
                    <a:pt x="62" y="59"/>
                  </a:cubicBezTo>
                  <a:cubicBezTo>
                    <a:pt x="71" y="61"/>
                    <a:pt x="78" y="67"/>
                    <a:pt x="87" y="70"/>
                  </a:cubicBezTo>
                  <a:cubicBezTo>
                    <a:pt x="90" y="70"/>
                    <a:pt x="94" y="71"/>
                    <a:pt x="96" y="70"/>
                  </a:cubicBezTo>
                  <a:cubicBezTo>
                    <a:pt x="99" y="68"/>
                    <a:pt x="98" y="66"/>
                    <a:pt x="103" y="66"/>
                  </a:cubicBezTo>
                  <a:cubicBezTo>
                    <a:pt x="113" y="65"/>
                    <a:pt x="124" y="68"/>
                    <a:pt x="134" y="71"/>
                  </a:cubicBezTo>
                  <a:cubicBezTo>
                    <a:pt x="146" y="75"/>
                    <a:pt x="158" y="82"/>
                    <a:pt x="170" y="85"/>
                  </a:cubicBezTo>
                  <a:cubicBezTo>
                    <a:pt x="176" y="86"/>
                    <a:pt x="183" y="85"/>
                    <a:pt x="188" y="87"/>
                  </a:cubicBezTo>
                  <a:cubicBezTo>
                    <a:pt x="193" y="89"/>
                    <a:pt x="197" y="87"/>
                    <a:pt x="202" y="88"/>
                  </a:cubicBezTo>
                  <a:cubicBezTo>
                    <a:pt x="213" y="89"/>
                    <a:pt x="225" y="95"/>
                    <a:pt x="234" y="89"/>
                  </a:cubicBezTo>
                  <a:cubicBezTo>
                    <a:pt x="242" y="83"/>
                    <a:pt x="252" y="93"/>
                    <a:pt x="259" y="97"/>
                  </a:cubicBezTo>
                  <a:cubicBezTo>
                    <a:pt x="261" y="98"/>
                    <a:pt x="275" y="99"/>
                    <a:pt x="275" y="100"/>
                  </a:cubicBezTo>
                  <a:cubicBezTo>
                    <a:pt x="274" y="103"/>
                    <a:pt x="279" y="105"/>
                    <a:pt x="281" y="104"/>
                  </a:cubicBezTo>
                  <a:cubicBezTo>
                    <a:pt x="283" y="103"/>
                    <a:pt x="278" y="97"/>
                    <a:pt x="278" y="96"/>
                  </a:cubicBezTo>
                  <a:cubicBezTo>
                    <a:pt x="273" y="89"/>
                    <a:pt x="279" y="82"/>
                    <a:pt x="279" y="74"/>
                  </a:cubicBezTo>
                  <a:cubicBezTo>
                    <a:pt x="280" y="69"/>
                    <a:pt x="275" y="68"/>
                    <a:pt x="272" y="67"/>
                  </a:cubicBezTo>
                  <a:cubicBezTo>
                    <a:pt x="266" y="65"/>
                    <a:pt x="264" y="68"/>
                    <a:pt x="258" y="67"/>
                  </a:cubicBezTo>
                  <a:cubicBezTo>
                    <a:pt x="253" y="67"/>
                    <a:pt x="246" y="71"/>
                    <a:pt x="241" y="68"/>
                  </a:cubicBezTo>
                  <a:cubicBezTo>
                    <a:pt x="238" y="67"/>
                    <a:pt x="230" y="64"/>
                    <a:pt x="229" y="61"/>
                  </a:cubicBezTo>
                  <a:cubicBezTo>
                    <a:pt x="228" y="58"/>
                    <a:pt x="233" y="45"/>
                    <a:pt x="226" y="51"/>
                  </a:cubicBezTo>
                  <a:cubicBezTo>
                    <a:pt x="227" y="47"/>
                    <a:pt x="224" y="43"/>
                    <a:pt x="224" y="38"/>
                  </a:cubicBezTo>
                  <a:cubicBezTo>
                    <a:pt x="220" y="40"/>
                    <a:pt x="215" y="39"/>
                    <a:pt x="211" y="39"/>
                  </a:cubicBezTo>
                  <a:cubicBezTo>
                    <a:pt x="209" y="39"/>
                    <a:pt x="208" y="38"/>
                    <a:pt x="207" y="37"/>
                  </a:cubicBezTo>
                  <a:cubicBezTo>
                    <a:pt x="204" y="35"/>
                    <a:pt x="201" y="36"/>
                    <a:pt x="198" y="35"/>
                  </a:cubicBezTo>
                  <a:cubicBezTo>
                    <a:pt x="196" y="34"/>
                    <a:pt x="193" y="27"/>
                    <a:pt x="191" y="31"/>
                  </a:cubicBezTo>
                  <a:cubicBezTo>
                    <a:pt x="188" y="34"/>
                    <a:pt x="182" y="33"/>
                    <a:pt x="180" y="30"/>
                  </a:cubicBezTo>
                  <a:cubicBezTo>
                    <a:pt x="175" y="21"/>
                    <a:pt x="169" y="20"/>
                    <a:pt x="165" y="31"/>
                  </a:cubicBezTo>
                  <a:cubicBezTo>
                    <a:pt x="164" y="34"/>
                    <a:pt x="161" y="43"/>
                    <a:pt x="155" y="41"/>
                  </a:cubicBezTo>
                  <a:cubicBezTo>
                    <a:pt x="152" y="40"/>
                    <a:pt x="152" y="38"/>
                    <a:pt x="148" y="39"/>
                  </a:cubicBezTo>
                  <a:cubicBezTo>
                    <a:pt x="145" y="39"/>
                    <a:pt x="142" y="40"/>
                    <a:pt x="139" y="39"/>
                  </a:cubicBezTo>
                  <a:cubicBezTo>
                    <a:pt x="134" y="38"/>
                    <a:pt x="131" y="38"/>
                    <a:pt x="126" y="38"/>
                  </a:cubicBezTo>
                  <a:cubicBezTo>
                    <a:pt x="123" y="38"/>
                    <a:pt x="118" y="34"/>
                    <a:pt x="115" y="36"/>
                  </a:cubicBezTo>
                  <a:cubicBezTo>
                    <a:pt x="104" y="42"/>
                    <a:pt x="101" y="26"/>
                    <a:pt x="97" y="20"/>
                  </a:cubicBezTo>
                  <a:cubicBezTo>
                    <a:pt x="93" y="14"/>
                    <a:pt x="93" y="20"/>
                    <a:pt x="90" y="20"/>
                  </a:cubicBezTo>
                  <a:cubicBezTo>
                    <a:pt x="86" y="20"/>
                    <a:pt x="82" y="13"/>
                    <a:pt x="78" y="16"/>
                  </a:cubicBezTo>
                  <a:cubicBezTo>
                    <a:pt x="73" y="18"/>
                    <a:pt x="70" y="12"/>
                    <a:pt x="68" y="10"/>
                  </a:cubicBezTo>
                  <a:cubicBezTo>
                    <a:pt x="64" y="7"/>
                    <a:pt x="61" y="8"/>
                    <a:pt x="56" y="5"/>
                  </a:cubicBezTo>
                  <a:cubicBezTo>
                    <a:pt x="55" y="9"/>
                    <a:pt x="51" y="15"/>
                    <a:pt x="47" y="1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391">
              <a:extLst>
                <a:ext uri="{FF2B5EF4-FFF2-40B4-BE49-F238E27FC236}">
                  <a16:creationId xmlns:a16="http://schemas.microsoft.com/office/drawing/2014/main" id="{6185A4AD-336F-4558-A49E-724A2D729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2147" y="5371897"/>
              <a:ext cx="111227" cy="137922"/>
            </a:xfrm>
            <a:custGeom>
              <a:avLst/>
              <a:gdLst>
                <a:gd name="T0" fmla="*/ 7 w 51"/>
                <a:gd name="T1" fmla="*/ 13 h 63"/>
                <a:gd name="T2" fmla="*/ 0 w 51"/>
                <a:gd name="T3" fmla="*/ 23 h 63"/>
                <a:gd name="T4" fmla="*/ 11 w 51"/>
                <a:gd name="T5" fmla="*/ 26 h 63"/>
                <a:gd name="T6" fmla="*/ 20 w 51"/>
                <a:gd name="T7" fmla="*/ 31 h 63"/>
                <a:gd name="T8" fmla="*/ 24 w 51"/>
                <a:gd name="T9" fmla="*/ 40 h 63"/>
                <a:gd name="T10" fmla="*/ 28 w 51"/>
                <a:gd name="T11" fmla="*/ 52 h 63"/>
                <a:gd name="T12" fmla="*/ 47 w 51"/>
                <a:gd name="T13" fmla="*/ 61 h 63"/>
                <a:gd name="T14" fmla="*/ 45 w 51"/>
                <a:gd name="T15" fmla="*/ 54 h 63"/>
                <a:gd name="T16" fmla="*/ 51 w 51"/>
                <a:gd name="T17" fmla="*/ 43 h 63"/>
                <a:gd name="T18" fmla="*/ 36 w 51"/>
                <a:gd name="T19" fmla="*/ 38 h 63"/>
                <a:gd name="T20" fmla="*/ 32 w 51"/>
                <a:gd name="T21" fmla="*/ 22 h 63"/>
                <a:gd name="T22" fmla="*/ 28 w 51"/>
                <a:gd name="T23" fmla="*/ 8 h 63"/>
                <a:gd name="T24" fmla="*/ 21 w 51"/>
                <a:gd name="T25" fmla="*/ 15 h 63"/>
                <a:gd name="T26" fmla="*/ 7 w 51"/>
                <a:gd name="T27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63">
                  <a:moveTo>
                    <a:pt x="7" y="13"/>
                  </a:moveTo>
                  <a:cubicBezTo>
                    <a:pt x="10" y="17"/>
                    <a:pt x="2" y="19"/>
                    <a:pt x="0" y="23"/>
                  </a:cubicBezTo>
                  <a:cubicBezTo>
                    <a:pt x="4" y="25"/>
                    <a:pt x="6" y="28"/>
                    <a:pt x="11" y="26"/>
                  </a:cubicBezTo>
                  <a:cubicBezTo>
                    <a:pt x="14" y="25"/>
                    <a:pt x="20" y="28"/>
                    <a:pt x="20" y="31"/>
                  </a:cubicBezTo>
                  <a:cubicBezTo>
                    <a:pt x="21" y="34"/>
                    <a:pt x="24" y="37"/>
                    <a:pt x="24" y="40"/>
                  </a:cubicBezTo>
                  <a:cubicBezTo>
                    <a:pt x="25" y="46"/>
                    <a:pt x="22" y="48"/>
                    <a:pt x="28" y="52"/>
                  </a:cubicBezTo>
                  <a:cubicBezTo>
                    <a:pt x="31" y="53"/>
                    <a:pt x="44" y="63"/>
                    <a:pt x="47" y="61"/>
                  </a:cubicBezTo>
                  <a:cubicBezTo>
                    <a:pt x="50" y="58"/>
                    <a:pt x="46" y="56"/>
                    <a:pt x="45" y="54"/>
                  </a:cubicBezTo>
                  <a:cubicBezTo>
                    <a:pt x="43" y="50"/>
                    <a:pt x="48" y="44"/>
                    <a:pt x="51" y="43"/>
                  </a:cubicBezTo>
                  <a:cubicBezTo>
                    <a:pt x="47" y="40"/>
                    <a:pt x="41" y="42"/>
                    <a:pt x="36" y="38"/>
                  </a:cubicBezTo>
                  <a:cubicBezTo>
                    <a:pt x="33" y="35"/>
                    <a:pt x="31" y="27"/>
                    <a:pt x="32" y="22"/>
                  </a:cubicBezTo>
                  <a:cubicBezTo>
                    <a:pt x="32" y="19"/>
                    <a:pt x="30" y="10"/>
                    <a:pt x="28" y="8"/>
                  </a:cubicBezTo>
                  <a:cubicBezTo>
                    <a:pt x="23" y="2"/>
                    <a:pt x="16" y="9"/>
                    <a:pt x="21" y="15"/>
                  </a:cubicBezTo>
                  <a:cubicBezTo>
                    <a:pt x="19" y="15"/>
                    <a:pt x="7" y="0"/>
                    <a:pt x="7" y="1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392">
              <a:extLst>
                <a:ext uri="{FF2B5EF4-FFF2-40B4-BE49-F238E27FC236}">
                  <a16:creationId xmlns:a16="http://schemas.microsoft.com/office/drawing/2014/main" id="{BDA81F4B-3BAF-474A-BD9A-AC3FF7626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2147" y="5371897"/>
              <a:ext cx="111227" cy="137922"/>
            </a:xfrm>
            <a:custGeom>
              <a:avLst/>
              <a:gdLst>
                <a:gd name="T0" fmla="*/ 7 w 51"/>
                <a:gd name="T1" fmla="*/ 13 h 63"/>
                <a:gd name="T2" fmla="*/ 0 w 51"/>
                <a:gd name="T3" fmla="*/ 23 h 63"/>
                <a:gd name="T4" fmla="*/ 11 w 51"/>
                <a:gd name="T5" fmla="*/ 26 h 63"/>
                <a:gd name="T6" fmla="*/ 20 w 51"/>
                <a:gd name="T7" fmla="*/ 31 h 63"/>
                <a:gd name="T8" fmla="*/ 24 w 51"/>
                <a:gd name="T9" fmla="*/ 40 h 63"/>
                <a:gd name="T10" fmla="*/ 28 w 51"/>
                <a:gd name="T11" fmla="*/ 52 h 63"/>
                <a:gd name="T12" fmla="*/ 47 w 51"/>
                <a:gd name="T13" fmla="*/ 61 h 63"/>
                <a:gd name="T14" fmla="*/ 45 w 51"/>
                <a:gd name="T15" fmla="*/ 54 h 63"/>
                <a:gd name="T16" fmla="*/ 51 w 51"/>
                <a:gd name="T17" fmla="*/ 43 h 63"/>
                <a:gd name="T18" fmla="*/ 36 w 51"/>
                <a:gd name="T19" fmla="*/ 38 h 63"/>
                <a:gd name="T20" fmla="*/ 32 w 51"/>
                <a:gd name="T21" fmla="*/ 22 h 63"/>
                <a:gd name="T22" fmla="*/ 28 w 51"/>
                <a:gd name="T23" fmla="*/ 8 h 63"/>
                <a:gd name="T24" fmla="*/ 21 w 51"/>
                <a:gd name="T25" fmla="*/ 15 h 63"/>
                <a:gd name="T26" fmla="*/ 7 w 51"/>
                <a:gd name="T27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63">
                  <a:moveTo>
                    <a:pt x="7" y="13"/>
                  </a:moveTo>
                  <a:cubicBezTo>
                    <a:pt x="10" y="17"/>
                    <a:pt x="2" y="19"/>
                    <a:pt x="0" y="23"/>
                  </a:cubicBezTo>
                  <a:cubicBezTo>
                    <a:pt x="4" y="25"/>
                    <a:pt x="6" y="28"/>
                    <a:pt x="11" y="26"/>
                  </a:cubicBezTo>
                  <a:cubicBezTo>
                    <a:pt x="14" y="25"/>
                    <a:pt x="20" y="28"/>
                    <a:pt x="20" y="31"/>
                  </a:cubicBezTo>
                  <a:cubicBezTo>
                    <a:pt x="21" y="34"/>
                    <a:pt x="24" y="37"/>
                    <a:pt x="24" y="40"/>
                  </a:cubicBezTo>
                  <a:cubicBezTo>
                    <a:pt x="25" y="46"/>
                    <a:pt x="22" y="48"/>
                    <a:pt x="28" y="52"/>
                  </a:cubicBezTo>
                  <a:cubicBezTo>
                    <a:pt x="31" y="53"/>
                    <a:pt x="44" y="63"/>
                    <a:pt x="47" y="61"/>
                  </a:cubicBezTo>
                  <a:cubicBezTo>
                    <a:pt x="50" y="58"/>
                    <a:pt x="46" y="56"/>
                    <a:pt x="45" y="54"/>
                  </a:cubicBezTo>
                  <a:cubicBezTo>
                    <a:pt x="43" y="50"/>
                    <a:pt x="48" y="44"/>
                    <a:pt x="51" y="43"/>
                  </a:cubicBezTo>
                  <a:cubicBezTo>
                    <a:pt x="47" y="40"/>
                    <a:pt x="41" y="42"/>
                    <a:pt x="36" y="38"/>
                  </a:cubicBezTo>
                  <a:cubicBezTo>
                    <a:pt x="33" y="35"/>
                    <a:pt x="31" y="27"/>
                    <a:pt x="32" y="22"/>
                  </a:cubicBezTo>
                  <a:cubicBezTo>
                    <a:pt x="32" y="19"/>
                    <a:pt x="30" y="10"/>
                    <a:pt x="28" y="8"/>
                  </a:cubicBezTo>
                  <a:cubicBezTo>
                    <a:pt x="23" y="2"/>
                    <a:pt x="16" y="9"/>
                    <a:pt x="21" y="15"/>
                  </a:cubicBezTo>
                  <a:cubicBezTo>
                    <a:pt x="19" y="15"/>
                    <a:pt x="7" y="0"/>
                    <a:pt x="7" y="1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393">
              <a:extLst>
                <a:ext uri="{FF2B5EF4-FFF2-40B4-BE49-F238E27FC236}">
                  <a16:creationId xmlns:a16="http://schemas.microsoft.com/office/drawing/2014/main" id="{E45611C1-B679-4D6D-B827-645122B81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2315" y="5460879"/>
              <a:ext cx="48940" cy="57838"/>
            </a:xfrm>
            <a:custGeom>
              <a:avLst/>
              <a:gdLst>
                <a:gd name="T0" fmla="*/ 4 w 22"/>
                <a:gd name="T1" fmla="*/ 1 h 26"/>
                <a:gd name="T2" fmla="*/ 0 w 22"/>
                <a:gd name="T3" fmla="*/ 16 h 26"/>
                <a:gd name="T4" fmla="*/ 7 w 22"/>
                <a:gd name="T5" fmla="*/ 19 h 26"/>
                <a:gd name="T6" fmla="*/ 16 w 22"/>
                <a:gd name="T7" fmla="*/ 23 h 26"/>
                <a:gd name="T8" fmla="*/ 22 w 22"/>
                <a:gd name="T9" fmla="*/ 9 h 26"/>
                <a:gd name="T10" fmla="*/ 4 w 22"/>
                <a:gd name="T1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4" y="1"/>
                  </a:moveTo>
                  <a:cubicBezTo>
                    <a:pt x="1" y="5"/>
                    <a:pt x="0" y="11"/>
                    <a:pt x="0" y="16"/>
                  </a:cubicBezTo>
                  <a:cubicBezTo>
                    <a:pt x="1" y="22"/>
                    <a:pt x="9" y="25"/>
                    <a:pt x="7" y="19"/>
                  </a:cubicBezTo>
                  <a:cubicBezTo>
                    <a:pt x="10" y="19"/>
                    <a:pt x="13" y="26"/>
                    <a:pt x="16" y="23"/>
                  </a:cubicBezTo>
                  <a:cubicBezTo>
                    <a:pt x="19" y="20"/>
                    <a:pt x="22" y="14"/>
                    <a:pt x="22" y="9"/>
                  </a:cubicBezTo>
                  <a:cubicBezTo>
                    <a:pt x="21" y="2"/>
                    <a:pt x="10" y="0"/>
                    <a:pt x="4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394">
              <a:extLst>
                <a:ext uri="{FF2B5EF4-FFF2-40B4-BE49-F238E27FC236}">
                  <a16:creationId xmlns:a16="http://schemas.microsoft.com/office/drawing/2014/main" id="{29124D28-4120-467D-91FC-A2AEC75A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2315" y="5460879"/>
              <a:ext cx="48940" cy="57838"/>
            </a:xfrm>
            <a:custGeom>
              <a:avLst/>
              <a:gdLst>
                <a:gd name="T0" fmla="*/ 4 w 22"/>
                <a:gd name="T1" fmla="*/ 1 h 26"/>
                <a:gd name="T2" fmla="*/ 0 w 22"/>
                <a:gd name="T3" fmla="*/ 16 h 26"/>
                <a:gd name="T4" fmla="*/ 7 w 22"/>
                <a:gd name="T5" fmla="*/ 19 h 26"/>
                <a:gd name="T6" fmla="*/ 16 w 22"/>
                <a:gd name="T7" fmla="*/ 23 h 26"/>
                <a:gd name="T8" fmla="*/ 22 w 22"/>
                <a:gd name="T9" fmla="*/ 9 h 26"/>
                <a:gd name="T10" fmla="*/ 4 w 22"/>
                <a:gd name="T1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4" y="1"/>
                  </a:moveTo>
                  <a:cubicBezTo>
                    <a:pt x="1" y="5"/>
                    <a:pt x="0" y="11"/>
                    <a:pt x="0" y="16"/>
                  </a:cubicBezTo>
                  <a:cubicBezTo>
                    <a:pt x="1" y="22"/>
                    <a:pt x="9" y="25"/>
                    <a:pt x="7" y="19"/>
                  </a:cubicBezTo>
                  <a:cubicBezTo>
                    <a:pt x="10" y="19"/>
                    <a:pt x="13" y="26"/>
                    <a:pt x="16" y="23"/>
                  </a:cubicBezTo>
                  <a:cubicBezTo>
                    <a:pt x="19" y="20"/>
                    <a:pt x="22" y="14"/>
                    <a:pt x="22" y="9"/>
                  </a:cubicBezTo>
                  <a:cubicBezTo>
                    <a:pt x="21" y="2"/>
                    <a:pt x="10" y="0"/>
                    <a:pt x="4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395">
              <a:extLst>
                <a:ext uri="{FF2B5EF4-FFF2-40B4-BE49-F238E27FC236}">
                  <a16:creationId xmlns:a16="http://schemas.microsoft.com/office/drawing/2014/main" id="{09E84873-8377-43E5-A047-ED5D70B10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560" y="4949233"/>
              <a:ext cx="31144" cy="48940"/>
            </a:xfrm>
            <a:custGeom>
              <a:avLst/>
              <a:gdLst>
                <a:gd name="T0" fmla="*/ 3 w 14"/>
                <a:gd name="T1" fmla="*/ 15 h 22"/>
                <a:gd name="T2" fmla="*/ 9 w 14"/>
                <a:gd name="T3" fmla="*/ 19 h 22"/>
                <a:gd name="T4" fmla="*/ 5 w 14"/>
                <a:gd name="T5" fmla="*/ 21 h 22"/>
                <a:gd name="T6" fmla="*/ 11 w 14"/>
                <a:gd name="T7" fmla="*/ 10 h 22"/>
                <a:gd name="T8" fmla="*/ 3 w 14"/>
                <a:gd name="T9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2">
                  <a:moveTo>
                    <a:pt x="3" y="15"/>
                  </a:moveTo>
                  <a:cubicBezTo>
                    <a:pt x="5" y="15"/>
                    <a:pt x="7" y="17"/>
                    <a:pt x="9" y="19"/>
                  </a:cubicBezTo>
                  <a:cubicBezTo>
                    <a:pt x="7" y="17"/>
                    <a:pt x="5" y="19"/>
                    <a:pt x="5" y="21"/>
                  </a:cubicBezTo>
                  <a:cubicBezTo>
                    <a:pt x="12" y="22"/>
                    <a:pt x="14" y="15"/>
                    <a:pt x="11" y="10"/>
                  </a:cubicBezTo>
                  <a:cubicBezTo>
                    <a:pt x="6" y="0"/>
                    <a:pt x="0" y="8"/>
                    <a:pt x="3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396">
              <a:extLst>
                <a:ext uri="{FF2B5EF4-FFF2-40B4-BE49-F238E27FC236}">
                  <a16:creationId xmlns:a16="http://schemas.microsoft.com/office/drawing/2014/main" id="{DE1BAEC7-321B-42FE-943A-98AF9957C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4560" y="4949233"/>
              <a:ext cx="31144" cy="48940"/>
            </a:xfrm>
            <a:custGeom>
              <a:avLst/>
              <a:gdLst>
                <a:gd name="T0" fmla="*/ 3 w 14"/>
                <a:gd name="T1" fmla="*/ 15 h 22"/>
                <a:gd name="T2" fmla="*/ 9 w 14"/>
                <a:gd name="T3" fmla="*/ 19 h 22"/>
                <a:gd name="T4" fmla="*/ 5 w 14"/>
                <a:gd name="T5" fmla="*/ 21 h 22"/>
                <a:gd name="T6" fmla="*/ 11 w 14"/>
                <a:gd name="T7" fmla="*/ 10 h 22"/>
                <a:gd name="T8" fmla="*/ 3 w 14"/>
                <a:gd name="T9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2">
                  <a:moveTo>
                    <a:pt x="3" y="15"/>
                  </a:moveTo>
                  <a:cubicBezTo>
                    <a:pt x="5" y="15"/>
                    <a:pt x="7" y="17"/>
                    <a:pt x="9" y="19"/>
                  </a:cubicBezTo>
                  <a:cubicBezTo>
                    <a:pt x="7" y="17"/>
                    <a:pt x="5" y="19"/>
                    <a:pt x="5" y="21"/>
                  </a:cubicBezTo>
                  <a:cubicBezTo>
                    <a:pt x="12" y="22"/>
                    <a:pt x="14" y="15"/>
                    <a:pt x="11" y="10"/>
                  </a:cubicBezTo>
                  <a:cubicBezTo>
                    <a:pt x="6" y="0"/>
                    <a:pt x="0" y="8"/>
                    <a:pt x="3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397">
              <a:extLst>
                <a:ext uri="{FF2B5EF4-FFF2-40B4-BE49-F238E27FC236}">
                  <a16:creationId xmlns:a16="http://schemas.microsoft.com/office/drawing/2014/main" id="{AD7C8136-A0AD-4DE7-9D8D-5A195BEDC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2649" y="5785663"/>
              <a:ext cx="97880" cy="31144"/>
            </a:xfrm>
            <a:custGeom>
              <a:avLst/>
              <a:gdLst>
                <a:gd name="T0" fmla="*/ 10 w 45"/>
                <a:gd name="T1" fmla="*/ 2 h 16"/>
                <a:gd name="T2" fmla="*/ 3 w 45"/>
                <a:gd name="T3" fmla="*/ 10 h 16"/>
                <a:gd name="T4" fmla="*/ 15 w 45"/>
                <a:gd name="T5" fmla="*/ 11 h 16"/>
                <a:gd name="T6" fmla="*/ 31 w 45"/>
                <a:gd name="T7" fmla="*/ 11 h 16"/>
                <a:gd name="T8" fmla="*/ 38 w 45"/>
                <a:gd name="T9" fmla="*/ 10 h 16"/>
                <a:gd name="T10" fmla="*/ 45 w 45"/>
                <a:gd name="T11" fmla="*/ 5 h 16"/>
                <a:gd name="T12" fmla="*/ 32 w 45"/>
                <a:gd name="T13" fmla="*/ 1 h 16"/>
                <a:gd name="T14" fmla="*/ 10 w 45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6">
                  <a:moveTo>
                    <a:pt x="10" y="2"/>
                  </a:moveTo>
                  <a:cubicBezTo>
                    <a:pt x="7" y="1"/>
                    <a:pt x="0" y="7"/>
                    <a:pt x="3" y="10"/>
                  </a:cubicBezTo>
                  <a:cubicBezTo>
                    <a:pt x="6" y="13"/>
                    <a:pt x="14" y="15"/>
                    <a:pt x="15" y="11"/>
                  </a:cubicBezTo>
                  <a:cubicBezTo>
                    <a:pt x="19" y="16"/>
                    <a:pt x="25" y="13"/>
                    <a:pt x="31" y="11"/>
                  </a:cubicBezTo>
                  <a:cubicBezTo>
                    <a:pt x="33" y="10"/>
                    <a:pt x="36" y="9"/>
                    <a:pt x="38" y="10"/>
                  </a:cubicBezTo>
                  <a:cubicBezTo>
                    <a:pt x="38" y="6"/>
                    <a:pt x="42" y="6"/>
                    <a:pt x="45" y="5"/>
                  </a:cubicBezTo>
                  <a:cubicBezTo>
                    <a:pt x="44" y="0"/>
                    <a:pt x="36" y="1"/>
                    <a:pt x="32" y="1"/>
                  </a:cubicBezTo>
                  <a:cubicBezTo>
                    <a:pt x="25" y="2"/>
                    <a:pt x="17" y="0"/>
                    <a:pt x="10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398">
              <a:extLst>
                <a:ext uri="{FF2B5EF4-FFF2-40B4-BE49-F238E27FC236}">
                  <a16:creationId xmlns:a16="http://schemas.microsoft.com/office/drawing/2014/main" id="{B6212381-8C84-4B2D-94AD-0A8088DE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2649" y="5785663"/>
              <a:ext cx="97880" cy="31144"/>
            </a:xfrm>
            <a:custGeom>
              <a:avLst/>
              <a:gdLst>
                <a:gd name="T0" fmla="*/ 10 w 45"/>
                <a:gd name="T1" fmla="*/ 2 h 16"/>
                <a:gd name="T2" fmla="*/ 3 w 45"/>
                <a:gd name="T3" fmla="*/ 10 h 16"/>
                <a:gd name="T4" fmla="*/ 15 w 45"/>
                <a:gd name="T5" fmla="*/ 11 h 16"/>
                <a:gd name="T6" fmla="*/ 31 w 45"/>
                <a:gd name="T7" fmla="*/ 11 h 16"/>
                <a:gd name="T8" fmla="*/ 38 w 45"/>
                <a:gd name="T9" fmla="*/ 10 h 16"/>
                <a:gd name="T10" fmla="*/ 45 w 45"/>
                <a:gd name="T11" fmla="*/ 5 h 16"/>
                <a:gd name="T12" fmla="*/ 32 w 45"/>
                <a:gd name="T13" fmla="*/ 1 h 16"/>
                <a:gd name="T14" fmla="*/ 10 w 45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6">
                  <a:moveTo>
                    <a:pt x="10" y="2"/>
                  </a:moveTo>
                  <a:cubicBezTo>
                    <a:pt x="7" y="1"/>
                    <a:pt x="0" y="7"/>
                    <a:pt x="3" y="10"/>
                  </a:cubicBezTo>
                  <a:cubicBezTo>
                    <a:pt x="6" y="13"/>
                    <a:pt x="14" y="15"/>
                    <a:pt x="15" y="11"/>
                  </a:cubicBezTo>
                  <a:cubicBezTo>
                    <a:pt x="19" y="16"/>
                    <a:pt x="25" y="13"/>
                    <a:pt x="31" y="11"/>
                  </a:cubicBezTo>
                  <a:cubicBezTo>
                    <a:pt x="33" y="10"/>
                    <a:pt x="36" y="9"/>
                    <a:pt x="38" y="10"/>
                  </a:cubicBezTo>
                  <a:cubicBezTo>
                    <a:pt x="38" y="6"/>
                    <a:pt x="42" y="6"/>
                    <a:pt x="45" y="5"/>
                  </a:cubicBezTo>
                  <a:cubicBezTo>
                    <a:pt x="44" y="0"/>
                    <a:pt x="36" y="1"/>
                    <a:pt x="32" y="1"/>
                  </a:cubicBezTo>
                  <a:cubicBezTo>
                    <a:pt x="25" y="2"/>
                    <a:pt x="17" y="0"/>
                    <a:pt x="10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399">
              <a:extLst>
                <a:ext uri="{FF2B5EF4-FFF2-40B4-BE49-F238E27FC236}">
                  <a16:creationId xmlns:a16="http://schemas.microsoft.com/office/drawing/2014/main" id="{28173438-362F-46E9-8401-6F9DD9CF1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3877" y="5874645"/>
              <a:ext cx="93431" cy="62287"/>
            </a:xfrm>
            <a:custGeom>
              <a:avLst/>
              <a:gdLst>
                <a:gd name="T0" fmla="*/ 3 w 44"/>
                <a:gd name="T1" fmla="*/ 2 h 30"/>
                <a:gd name="T2" fmla="*/ 14 w 44"/>
                <a:gd name="T3" fmla="*/ 15 h 30"/>
                <a:gd name="T4" fmla="*/ 22 w 44"/>
                <a:gd name="T5" fmla="*/ 21 h 30"/>
                <a:gd name="T6" fmla="*/ 20 w 44"/>
                <a:gd name="T7" fmla="*/ 28 h 30"/>
                <a:gd name="T8" fmla="*/ 30 w 44"/>
                <a:gd name="T9" fmla="*/ 20 h 30"/>
                <a:gd name="T10" fmla="*/ 39 w 44"/>
                <a:gd name="T11" fmla="*/ 9 h 30"/>
                <a:gd name="T12" fmla="*/ 23 w 44"/>
                <a:gd name="T13" fmla="*/ 3 h 30"/>
                <a:gd name="T14" fmla="*/ 3 w 44"/>
                <a:gd name="T15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3" y="2"/>
                  </a:moveTo>
                  <a:cubicBezTo>
                    <a:pt x="0" y="9"/>
                    <a:pt x="9" y="13"/>
                    <a:pt x="14" y="15"/>
                  </a:cubicBezTo>
                  <a:cubicBezTo>
                    <a:pt x="17" y="17"/>
                    <a:pt x="19" y="18"/>
                    <a:pt x="22" y="21"/>
                  </a:cubicBezTo>
                  <a:cubicBezTo>
                    <a:pt x="25" y="26"/>
                    <a:pt x="21" y="25"/>
                    <a:pt x="20" y="28"/>
                  </a:cubicBezTo>
                  <a:cubicBezTo>
                    <a:pt x="20" y="30"/>
                    <a:pt x="30" y="20"/>
                    <a:pt x="30" y="20"/>
                  </a:cubicBezTo>
                  <a:cubicBezTo>
                    <a:pt x="34" y="18"/>
                    <a:pt x="44" y="14"/>
                    <a:pt x="39" y="9"/>
                  </a:cubicBezTo>
                  <a:cubicBezTo>
                    <a:pt x="35" y="5"/>
                    <a:pt x="28" y="0"/>
                    <a:pt x="23" y="3"/>
                  </a:cubicBezTo>
                  <a:cubicBezTo>
                    <a:pt x="17" y="6"/>
                    <a:pt x="9" y="7"/>
                    <a:pt x="3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400">
              <a:extLst>
                <a:ext uri="{FF2B5EF4-FFF2-40B4-BE49-F238E27FC236}">
                  <a16:creationId xmlns:a16="http://schemas.microsoft.com/office/drawing/2014/main" id="{AFA0DA07-23BA-48D7-8A51-F511C8C29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3877" y="5874645"/>
              <a:ext cx="93431" cy="62287"/>
            </a:xfrm>
            <a:custGeom>
              <a:avLst/>
              <a:gdLst>
                <a:gd name="T0" fmla="*/ 3 w 44"/>
                <a:gd name="T1" fmla="*/ 2 h 30"/>
                <a:gd name="T2" fmla="*/ 14 w 44"/>
                <a:gd name="T3" fmla="*/ 15 h 30"/>
                <a:gd name="T4" fmla="*/ 22 w 44"/>
                <a:gd name="T5" fmla="*/ 21 h 30"/>
                <a:gd name="T6" fmla="*/ 20 w 44"/>
                <a:gd name="T7" fmla="*/ 28 h 30"/>
                <a:gd name="T8" fmla="*/ 30 w 44"/>
                <a:gd name="T9" fmla="*/ 20 h 30"/>
                <a:gd name="T10" fmla="*/ 39 w 44"/>
                <a:gd name="T11" fmla="*/ 9 h 30"/>
                <a:gd name="T12" fmla="*/ 23 w 44"/>
                <a:gd name="T13" fmla="*/ 3 h 30"/>
                <a:gd name="T14" fmla="*/ 3 w 44"/>
                <a:gd name="T15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3" y="2"/>
                  </a:moveTo>
                  <a:cubicBezTo>
                    <a:pt x="0" y="9"/>
                    <a:pt x="9" y="13"/>
                    <a:pt x="14" y="15"/>
                  </a:cubicBezTo>
                  <a:cubicBezTo>
                    <a:pt x="17" y="17"/>
                    <a:pt x="19" y="18"/>
                    <a:pt x="22" y="21"/>
                  </a:cubicBezTo>
                  <a:cubicBezTo>
                    <a:pt x="25" y="26"/>
                    <a:pt x="21" y="25"/>
                    <a:pt x="20" y="28"/>
                  </a:cubicBezTo>
                  <a:cubicBezTo>
                    <a:pt x="20" y="30"/>
                    <a:pt x="30" y="20"/>
                    <a:pt x="30" y="20"/>
                  </a:cubicBezTo>
                  <a:cubicBezTo>
                    <a:pt x="34" y="18"/>
                    <a:pt x="44" y="14"/>
                    <a:pt x="39" y="9"/>
                  </a:cubicBezTo>
                  <a:cubicBezTo>
                    <a:pt x="35" y="5"/>
                    <a:pt x="28" y="0"/>
                    <a:pt x="23" y="3"/>
                  </a:cubicBezTo>
                  <a:cubicBezTo>
                    <a:pt x="17" y="6"/>
                    <a:pt x="9" y="7"/>
                    <a:pt x="3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401">
              <a:extLst>
                <a:ext uri="{FF2B5EF4-FFF2-40B4-BE49-F238E27FC236}">
                  <a16:creationId xmlns:a16="http://schemas.microsoft.com/office/drawing/2014/main" id="{2BA4DD05-8ADA-4180-98B5-D7CECB782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859" y="5883543"/>
              <a:ext cx="71186" cy="57838"/>
            </a:xfrm>
            <a:custGeom>
              <a:avLst/>
              <a:gdLst>
                <a:gd name="T0" fmla="*/ 20 w 33"/>
                <a:gd name="T1" fmla="*/ 2 h 26"/>
                <a:gd name="T2" fmla="*/ 11 w 33"/>
                <a:gd name="T3" fmla="*/ 13 h 26"/>
                <a:gd name="T4" fmla="*/ 5 w 33"/>
                <a:gd name="T5" fmla="*/ 20 h 26"/>
                <a:gd name="T6" fmla="*/ 24 w 33"/>
                <a:gd name="T7" fmla="*/ 26 h 26"/>
                <a:gd name="T8" fmla="*/ 30 w 33"/>
                <a:gd name="T9" fmla="*/ 10 h 26"/>
                <a:gd name="T10" fmla="*/ 20 w 33"/>
                <a:gd name="T11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6">
                  <a:moveTo>
                    <a:pt x="20" y="2"/>
                  </a:moveTo>
                  <a:cubicBezTo>
                    <a:pt x="16" y="4"/>
                    <a:pt x="10" y="8"/>
                    <a:pt x="11" y="13"/>
                  </a:cubicBezTo>
                  <a:cubicBezTo>
                    <a:pt x="11" y="17"/>
                    <a:pt x="10" y="24"/>
                    <a:pt x="5" y="20"/>
                  </a:cubicBezTo>
                  <a:cubicBezTo>
                    <a:pt x="0" y="26"/>
                    <a:pt x="23" y="24"/>
                    <a:pt x="24" y="26"/>
                  </a:cubicBezTo>
                  <a:cubicBezTo>
                    <a:pt x="22" y="21"/>
                    <a:pt x="28" y="13"/>
                    <a:pt x="30" y="10"/>
                  </a:cubicBezTo>
                  <a:cubicBezTo>
                    <a:pt x="33" y="5"/>
                    <a:pt x="24" y="0"/>
                    <a:pt x="20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402">
              <a:extLst>
                <a:ext uri="{FF2B5EF4-FFF2-40B4-BE49-F238E27FC236}">
                  <a16:creationId xmlns:a16="http://schemas.microsoft.com/office/drawing/2014/main" id="{9BAFE2FD-8BF2-404E-8891-2988C5E59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859" y="5883543"/>
              <a:ext cx="71186" cy="57838"/>
            </a:xfrm>
            <a:custGeom>
              <a:avLst/>
              <a:gdLst>
                <a:gd name="T0" fmla="*/ 20 w 33"/>
                <a:gd name="T1" fmla="*/ 2 h 26"/>
                <a:gd name="T2" fmla="*/ 11 w 33"/>
                <a:gd name="T3" fmla="*/ 13 h 26"/>
                <a:gd name="T4" fmla="*/ 5 w 33"/>
                <a:gd name="T5" fmla="*/ 20 h 26"/>
                <a:gd name="T6" fmla="*/ 24 w 33"/>
                <a:gd name="T7" fmla="*/ 26 h 26"/>
                <a:gd name="T8" fmla="*/ 30 w 33"/>
                <a:gd name="T9" fmla="*/ 10 h 26"/>
                <a:gd name="T10" fmla="*/ 20 w 33"/>
                <a:gd name="T11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6">
                  <a:moveTo>
                    <a:pt x="20" y="2"/>
                  </a:moveTo>
                  <a:cubicBezTo>
                    <a:pt x="16" y="4"/>
                    <a:pt x="10" y="8"/>
                    <a:pt x="11" y="13"/>
                  </a:cubicBezTo>
                  <a:cubicBezTo>
                    <a:pt x="11" y="17"/>
                    <a:pt x="10" y="24"/>
                    <a:pt x="5" y="20"/>
                  </a:cubicBezTo>
                  <a:cubicBezTo>
                    <a:pt x="0" y="26"/>
                    <a:pt x="23" y="24"/>
                    <a:pt x="24" y="26"/>
                  </a:cubicBezTo>
                  <a:cubicBezTo>
                    <a:pt x="22" y="21"/>
                    <a:pt x="28" y="13"/>
                    <a:pt x="30" y="10"/>
                  </a:cubicBezTo>
                  <a:cubicBezTo>
                    <a:pt x="33" y="5"/>
                    <a:pt x="24" y="0"/>
                    <a:pt x="20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403">
              <a:extLst>
                <a:ext uri="{FF2B5EF4-FFF2-40B4-BE49-F238E27FC236}">
                  <a16:creationId xmlns:a16="http://schemas.microsoft.com/office/drawing/2014/main" id="{6BAB6FE2-CAF0-490B-9DB7-D4BF6DD8E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4002" y="5509819"/>
              <a:ext cx="26695" cy="62287"/>
            </a:xfrm>
            <a:custGeom>
              <a:avLst/>
              <a:gdLst>
                <a:gd name="T0" fmla="*/ 10 w 11"/>
                <a:gd name="T1" fmla="*/ 4 h 30"/>
                <a:gd name="T2" fmla="*/ 5 w 11"/>
                <a:gd name="T3" fmla="*/ 30 h 30"/>
                <a:gd name="T4" fmla="*/ 11 w 11"/>
                <a:gd name="T5" fmla="*/ 20 h 30"/>
                <a:gd name="T6" fmla="*/ 10 w 11"/>
                <a:gd name="T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30">
                  <a:moveTo>
                    <a:pt x="10" y="4"/>
                  </a:moveTo>
                  <a:cubicBezTo>
                    <a:pt x="0" y="0"/>
                    <a:pt x="3" y="26"/>
                    <a:pt x="5" y="30"/>
                  </a:cubicBezTo>
                  <a:cubicBezTo>
                    <a:pt x="8" y="25"/>
                    <a:pt x="11" y="26"/>
                    <a:pt x="11" y="20"/>
                  </a:cubicBezTo>
                  <a:cubicBezTo>
                    <a:pt x="10" y="15"/>
                    <a:pt x="8" y="9"/>
                    <a:pt x="10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404">
              <a:extLst>
                <a:ext uri="{FF2B5EF4-FFF2-40B4-BE49-F238E27FC236}">
                  <a16:creationId xmlns:a16="http://schemas.microsoft.com/office/drawing/2014/main" id="{5D512566-8CB8-4CF0-A733-3A35B49BA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4002" y="5509819"/>
              <a:ext cx="26695" cy="62287"/>
            </a:xfrm>
            <a:custGeom>
              <a:avLst/>
              <a:gdLst>
                <a:gd name="T0" fmla="*/ 10 w 11"/>
                <a:gd name="T1" fmla="*/ 4 h 30"/>
                <a:gd name="T2" fmla="*/ 5 w 11"/>
                <a:gd name="T3" fmla="*/ 30 h 30"/>
                <a:gd name="T4" fmla="*/ 11 w 11"/>
                <a:gd name="T5" fmla="*/ 20 h 30"/>
                <a:gd name="T6" fmla="*/ 10 w 11"/>
                <a:gd name="T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30">
                  <a:moveTo>
                    <a:pt x="10" y="4"/>
                  </a:moveTo>
                  <a:cubicBezTo>
                    <a:pt x="0" y="0"/>
                    <a:pt x="3" y="26"/>
                    <a:pt x="5" y="30"/>
                  </a:cubicBezTo>
                  <a:cubicBezTo>
                    <a:pt x="8" y="25"/>
                    <a:pt x="11" y="26"/>
                    <a:pt x="11" y="20"/>
                  </a:cubicBezTo>
                  <a:cubicBezTo>
                    <a:pt x="10" y="15"/>
                    <a:pt x="8" y="9"/>
                    <a:pt x="10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405">
              <a:extLst>
                <a:ext uri="{FF2B5EF4-FFF2-40B4-BE49-F238E27FC236}">
                  <a16:creationId xmlns:a16="http://schemas.microsoft.com/office/drawing/2014/main" id="{2813A285-189E-4325-BF6E-BC9600643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0697" y="5874645"/>
              <a:ext cx="169066" cy="80084"/>
            </a:xfrm>
            <a:custGeom>
              <a:avLst/>
              <a:gdLst>
                <a:gd name="T0" fmla="*/ 38 w 78"/>
                <a:gd name="T1" fmla="*/ 30 h 37"/>
                <a:gd name="T2" fmla="*/ 54 w 78"/>
                <a:gd name="T3" fmla="*/ 19 h 37"/>
                <a:gd name="T4" fmla="*/ 54 w 78"/>
                <a:gd name="T5" fmla="*/ 27 h 37"/>
                <a:gd name="T6" fmla="*/ 61 w 78"/>
                <a:gd name="T7" fmla="*/ 27 h 37"/>
                <a:gd name="T8" fmla="*/ 69 w 78"/>
                <a:gd name="T9" fmla="*/ 28 h 37"/>
                <a:gd name="T10" fmla="*/ 63 w 78"/>
                <a:gd name="T11" fmla="*/ 24 h 37"/>
                <a:gd name="T12" fmla="*/ 78 w 78"/>
                <a:gd name="T13" fmla="*/ 18 h 37"/>
                <a:gd name="T14" fmla="*/ 72 w 78"/>
                <a:gd name="T15" fmla="*/ 11 h 37"/>
                <a:gd name="T16" fmla="*/ 63 w 78"/>
                <a:gd name="T17" fmla="*/ 15 h 37"/>
                <a:gd name="T18" fmla="*/ 54 w 78"/>
                <a:gd name="T19" fmla="*/ 9 h 37"/>
                <a:gd name="T20" fmla="*/ 46 w 78"/>
                <a:gd name="T21" fmla="*/ 3 h 37"/>
                <a:gd name="T22" fmla="*/ 35 w 78"/>
                <a:gd name="T23" fmla="*/ 7 h 37"/>
                <a:gd name="T24" fmla="*/ 50 w 78"/>
                <a:gd name="T25" fmla="*/ 19 h 37"/>
                <a:gd name="T26" fmla="*/ 40 w 78"/>
                <a:gd name="T27" fmla="*/ 23 h 37"/>
                <a:gd name="T28" fmla="*/ 32 w 78"/>
                <a:gd name="T29" fmla="*/ 16 h 37"/>
                <a:gd name="T30" fmla="*/ 6 w 78"/>
                <a:gd name="T31" fmla="*/ 18 h 37"/>
                <a:gd name="T32" fmla="*/ 4 w 78"/>
                <a:gd name="T33" fmla="*/ 28 h 37"/>
                <a:gd name="T34" fmla="*/ 9 w 78"/>
                <a:gd name="T35" fmla="*/ 36 h 37"/>
                <a:gd name="T36" fmla="*/ 15 w 78"/>
                <a:gd name="T37" fmla="*/ 35 h 37"/>
                <a:gd name="T38" fmla="*/ 22 w 78"/>
                <a:gd name="T39" fmla="*/ 34 h 37"/>
                <a:gd name="T40" fmla="*/ 38 w 78"/>
                <a:gd name="T41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37">
                  <a:moveTo>
                    <a:pt x="38" y="30"/>
                  </a:moveTo>
                  <a:cubicBezTo>
                    <a:pt x="44" y="27"/>
                    <a:pt x="50" y="26"/>
                    <a:pt x="54" y="19"/>
                  </a:cubicBezTo>
                  <a:cubicBezTo>
                    <a:pt x="55" y="21"/>
                    <a:pt x="52" y="26"/>
                    <a:pt x="54" y="27"/>
                  </a:cubicBezTo>
                  <a:cubicBezTo>
                    <a:pt x="57" y="28"/>
                    <a:pt x="58" y="28"/>
                    <a:pt x="61" y="27"/>
                  </a:cubicBezTo>
                  <a:cubicBezTo>
                    <a:pt x="64" y="25"/>
                    <a:pt x="66" y="27"/>
                    <a:pt x="69" y="28"/>
                  </a:cubicBezTo>
                  <a:cubicBezTo>
                    <a:pt x="67" y="26"/>
                    <a:pt x="65" y="25"/>
                    <a:pt x="63" y="24"/>
                  </a:cubicBezTo>
                  <a:cubicBezTo>
                    <a:pt x="68" y="21"/>
                    <a:pt x="76" y="27"/>
                    <a:pt x="78" y="18"/>
                  </a:cubicBezTo>
                  <a:cubicBezTo>
                    <a:pt x="73" y="25"/>
                    <a:pt x="73" y="13"/>
                    <a:pt x="72" y="11"/>
                  </a:cubicBezTo>
                  <a:cubicBezTo>
                    <a:pt x="69" y="5"/>
                    <a:pt x="63" y="11"/>
                    <a:pt x="63" y="15"/>
                  </a:cubicBezTo>
                  <a:cubicBezTo>
                    <a:pt x="63" y="11"/>
                    <a:pt x="59" y="3"/>
                    <a:pt x="54" y="9"/>
                  </a:cubicBezTo>
                  <a:cubicBezTo>
                    <a:pt x="51" y="13"/>
                    <a:pt x="47" y="5"/>
                    <a:pt x="46" y="3"/>
                  </a:cubicBezTo>
                  <a:cubicBezTo>
                    <a:pt x="43" y="0"/>
                    <a:pt x="31" y="2"/>
                    <a:pt x="35" y="7"/>
                  </a:cubicBezTo>
                  <a:cubicBezTo>
                    <a:pt x="39" y="14"/>
                    <a:pt x="44" y="15"/>
                    <a:pt x="50" y="19"/>
                  </a:cubicBezTo>
                  <a:cubicBezTo>
                    <a:pt x="48" y="21"/>
                    <a:pt x="43" y="23"/>
                    <a:pt x="40" y="23"/>
                  </a:cubicBezTo>
                  <a:cubicBezTo>
                    <a:pt x="35" y="24"/>
                    <a:pt x="34" y="20"/>
                    <a:pt x="32" y="16"/>
                  </a:cubicBezTo>
                  <a:cubicBezTo>
                    <a:pt x="27" y="9"/>
                    <a:pt x="11" y="12"/>
                    <a:pt x="6" y="18"/>
                  </a:cubicBezTo>
                  <a:cubicBezTo>
                    <a:pt x="3" y="20"/>
                    <a:pt x="6" y="25"/>
                    <a:pt x="4" y="28"/>
                  </a:cubicBezTo>
                  <a:cubicBezTo>
                    <a:pt x="0" y="32"/>
                    <a:pt x="6" y="35"/>
                    <a:pt x="9" y="36"/>
                  </a:cubicBezTo>
                  <a:cubicBezTo>
                    <a:pt x="11" y="36"/>
                    <a:pt x="13" y="37"/>
                    <a:pt x="15" y="35"/>
                  </a:cubicBezTo>
                  <a:cubicBezTo>
                    <a:pt x="18" y="33"/>
                    <a:pt x="18" y="34"/>
                    <a:pt x="22" y="34"/>
                  </a:cubicBezTo>
                  <a:cubicBezTo>
                    <a:pt x="27" y="34"/>
                    <a:pt x="32" y="28"/>
                    <a:pt x="38" y="3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406">
              <a:extLst>
                <a:ext uri="{FF2B5EF4-FFF2-40B4-BE49-F238E27FC236}">
                  <a16:creationId xmlns:a16="http://schemas.microsoft.com/office/drawing/2014/main" id="{AEEC4A3F-84F1-4FF2-9027-09B82570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0697" y="5874645"/>
              <a:ext cx="169066" cy="80084"/>
            </a:xfrm>
            <a:custGeom>
              <a:avLst/>
              <a:gdLst>
                <a:gd name="T0" fmla="*/ 38 w 78"/>
                <a:gd name="T1" fmla="*/ 30 h 37"/>
                <a:gd name="T2" fmla="*/ 54 w 78"/>
                <a:gd name="T3" fmla="*/ 19 h 37"/>
                <a:gd name="T4" fmla="*/ 54 w 78"/>
                <a:gd name="T5" fmla="*/ 27 h 37"/>
                <a:gd name="T6" fmla="*/ 61 w 78"/>
                <a:gd name="T7" fmla="*/ 27 h 37"/>
                <a:gd name="T8" fmla="*/ 69 w 78"/>
                <a:gd name="T9" fmla="*/ 28 h 37"/>
                <a:gd name="T10" fmla="*/ 63 w 78"/>
                <a:gd name="T11" fmla="*/ 24 h 37"/>
                <a:gd name="T12" fmla="*/ 78 w 78"/>
                <a:gd name="T13" fmla="*/ 18 h 37"/>
                <a:gd name="T14" fmla="*/ 72 w 78"/>
                <a:gd name="T15" fmla="*/ 11 h 37"/>
                <a:gd name="T16" fmla="*/ 63 w 78"/>
                <a:gd name="T17" fmla="*/ 15 h 37"/>
                <a:gd name="T18" fmla="*/ 54 w 78"/>
                <a:gd name="T19" fmla="*/ 9 h 37"/>
                <a:gd name="T20" fmla="*/ 46 w 78"/>
                <a:gd name="T21" fmla="*/ 3 h 37"/>
                <a:gd name="T22" fmla="*/ 35 w 78"/>
                <a:gd name="T23" fmla="*/ 7 h 37"/>
                <a:gd name="T24" fmla="*/ 50 w 78"/>
                <a:gd name="T25" fmla="*/ 19 h 37"/>
                <a:gd name="T26" fmla="*/ 40 w 78"/>
                <a:gd name="T27" fmla="*/ 23 h 37"/>
                <a:gd name="T28" fmla="*/ 32 w 78"/>
                <a:gd name="T29" fmla="*/ 16 h 37"/>
                <a:gd name="T30" fmla="*/ 6 w 78"/>
                <a:gd name="T31" fmla="*/ 18 h 37"/>
                <a:gd name="T32" fmla="*/ 4 w 78"/>
                <a:gd name="T33" fmla="*/ 28 h 37"/>
                <a:gd name="T34" fmla="*/ 9 w 78"/>
                <a:gd name="T35" fmla="*/ 36 h 37"/>
                <a:gd name="T36" fmla="*/ 15 w 78"/>
                <a:gd name="T37" fmla="*/ 35 h 37"/>
                <a:gd name="T38" fmla="*/ 22 w 78"/>
                <a:gd name="T39" fmla="*/ 34 h 37"/>
                <a:gd name="T40" fmla="*/ 38 w 78"/>
                <a:gd name="T41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37">
                  <a:moveTo>
                    <a:pt x="38" y="30"/>
                  </a:moveTo>
                  <a:cubicBezTo>
                    <a:pt x="44" y="27"/>
                    <a:pt x="50" y="26"/>
                    <a:pt x="54" y="19"/>
                  </a:cubicBezTo>
                  <a:cubicBezTo>
                    <a:pt x="55" y="21"/>
                    <a:pt x="52" y="26"/>
                    <a:pt x="54" y="27"/>
                  </a:cubicBezTo>
                  <a:cubicBezTo>
                    <a:pt x="57" y="28"/>
                    <a:pt x="58" y="28"/>
                    <a:pt x="61" y="27"/>
                  </a:cubicBezTo>
                  <a:cubicBezTo>
                    <a:pt x="64" y="25"/>
                    <a:pt x="66" y="27"/>
                    <a:pt x="69" y="28"/>
                  </a:cubicBezTo>
                  <a:cubicBezTo>
                    <a:pt x="67" y="26"/>
                    <a:pt x="65" y="25"/>
                    <a:pt x="63" y="24"/>
                  </a:cubicBezTo>
                  <a:cubicBezTo>
                    <a:pt x="68" y="21"/>
                    <a:pt x="76" y="27"/>
                    <a:pt x="78" y="18"/>
                  </a:cubicBezTo>
                  <a:cubicBezTo>
                    <a:pt x="73" y="25"/>
                    <a:pt x="73" y="13"/>
                    <a:pt x="72" y="11"/>
                  </a:cubicBezTo>
                  <a:cubicBezTo>
                    <a:pt x="69" y="5"/>
                    <a:pt x="63" y="11"/>
                    <a:pt x="63" y="15"/>
                  </a:cubicBezTo>
                  <a:cubicBezTo>
                    <a:pt x="63" y="11"/>
                    <a:pt x="59" y="3"/>
                    <a:pt x="54" y="9"/>
                  </a:cubicBezTo>
                  <a:cubicBezTo>
                    <a:pt x="51" y="13"/>
                    <a:pt x="47" y="5"/>
                    <a:pt x="46" y="3"/>
                  </a:cubicBezTo>
                  <a:cubicBezTo>
                    <a:pt x="43" y="0"/>
                    <a:pt x="31" y="2"/>
                    <a:pt x="35" y="7"/>
                  </a:cubicBezTo>
                  <a:cubicBezTo>
                    <a:pt x="39" y="14"/>
                    <a:pt x="44" y="15"/>
                    <a:pt x="50" y="19"/>
                  </a:cubicBezTo>
                  <a:cubicBezTo>
                    <a:pt x="48" y="21"/>
                    <a:pt x="43" y="23"/>
                    <a:pt x="40" y="23"/>
                  </a:cubicBezTo>
                  <a:cubicBezTo>
                    <a:pt x="35" y="24"/>
                    <a:pt x="34" y="20"/>
                    <a:pt x="32" y="16"/>
                  </a:cubicBezTo>
                  <a:cubicBezTo>
                    <a:pt x="27" y="9"/>
                    <a:pt x="11" y="12"/>
                    <a:pt x="6" y="18"/>
                  </a:cubicBezTo>
                  <a:cubicBezTo>
                    <a:pt x="3" y="20"/>
                    <a:pt x="6" y="25"/>
                    <a:pt x="4" y="28"/>
                  </a:cubicBezTo>
                  <a:cubicBezTo>
                    <a:pt x="0" y="32"/>
                    <a:pt x="6" y="35"/>
                    <a:pt x="9" y="36"/>
                  </a:cubicBezTo>
                  <a:cubicBezTo>
                    <a:pt x="11" y="36"/>
                    <a:pt x="13" y="37"/>
                    <a:pt x="15" y="35"/>
                  </a:cubicBezTo>
                  <a:cubicBezTo>
                    <a:pt x="18" y="33"/>
                    <a:pt x="18" y="34"/>
                    <a:pt x="22" y="34"/>
                  </a:cubicBezTo>
                  <a:cubicBezTo>
                    <a:pt x="27" y="34"/>
                    <a:pt x="32" y="28"/>
                    <a:pt x="38" y="3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407">
              <a:extLst>
                <a:ext uri="{FF2B5EF4-FFF2-40B4-BE49-F238E27FC236}">
                  <a16:creationId xmlns:a16="http://schemas.microsoft.com/office/drawing/2014/main" id="{B0B9FA02-3ADF-417E-BFFE-E5DE8C9AA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7517" y="5968076"/>
              <a:ext cx="137922" cy="88982"/>
            </a:xfrm>
            <a:custGeom>
              <a:avLst/>
              <a:gdLst>
                <a:gd name="T0" fmla="*/ 0 w 62"/>
                <a:gd name="T1" fmla="*/ 8 h 40"/>
                <a:gd name="T2" fmla="*/ 16 w 62"/>
                <a:gd name="T3" fmla="*/ 16 h 40"/>
                <a:gd name="T4" fmla="*/ 34 w 62"/>
                <a:gd name="T5" fmla="*/ 29 h 40"/>
                <a:gd name="T6" fmla="*/ 52 w 62"/>
                <a:gd name="T7" fmla="*/ 19 h 40"/>
                <a:gd name="T8" fmla="*/ 42 w 62"/>
                <a:gd name="T9" fmla="*/ 12 h 40"/>
                <a:gd name="T10" fmla="*/ 33 w 62"/>
                <a:gd name="T11" fmla="*/ 2 h 40"/>
                <a:gd name="T12" fmla="*/ 19 w 62"/>
                <a:gd name="T13" fmla="*/ 2 h 40"/>
                <a:gd name="T14" fmla="*/ 0 w 62"/>
                <a:gd name="T1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40">
                  <a:moveTo>
                    <a:pt x="0" y="8"/>
                  </a:moveTo>
                  <a:cubicBezTo>
                    <a:pt x="3" y="16"/>
                    <a:pt x="9" y="15"/>
                    <a:pt x="16" y="16"/>
                  </a:cubicBezTo>
                  <a:cubicBezTo>
                    <a:pt x="23" y="17"/>
                    <a:pt x="29" y="24"/>
                    <a:pt x="34" y="29"/>
                  </a:cubicBezTo>
                  <a:cubicBezTo>
                    <a:pt x="43" y="40"/>
                    <a:pt x="62" y="30"/>
                    <a:pt x="52" y="19"/>
                  </a:cubicBezTo>
                  <a:cubicBezTo>
                    <a:pt x="49" y="15"/>
                    <a:pt x="46" y="12"/>
                    <a:pt x="42" y="12"/>
                  </a:cubicBezTo>
                  <a:cubicBezTo>
                    <a:pt x="42" y="12"/>
                    <a:pt x="34" y="3"/>
                    <a:pt x="33" y="2"/>
                  </a:cubicBezTo>
                  <a:cubicBezTo>
                    <a:pt x="32" y="2"/>
                    <a:pt x="20" y="2"/>
                    <a:pt x="19" y="2"/>
                  </a:cubicBezTo>
                  <a:cubicBezTo>
                    <a:pt x="13" y="6"/>
                    <a:pt x="5" y="0"/>
                    <a:pt x="0" y="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408">
              <a:extLst>
                <a:ext uri="{FF2B5EF4-FFF2-40B4-BE49-F238E27FC236}">
                  <a16:creationId xmlns:a16="http://schemas.microsoft.com/office/drawing/2014/main" id="{F751E960-C358-4C18-B6BD-14B14297D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7517" y="5968076"/>
              <a:ext cx="137922" cy="88982"/>
            </a:xfrm>
            <a:custGeom>
              <a:avLst/>
              <a:gdLst>
                <a:gd name="T0" fmla="*/ 0 w 62"/>
                <a:gd name="T1" fmla="*/ 8 h 40"/>
                <a:gd name="T2" fmla="*/ 16 w 62"/>
                <a:gd name="T3" fmla="*/ 16 h 40"/>
                <a:gd name="T4" fmla="*/ 34 w 62"/>
                <a:gd name="T5" fmla="*/ 29 h 40"/>
                <a:gd name="T6" fmla="*/ 52 w 62"/>
                <a:gd name="T7" fmla="*/ 19 h 40"/>
                <a:gd name="T8" fmla="*/ 42 w 62"/>
                <a:gd name="T9" fmla="*/ 12 h 40"/>
                <a:gd name="T10" fmla="*/ 33 w 62"/>
                <a:gd name="T11" fmla="*/ 2 h 40"/>
                <a:gd name="T12" fmla="*/ 19 w 62"/>
                <a:gd name="T13" fmla="*/ 2 h 40"/>
                <a:gd name="T14" fmla="*/ 0 w 62"/>
                <a:gd name="T1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40">
                  <a:moveTo>
                    <a:pt x="0" y="8"/>
                  </a:moveTo>
                  <a:cubicBezTo>
                    <a:pt x="3" y="16"/>
                    <a:pt x="9" y="15"/>
                    <a:pt x="16" y="16"/>
                  </a:cubicBezTo>
                  <a:cubicBezTo>
                    <a:pt x="23" y="17"/>
                    <a:pt x="29" y="24"/>
                    <a:pt x="34" y="29"/>
                  </a:cubicBezTo>
                  <a:cubicBezTo>
                    <a:pt x="43" y="40"/>
                    <a:pt x="62" y="30"/>
                    <a:pt x="52" y="19"/>
                  </a:cubicBezTo>
                  <a:cubicBezTo>
                    <a:pt x="49" y="15"/>
                    <a:pt x="46" y="12"/>
                    <a:pt x="42" y="12"/>
                  </a:cubicBezTo>
                  <a:cubicBezTo>
                    <a:pt x="42" y="12"/>
                    <a:pt x="34" y="3"/>
                    <a:pt x="33" y="2"/>
                  </a:cubicBezTo>
                  <a:cubicBezTo>
                    <a:pt x="32" y="2"/>
                    <a:pt x="20" y="2"/>
                    <a:pt x="19" y="2"/>
                  </a:cubicBezTo>
                  <a:cubicBezTo>
                    <a:pt x="13" y="6"/>
                    <a:pt x="5" y="0"/>
                    <a:pt x="0" y="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409">
              <a:extLst>
                <a:ext uri="{FF2B5EF4-FFF2-40B4-BE49-F238E27FC236}">
                  <a16:creationId xmlns:a16="http://schemas.microsoft.com/office/drawing/2014/main" id="{67B7EF69-C13E-4F41-A5BF-7DDF2C931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864" y="5140544"/>
              <a:ext cx="436011" cy="565035"/>
            </a:xfrm>
            <a:custGeom>
              <a:avLst/>
              <a:gdLst>
                <a:gd name="T0" fmla="*/ 17 w 200"/>
                <a:gd name="T1" fmla="*/ 252 h 259"/>
                <a:gd name="T2" fmla="*/ 37 w 200"/>
                <a:gd name="T3" fmla="*/ 253 h 259"/>
                <a:gd name="T4" fmla="*/ 45 w 200"/>
                <a:gd name="T5" fmla="*/ 232 h 259"/>
                <a:gd name="T6" fmla="*/ 50 w 200"/>
                <a:gd name="T7" fmla="*/ 187 h 259"/>
                <a:gd name="T8" fmla="*/ 47 w 200"/>
                <a:gd name="T9" fmla="*/ 166 h 259"/>
                <a:gd name="T10" fmla="*/ 69 w 200"/>
                <a:gd name="T11" fmla="*/ 172 h 259"/>
                <a:gd name="T12" fmla="*/ 83 w 200"/>
                <a:gd name="T13" fmla="*/ 222 h 259"/>
                <a:gd name="T14" fmla="*/ 100 w 200"/>
                <a:gd name="T15" fmla="*/ 219 h 259"/>
                <a:gd name="T16" fmla="*/ 119 w 200"/>
                <a:gd name="T17" fmla="*/ 209 h 259"/>
                <a:gd name="T18" fmla="*/ 115 w 200"/>
                <a:gd name="T19" fmla="*/ 197 h 259"/>
                <a:gd name="T20" fmla="*/ 108 w 200"/>
                <a:gd name="T21" fmla="*/ 187 h 259"/>
                <a:gd name="T22" fmla="*/ 111 w 200"/>
                <a:gd name="T23" fmla="*/ 177 h 259"/>
                <a:gd name="T24" fmla="*/ 110 w 200"/>
                <a:gd name="T25" fmla="*/ 167 h 259"/>
                <a:gd name="T26" fmla="*/ 102 w 200"/>
                <a:gd name="T27" fmla="*/ 154 h 259"/>
                <a:gd name="T28" fmla="*/ 90 w 200"/>
                <a:gd name="T29" fmla="*/ 135 h 259"/>
                <a:gd name="T30" fmla="*/ 81 w 200"/>
                <a:gd name="T31" fmla="*/ 121 h 259"/>
                <a:gd name="T32" fmla="*/ 109 w 200"/>
                <a:gd name="T33" fmla="*/ 112 h 259"/>
                <a:gd name="T34" fmla="*/ 142 w 200"/>
                <a:gd name="T35" fmla="*/ 94 h 259"/>
                <a:gd name="T36" fmla="*/ 124 w 200"/>
                <a:gd name="T37" fmla="*/ 83 h 259"/>
                <a:gd name="T38" fmla="*/ 106 w 200"/>
                <a:gd name="T39" fmla="*/ 89 h 259"/>
                <a:gd name="T40" fmla="*/ 78 w 200"/>
                <a:gd name="T41" fmla="*/ 100 h 259"/>
                <a:gd name="T42" fmla="*/ 58 w 200"/>
                <a:gd name="T43" fmla="*/ 101 h 259"/>
                <a:gd name="T44" fmla="*/ 49 w 200"/>
                <a:gd name="T45" fmla="*/ 91 h 259"/>
                <a:gd name="T46" fmla="*/ 54 w 200"/>
                <a:gd name="T47" fmla="*/ 42 h 259"/>
                <a:gd name="T48" fmla="*/ 85 w 200"/>
                <a:gd name="T49" fmla="*/ 42 h 259"/>
                <a:gd name="T50" fmla="*/ 119 w 200"/>
                <a:gd name="T51" fmla="*/ 42 h 259"/>
                <a:gd name="T52" fmla="*/ 177 w 200"/>
                <a:gd name="T53" fmla="*/ 42 h 259"/>
                <a:gd name="T54" fmla="*/ 200 w 200"/>
                <a:gd name="T55" fmla="*/ 7 h 259"/>
                <a:gd name="T56" fmla="*/ 190 w 200"/>
                <a:gd name="T57" fmla="*/ 2 h 259"/>
                <a:gd name="T58" fmla="*/ 179 w 200"/>
                <a:gd name="T59" fmla="*/ 17 h 259"/>
                <a:gd name="T60" fmla="*/ 151 w 200"/>
                <a:gd name="T61" fmla="*/ 29 h 259"/>
                <a:gd name="T62" fmla="*/ 126 w 200"/>
                <a:gd name="T63" fmla="*/ 29 h 259"/>
                <a:gd name="T64" fmla="*/ 92 w 200"/>
                <a:gd name="T65" fmla="*/ 23 h 259"/>
                <a:gd name="T66" fmla="*/ 65 w 200"/>
                <a:gd name="T67" fmla="*/ 17 h 259"/>
                <a:gd name="T68" fmla="*/ 44 w 200"/>
                <a:gd name="T69" fmla="*/ 34 h 259"/>
                <a:gd name="T70" fmla="*/ 33 w 200"/>
                <a:gd name="T71" fmla="*/ 62 h 259"/>
                <a:gd name="T72" fmla="*/ 33 w 200"/>
                <a:gd name="T73" fmla="*/ 71 h 259"/>
                <a:gd name="T74" fmla="*/ 31 w 200"/>
                <a:gd name="T75" fmla="*/ 82 h 259"/>
                <a:gd name="T76" fmla="*/ 19 w 200"/>
                <a:gd name="T77" fmla="*/ 123 h 259"/>
                <a:gd name="T78" fmla="*/ 2 w 200"/>
                <a:gd name="T79" fmla="*/ 157 h 259"/>
                <a:gd name="T80" fmla="*/ 5 w 200"/>
                <a:gd name="T81" fmla="*/ 183 h 259"/>
                <a:gd name="T82" fmla="*/ 23 w 200"/>
                <a:gd name="T83" fmla="*/ 191 h 259"/>
                <a:gd name="T84" fmla="*/ 17 w 200"/>
                <a:gd name="T85" fmla="*/ 23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259">
                  <a:moveTo>
                    <a:pt x="17" y="238"/>
                  </a:moveTo>
                  <a:cubicBezTo>
                    <a:pt x="15" y="243"/>
                    <a:pt x="18" y="248"/>
                    <a:pt x="17" y="252"/>
                  </a:cubicBezTo>
                  <a:cubicBezTo>
                    <a:pt x="22" y="250"/>
                    <a:pt x="24" y="259"/>
                    <a:pt x="29" y="255"/>
                  </a:cubicBezTo>
                  <a:cubicBezTo>
                    <a:pt x="33" y="253"/>
                    <a:pt x="33" y="252"/>
                    <a:pt x="37" y="253"/>
                  </a:cubicBezTo>
                  <a:cubicBezTo>
                    <a:pt x="41" y="253"/>
                    <a:pt x="44" y="248"/>
                    <a:pt x="48" y="251"/>
                  </a:cubicBezTo>
                  <a:cubicBezTo>
                    <a:pt x="48" y="245"/>
                    <a:pt x="42" y="239"/>
                    <a:pt x="45" y="232"/>
                  </a:cubicBezTo>
                  <a:cubicBezTo>
                    <a:pt x="48" y="223"/>
                    <a:pt x="49" y="218"/>
                    <a:pt x="48" y="209"/>
                  </a:cubicBezTo>
                  <a:cubicBezTo>
                    <a:pt x="47" y="201"/>
                    <a:pt x="49" y="195"/>
                    <a:pt x="50" y="187"/>
                  </a:cubicBezTo>
                  <a:cubicBezTo>
                    <a:pt x="50" y="184"/>
                    <a:pt x="50" y="180"/>
                    <a:pt x="50" y="177"/>
                  </a:cubicBezTo>
                  <a:cubicBezTo>
                    <a:pt x="51" y="171"/>
                    <a:pt x="48" y="171"/>
                    <a:pt x="47" y="166"/>
                  </a:cubicBezTo>
                  <a:cubicBezTo>
                    <a:pt x="44" y="157"/>
                    <a:pt x="61" y="149"/>
                    <a:pt x="68" y="151"/>
                  </a:cubicBezTo>
                  <a:cubicBezTo>
                    <a:pt x="74" y="153"/>
                    <a:pt x="72" y="168"/>
                    <a:pt x="69" y="172"/>
                  </a:cubicBezTo>
                  <a:cubicBezTo>
                    <a:pt x="59" y="182"/>
                    <a:pt x="76" y="195"/>
                    <a:pt x="85" y="199"/>
                  </a:cubicBezTo>
                  <a:cubicBezTo>
                    <a:pt x="89" y="202"/>
                    <a:pt x="79" y="216"/>
                    <a:pt x="83" y="222"/>
                  </a:cubicBezTo>
                  <a:cubicBezTo>
                    <a:pt x="85" y="225"/>
                    <a:pt x="92" y="227"/>
                    <a:pt x="96" y="228"/>
                  </a:cubicBezTo>
                  <a:cubicBezTo>
                    <a:pt x="100" y="228"/>
                    <a:pt x="99" y="221"/>
                    <a:pt x="100" y="219"/>
                  </a:cubicBezTo>
                  <a:cubicBezTo>
                    <a:pt x="101" y="213"/>
                    <a:pt x="109" y="214"/>
                    <a:pt x="113" y="212"/>
                  </a:cubicBezTo>
                  <a:cubicBezTo>
                    <a:pt x="115" y="211"/>
                    <a:pt x="125" y="216"/>
                    <a:pt x="119" y="209"/>
                  </a:cubicBezTo>
                  <a:cubicBezTo>
                    <a:pt x="124" y="217"/>
                    <a:pt x="130" y="202"/>
                    <a:pt x="122" y="199"/>
                  </a:cubicBezTo>
                  <a:cubicBezTo>
                    <a:pt x="121" y="206"/>
                    <a:pt x="119" y="197"/>
                    <a:pt x="115" y="197"/>
                  </a:cubicBezTo>
                  <a:cubicBezTo>
                    <a:pt x="116" y="196"/>
                    <a:pt x="117" y="195"/>
                    <a:pt x="117" y="194"/>
                  </a:cubicBezTo>
                  <a:cubicBezTo>
                    <a:pt x="114" y="193"/>
                    <a:pt x="110" y="189"/>
                    <a:pt x="108" y="187"/>
                  </a:cubicBezTo>
                  <a:cubicBezTo>
                    <a:pt x="106" y="183"/>
                    <a:pt x="109" y="180"/>
                    <a:pt x="107" y="176"/>
                  </a:cubicBezTo>
                  <a:cubicBezTo>
                    <a:pt x="108" y="177"/>
                    <a:pt x="110" y="177"/>
                    <a:pt x="111" y="177"/>
                  </a:cubicBezTo>
                  <a:cubicBezTo>
                    <a:pt x="108" y="175"/>
                    <a:pt x="109" y="170"/>
                    <a:pt x="113" y="171"/>
                  </a:cubicBezTo>
                  <a:cubicBezTo>
                    <a:pt x="112" y="169"/>
                    <a:pt x="111" y="168"/>
                    <a:pt x="110" y="167"/>
                  </a:cubicBezTo>
                  <a:cubicBezTo>
                    <a:pt x="107" y="164"/>
                    <a:pt x="109" y="162"/>
                    <a:pt x="108" y="159"/>
                  </a:cubicBezTo>
                  <a:cubicBezTo>
                    <a:pt x="106" y="156"/>
                    <a:pt x="103" y="156"/>
                    <a:pt x="102" y="154"/>
                  </a:cubicBezTo>
                  <a:cubicBezTo>
                    <a:pt x="100" y="152"/>
                    <a:pt x="100" y="148"/>
                    <a:pt x="98" y="145"/>
                  </a:cubicBezTo>
                  <a:cubicBezTo>
                    <a:pt x="96" y="141"/>
                    <a:pt x="95" y="137"/>
                    <a:pt x="90" y="135"/>
                  </a:cubicBezTo>
                  <a:cubicBezTo>
                    <a:pt x="87" y="133"/>
                    <a:pt x="85" y="126"/>
                    <a:pt x="80" y="128"/>
                  </a:cubicBezTo>
                  <a:cubicBezTo>
                    <a:pt x="81" y="126"/>
                    <a:pt x="81" y="123"/>
                    <a:pt x="81" y="121"/>
                  </a:cubicBezTo>
                  <a:cubicBezTo>
                    <a:pt x="86" y="125"/>
                    <a:pt x="89" y="129"/>
                    <a:pt x="94" y="122"/>
                  </a:cubicBezTo>
                  <a:cubicBezTo>
                    <a:pt x="99" y="116"/>
                    <a:pt x="103" y="116"/>
                    <a:pt x="109" y="112"/>
                  </a:cubicBezTo>
                  <a:cubicBezTo>
                    <a:pt x="117" y="108"/>
                    <a:pt x="124" y="88"/>
                    <a:pt x="134" y="89"/>
                  </a:cubicBezTo>
                  <a:cubicBezTo>
                    <a:pt x="138" y="89"/>
                    <a:pt x="138" y="98"/>
                    <a:pt x="142" y="94"/>
                  </a:cubicBezTo>
                  <a:cubicBezTo>
                    <a:pt x="144" y="92"/>
                    <a:pt x="148" y="86"/>
                    <a:pt x="146" y="83"/>
                  </a:cubicBezTo>
                  <a:cubicBezTo>
                    <a:pt x="142" y="78"/>
                    <a:pt x="128" y="79"/>
                    <a:pt x="124" y="83"/>
                  </a:cubicBezTo>
                  <a:cubicBezTo>
                    <a:pt x="126" y="83"/>
                    <a:pt x="128" y="84"/>
                    <a:pt x="130" y="86"/>
                  </a:cubicBezTo>
                  <a:cubicBezTo>
                    <a:pt x="124" y="86"/>
                    <a:pt x="108" y="82"/>
                    <a:pt x="106" y="89"/>
                  </a:cubicBezTo>
                  <a:cubicBezTo>
                    <a:pt x="104" y="94"/>
                    <a:pt x="90" y="94"/>
                    <a:pt x="91" y="87"/>
                  </a:cubicBezTo>
                  <a:cubicBezTo>
                    <a:pt x="86" y="90"/>
                    <a:pt x="81" y="95"/>
                    <a:pt x="78" y="100"/>
                  </a:cubicBezTo>
                  <a:cubicBezTo>
                    <a:pt x="75" y="106"/>
                    <a:pt x="74" y="109"/>
                    <a:pt x="67" y="108"/>
                  </a:cubicBezTo>
                  <a:cubicBezTo>
                    <a:pt x="63" y="107"/>
                    <a:pt x="59" y="106"/>
                    <a:pt x="58" y="101"/>
                  </a:cubicBezTo>
                  <a:cubicBezTo>
                    <a:pt x="57" y="99"/>
                    <a:pt x="57" y="96"/>
                    <a:pt x="56" y="94"/>
                  </a:cubicBezTo>
                  <a:cubicBezTo>
                    <a:pt x="53" y="90"/>
                    <a:pt x="51" y="93"/>
                    <a:pt x="49" y="91"/>
                  </a:cubicBezTo>
                  <a:cubicBezTo>
                    <a:pt x="40" y="85"/>
                    <a:pt x="39" y="64"/>
                    <a:pt x="43" y="55"/>
                  </a:cubicBezTo>
                  <a:cubicBezTo>
                    <a:pt x="45" y="50"/>
                    <a:pt x="49" y="44"/>
                    <a:pt x="54" y="42"/>
                  </a:cubicBezTo>
                  <a:cubicBezTo>
                    <a:pt x="58" y="39"/>
                    <a:pt x="69" y="43"/>
                    <a:pt x="73" y="45"/>
                  </a:cubicBezTo>
                  <a:cubicBezTo>
                    <a:pt x="76" y="46"/>
                    <a:pt x="82" y="43"/>
                    <a:pt x="85" y="42"/>
                  </a:cubicBezTo>
                  <a:cubicBezTo>
                    <a:pt x="91" y="39"/>
                    <a:pt x="92" y="43"/>
                    <a:pt x="98" y="44"/>
                  </a:cubicBezTo>
                  <a:cubicBezTo>
                    <a:pt x="104" y="45"/>
                    <a:pt x="112" y="42"/>
                    <a:pt x="119" y="42"/>
                  </a:cubicBezTo>
                  <a:cubicBezTo>
                    <a:pt x="127" y="42"/>
                    <a:pt x="132" y="43"/>
                    <a:pt x="138" y="47"/>
                  </a:cubicBezTo>
                  <a:cubicBezTo>
                    <a:pt x="146" y="53"/>
                    <a:pt x="171" y="49"/>
                    <a:pt x="177" y="42"/>
                  </a:cubicBezTo>
                  <a:cubicBezTo>
                    <a:pt x="182" y="36"/>
                    <a:pt x="183" y="31"/>
                    <a:pt x="189" y="26"/>
                  </a:cubicBezTo>
                  <a:cubicBezTo>
                    <a:pt x="194" y="21"/>
                    <a:pt x="194" y="12"/>
                    <a:pt x="200" y="7"/>
                  </a:cubicBezTo>
                  <a:cubicBezTo>
                    <a:pt x="198" y="6"/>
                    <a:pt x="197" y="4"/>
                    <a:pt x="198" y="1"/>
                  </a:cubicBezTo>
                  <a:cubicBezTo>
                    <a:pt x="195" y="2"/>
                    <a:pt x="192" y="0"/>
                    <a:pt x="190" y="2"/>
                  </a:cubicBezTo>
                  <a:cubicBezTo>
                    <a:pt x="187" y="4"/>
                    <a:pt x="188" y="9"/>
                    <a:pt x="184" y="10"/>
                  </a:cubicBezTo>
                  <a:cubicBezTo>
                    <a:pt x="178" y="12"/>
                    <a:pt x="182" y="14"/>
                    <a:pt x="179" y="17"/>
                  </a:cubicBezTo>
                  <a:cubicBezTo>
                    <a:pt x="177" y="20"/>
                    <a:pt x="173" y="19"/>
                    <a:pt x="172" y="22"/>
                  </a:cubicBezTo>
                  <a:cubicBezTo>
                    <a:pt x="169" y="29"/>
                    <a:pt x="158" y="30"/>
                    <a:pt x="151" y="29"/>
                  </a:cubicBezTo>
                  <a:cubicBezTo>
                    <a:pt x="146" y="28"/>
                    <a:pt x="140" y="27"/>
                    <a:pt x="134" y="27"/>
                  </a:cubicBezTo>
                  <a:cubicBezTo>
                    <a:pt x="131" y="27"/>
                    <a:pt x="128" y="30"/>
                    <a:pt x="126" y="29"/>
                  </a:cubicBezTo>
                  <a:cubicBezTo>
                    <a:pt x="118" y="26"/>
                    <a:pt x="112" y="25"/>
                    <a:pt x="103" y="24"/>
                  </a:cubicBezTo>
                  <a:cubicBezTo>
                    <a:pt x="99" y="23"/>
                    <a:pt x="97" y="22"/>
                    <a:pt x="92" y="23"/>
                  </a:cubicBezTo>
                  <a:cubicBezTo>
                    <a:pt x="87" y="23"/>
                    <a:pt x="85" y="16"/>
                    <a:pt x="82" y="16"/>
                  </a:cubicBezTo>
                  <a:cubicBezTo>
                    <a:pt x="79" y="16"/>
                    <a:pt x="66" y="10"/>
                    <a:pt x="65" y="17"/>
                  </a:cubicBezTo>
                  <a:cubicBezTo>
                    <a:pt x="64" y="27"/>
                    <a:pt x="55" y="36"/>
                    <a:pt x="48" y="26"/>
                  </a:cubicBezTo>
                  <a:cubicBezTo>
                    <a:pt x="47" y="29"/>
                    <a:pt x="46" y="31"/>
                    <a:pt x="44" y="34"/>
                  </a:cubicBezTo>
                  <a:cubicBezTo>
                    <a:pt x="40" y="37"/>
                    <a:pt x="41" y="41"/>
                    <a:pt x="38" y="44"/>
                  </a:cubicBezTo>
                  <a:cubicBezTo>
                    <a:pt x="31" y="49"/>
                    <a:pt x="40" y="58"/>
                    <a:pt x="33" y="62"/>
                  </a:cubicBezTo>
                  <a:cubicBezTo>
                    <a:pt x="33" y="60"/>
                    <a:pt x="31" y="59"/>
                    <a:pt x="29" y="59"/>
                  </a:cubicBezTo>
                  <a:cubicBezTo>
                    <a:pt x="30" y="65"/>
                    <a:pt x="35" y="64"/>
                    <a:pt x="33" y="71"/>
                  </a:cubicBezTo>
                  <a:cubicBezTo>
                    <a:pt x="31" y="77"/>
                    <a:pt x="37" y="83"/>
                    <a:pt x="35" y="90"/>
                  </a:cubicBezTo>
                  <a:cubicBezTo>
                    <a:pt x="34" y="87"/>
                    <a:pt x="33" y="84"/>
                    <a:pt x="31" y="82"/>
                  </a:cubicBezTo>
                  <a:cubicBezTo>
                    <a:pt x="28" y="92"/>
                    <a:pt x="20" y="97"/>
                    <a:pt x="19" y="108"/>
                  </a:cubicBezTo>
                  <a:cubicBezTo>
                    <a:pt x="19" y="113"/>
                    <a:pt x="20" y="119"/>
                    <a:pt x="19" y="123"/>
                  </a:cubicBezTo>
                  <a:cubicBezTo>
                    <a:pt x="19" y="129"/>
                    <a:pt x="14" y="133"/>
                    <a:pt x="13" y="139"/>
                  </a:cubicBezTo>
                  <a:cubicBezTo>
                    <a:pt x="13" y="147"/>
                    <a:pt x="0" y="150"/>
                    <a:pt x="2" y="157"/>
                  </a:cubicBezTo>
                  <a:cubicBezTo>
                    <a:pt x="3" y="161"/>
                    <a:pt x="6" y="159"/>
                    <a:pt x="3" y="164"/>
                  </a:cubicBezTo>
                  <a:cubicBezTo>
                    <a:pt x="0" y="169"/>
                    <a:pt x="3" y="179"/>
                    <a:pt x="5" y="183"/>
                  </a:cubicBezTo>
                  <a:cubicBezTo>
                    <a:pt x="8" y="180"/>
                    <a:pt x="15" y="179"/>
                    <a:pt x="18" y="179"/>
                  </a:cubicBezTo>
                  <a:cubicBezTo>
                    <a:pt x="26" y="179"/>
                    <a:pt x="20" y="186"/>
                    <a:pt x="23" y="191"/>
                  </a:cubicBezTo>
                  <a:cubicBezTo>
                    <a:pt x="27" y="199"/>
                    <a:pt x="26" y="205"/>
                    <a:pt x="24" y="214"/>
                  </a:cubicBezTo>
                  <a:cubicBezTo>
                    <a:pt x="23" y="221"/>
                    <a:pt x="21" y="233"/>
                    <a:pt x="17" y="23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410">
              <a:extLst>
                <a:ext uri="{FF2B5EF4-FFF2-40B4-BE49-F238E27FC236}">
                  <a16:creationId xmlns:a16="http://schemas.microsoft.com/office/drawing/2014/main" id="{39A068F1-2A2A-4FB5-845B-6755C61D9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864" y="5140544"/>
              <a:ext cx="436011" cy="565035"/>
            </a:xfrm>
            <a:custGeom>
              <a:avLst/>
              <a:gdLst>
                <a:gd name="T0" fmla="*/ 17 w 200"/>
                <a:gd name="T1" fmla="*/ 252 h 259"/>
                <a:gd name="T2" fmla="*/ 37 w 200"/>
                <a:gd name="T3" fmla="*/ 253 h 259"/>
                <a:gd name="T4" fmla="*/ 45 w 200"/>
                <a:gd name="T5" fmla="*/ 232 h 259"/>
                <a:gd name="T6" fmla="*/ 50 w 200"/>
                <a:gd name="T7" fmla="*/ 187 h 259"/>
                <a:gd name="T8" fmla="*/ 47 w 200"/>
                <a:gd name="T9" fmla="*/ 166 h 259"/>
                <a:gd name="T10" fmla="*/ 69 w 200"/>
                <a:gd name="T11" fmla="*/ 172 h 259"/>
                <a:gd name="T12" fmla="*/ 83 w 200"/>
                <a:gd name="T13" fmla="*/ 222 h 259"/>
                <a:gd name="T14" fmla="*/ 100 w 200"/>
                <a:gd name="T15" fmla="*/ 219 h 259"/>
                <a:gd name="T16" fmla="*/ 119 w 200"/>
                <a:gd name="T17" fmla="*/ 209 h 259"/>
                <a:gd name="T18" fmla="*/ 115 w 200"/>
                <a:gd name="T19" fmla="*/ 197 h 259"/>
                <a:gd name="T20" fmla="*/ 108 w 200"/>
                <a:gd name="T21" fmla="*/ 187 h 259"/>
                <a:gd name="T22" fmla="*/ 111 w 200"/>
                <a:gd name="T23" fmla="*/ 177 h 259"/>
                <a:gd name="T24" fmla="*/ 110 w 200"/>
                <a:gd name="T25" fmla="*/ 167 h 259"/>
                <a:gd name="T26" fmla="*/ 102 w 200"/>
                <a:gd name="T27" fmla="*/ 154 h 259"/>
                <a:gd name="T28" fmla="*/ 90 w 200"/>
                <a:gd name="T29" fmla="*/ 135 h 259"/>
                <a:gd name="T30" fmla="*/ 81 w 200"/>
                <a:gd name="T31" fmla="*/ 121 h 259"/>
                <a:gd name="T32" fmla="*/ 109 w 200"/>
                <a:gd name="T33" fmla="*/ 112 h 259"/>
                <a:gd name="T34" fmla="*/ 142 w 200"/>
                <a:gd name="T35" fmla="*/ 94 h 259"/>
                <a:gd name="T36" fmla="*/ 124 w 200"/>
                <a:gd name="T37" fmla="*/ 83 h 259"/>
                <a:gd name="T38" fmla="*/ 106 w 200"/>
                <a:gd name="T39" fmla="*/ 89 h 259"/>
                <a:gd name="T40" fmla="*/ 78 w 200"/>
                <a:gd name="T41" fmla="*/ 100 h 259"/>
                <a:gd name="T42" fmla="*/ 58 w 200"/>
                <a:gd name="T43" fmla="*/ 101 h 259"/>
                <a:gd name="T44" fmla="*/ 49 w 200"/>
                <a:gd name="T45" fmla="*/ 91 h 259"/>
                <a:gd name="T46" fmla="*/ 54 w 200"/>
                <a:gd name="T47" fmla="*/ 42 h 259"/>
                <a:gd name="T48" fmla="*/ 85 w 200"/>
                <a:gd name="T49" fmla="*/ 42 h 259"/>
                <a:gd name="T50" fmla="*/ 119 w 200"/>
                <a:gd name="T51" fmla="*/ 42 h 259"/>
                <a:gd name="T52" fmla="*/ 177 w 200"/>
                <a:gd name="T53" fmla="*/ 42 h 259"/>
                <a:gd name="T54" fmla="*/ 200 w 200"/>
                <a:gd name="T55" fmla="*/ 7 h 259"/>
                <a:gd name="T56" fmla="*/ 190 w 200"/>
                <a:gd name="T57" fmla="*/ 2 h 259"/>
                <a:gd name="T58" fmla="*/ 179 w 200"/>
                <a:gd name="T59" fmla="*/ 17 h 259"/>
                <a:gd name="T60" fmla="*/ 151 w 200"/>
                <a:gd name="T61" fmla="*/ 29 h 259"/>
                <a:gd name="T62" fmla="*/ 126 w 200"/>
                <a:gd name="T63" fmla="*/ 29 h 259"/>
                <a:gd name="T64" fmla="*/ 92 w 200"/>
                <a:gd name="T65" fmla="*/ 23 h 259"/>
                <a:gd name="T66" fmla="*/ 65 w 200"/>
                <a:gd name="T67" fmla="*/ 17 h 259"/>
                <a:gd name="T68" fmla="*/ 44 w 200"/>
                <a:gd name="T69" fmla="*/ 34 h 259"/>
                <a:gd name="T70" fmla="*/ 33 w 200"/>
                <a:gd name="T71" fmla="*/ 62 h 259"/>
                <a:gd name="T72" fmla="*/ 33 w 200"/>
                <a:gd name="T73" fmla="*/ 71 h 259"/>
                <a:gd name="T74" fmla="*/ 31 w 200"/>
                <a:gd name="T75" fmla="*/ 82 h 259"/>
                <a:gd name="T76" fmla="*/ 19 w 200"/>
                <a:gd name="T77" fmla="*/ 123 h 259"/>
                <a:gd name="T78" fmla="*/ 2 w 200"/>
                <a:gd name="T79" fmla="*/ 157 h 259"/>
                <a:gd name="T80" fmla="*/ 5 w 200"/>
                <a:gd name="T81" fmla="*/ 183 h 259"/>
                <a:gd name="T82" fmla="*/ 23 w 200"/>
                <a:gd name="T83" fmla="*/ 191 h 259"/>
                <a:gd name="T84" fmla="*/ 17 w 200"/>
                <a:gd name="T85" fmla="*/ 23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259">
                  <a:moveTo>
                    <a:pt x="17" y="238"/>
                  </a:moveTo>
                  <a:cubicBezTo>
                    <a:pt x="15" y="243"/>
                    <a:pt x="18" y="248"/>
                    <a:pt x="17" y="252"/>
                  </a:cubicBezTo>
                  <a:cubicBezTo>
                    <a:pt x="22" y="250"/>
                    <a:pt x="24" y="259"/>
                    <a:pt x="29" y="255"/>
                  </a:cubicBezTo>
                  <a:cubicBezTo>
                    <a:pt x="33" y="253"/>
                    <a:pt x="33" y="252"/>
                    <a:pt x="37" y="253"/>
                  </a:cubicBezTo>
                  <a:cubicBezTo>
                    <a:pt x="41" y="253"/>
                    <a:pt x="44" y="248"/>
                    <a:pt x="48" y="251"/>
                  </a:cubicBezTo>
                  <a:cubicBezTo>
                    <a:pt x="48" y="245"/>
                    <a:pt x="42" y="239"/>
                    <a:pt x="45" y="232"/>
                  </a:cubicBezTo>
                  <a:cubicBezTo>
                    <a:pt x="48" y="223"/>
                    <a:pt x="49" y="218"/>
                    <a:pt x="48" y="209"/>
                  </a:cubicBezTo>
                  <a:cubicBezTo>
                    <a:pt x="47" y="201"/>
                    <a:pt x="49" y="195"/>
                    <a:pt x="50" y="187"/>
                  </a:cubicBezTo>
                  <a:cubicBezTo>
                    <a:pt x="50" y="184"/>
                    <a:pt x="50" y="180"/>
                    <a:pt x="50" y="177"/>
                  </a:cubicBezTo>
                  <a:cubicBezTo>
                    <a:pt x="51" y="171"/>
                    <a:pt x="48" y="171"/>
                    <a:pt x="47" y="166"/>
                  </a:cubicBezTo>
                  <a:cubicBezTo>
                    <a:pt x="44" y="157"/>
                    <a:pt x="61" y="149"/>
                    <a:pt x="68" y="151"/>
                  </a:cubicBezTo>
                  <a:cubicBezTo>
                    <a:pt x="74" y="153"/>
                    <a:pt x="72" y="168"/>
                    <a:pt x="69" y="172"/>
                  </a:cubicBezTo>
                  <a:cubicBezTo>
                    <a:pt x="59" y="182"/>
                    <a:pt x="76" y="195"/>
                    <a:pt x="85" y="199"/>
                  </a:cubicBezTo>
                  <a:cubicBezTo>
                    <a:pt x="89" y="202"/>
                    <a:pt x="79" y="216"/>
                    <a:pt x="83" y="222"/>
                  </a:cubicBezTo>
                  <a:cubicBezTo>
                    <a:pt x="85" y="225"/>
                    <a:pt x="92" y="227"/>
                    <a:pt x="96" y="228"/>
                  </a:cubicBezTo>
                  <a:cubicBezTo>
                    <a:pt x="100" y="228"/>
                    <a:pt x="99" y="221"/>
                    <a:pt x="100" y="219"/>
                  </a:cubicBezTo>
                  <a:cubicBezTo>
                    <a:pt x="101" y="213"/>
                    <a:pt x="109" y="214"/>
                    <a:pt x="113" y="212"/>
                  </a:cubicBezTo>
                  <a:cubicBezTo>
                    <a:pt x="115" y="211"/>
                    <a:pt x="125" y="216"/>
                    <a:pt x="119" y="209"/>
                  </a:cubicBezTo>
                  <a:cubicBezTo>
                    <a:pt x="124" y="217"/>
                    <a:pt x="130" y="202"/>
                    <a:pt x="122" y="199"/>
                  </a:cubicBezTo>
                  <a:cubicBezTo>
                    <a:pt x="121" y="206"/>
                    <a:pt x="119" y="197"/>
                    <a:pt x="115" y="197"/>
                  </a:cubicBezTo>
                  <a:cubicBezTo>
                    <a:pt x="116" y="196"/>
                    <a:pt x="117" y="195"/>
                    <a:pt x="117" y="194"/>
                  </a:cubicBezTo>
                  <a:cubicBezTo>
                    <a:pt x="114" y="193"/>
                    <a:pt x="110" y="189"/>
                    <a:pt x="108" y="187"/>
                  </a:cubicBezTo>
                  <a:cubicBezTo>
                    <a:pt x="106" y="183"/>
                    <a:pt x="109" y="180"/>
                    <a:pt x="107" y="176"/>
                  </a:cubicBezTo>
                  <a:cubicBezTo>
                    <a:pt x="108" y="177"/>
                    <a:pt x="110" y="177"/>
                    <a:pt x="111" y="177"/>
                  </a:cubicBezTo>
                  <a:cubicBezTo>
                    <a:pt x="108" y="175"/>
                    <a:pt x="109" y="170"/>
                    <a:pt x="113" y="171"/>
                  </a:cubicBezTo>
                  <a:cubicBezTo>
                    <a:pt x="112" y="169"/>
                    <a:pt x="111" y="168"/>
                    <a:pt x="110" y="167"/>
                  </a:cubicBezTo>
                  <a:cubicBezTo>
                    <a:pt x="107" y="164"/>
                    <a:pt x="109" y="162"/>
                    <a:pt x="108" y="159"/>
                  </a:cubicBezTo>
                  <a:cubicBezTo>
                    <a:pt x="106" y="156"/>
                    <a:pt x="103" y="156"/>
                    <a:pt x="102" y="154"/>
                  </a:cubicBezTo>
                  <a:cubicBezTo>
                    <a:pt x="100" y="152"/>
                    <a:pt x="100" y="148"/>
                    <a:pt x="98" y="145"/>
                  </a:cubicBezTo>
                  <a:cubicBezTo>
                    <a:pt x="96" y="141"/>
                    <a:pt x="95" y="137"/>
                    <a:pt x="90" y="135"/>
                  </a:cubicBezTo>
                  <a:cubicBezTo>
                    <a:pt x="87" y="133"/>
                    <a:pt x="85" y="126"/>
                    <a:pt x="80" y="128"/>
                  </a:cubicBezTo>
                  <a:cubicBezTo>
                    <a:pt x="81" y="126"/>
                    <a:pt x="81" y="123"/>
                    <a:pt x="81" y="121"/>
                  </a:cubicBezTo>
                  <a:cubicBezTo>
                    <a:pt x="86" y="125"/>
                    <a:pt x="89" y="129"/>
                    <a:pt x="94" y="122"/>
                  </a:cubicBezTo>
                  <a:cubicBezTo>
                    <a:pt x="99" y="116"/>
                    <a:pt x="103" y="116"/>
                    <a:pt x="109" y="112"/>
                  </a:cubicBezTo>
                  <a:cubicBezTo>
                    <a:pt x="117" y="108"/>
                    <a:pt x="124" y="88"/>
                    <a:pt x="134" y="89"/>
                  </a:cubicBezTo>
                  <a:cubicBezTo>
                    <a:pt x="138" y="89"/>
                    <a:pt x="138" y="98"/>
                    <a:pt x="142" y="94"/>
                  </a:cubicBezTo>
                  <a:cubicBezTo>
                    <a:pt x="144" y="92"/>
                    <a:pt x="148" y="86"/>
                    <a:pt x="146" y="83"/>
                  </a:cubicBezTo>
                  <a:cubicBezTo>
                    <a:pt x="142" y="78"/>
                    <a:pt x="128" y="79"/>
                    <a:pt x="124" y="83"/>
                  </a:cubicBezTo>
                  <a:cubicBezTo>
                    <a:pt x="126" y="83"/>
                    <a:pt x="128" y="84"/>
                    <a:pt x="130" y="86"/>
                  </a:cubicBezTo>
                  <a:cubicBezTo>
                    <a:pt x="124" y="86"/>
                    <a:pt x="108" y="82"/>
                    <a:pt x="106" y="89"/>
                  </a:cubicBezTo>
                  <a:cubicBezTo>
                    <a:pt x="104" y="94"/>
                    <a:pt x="90" y="94"/>
                    <a:pt x="91" y="87"/>
                  </a:cubicBezTo>
                  <a:cubicBezTo>
                    <a:pt x="86" y="90"/>
                    <a:pt x="81" y="95"/>
                    <a:pt x="78" y="100"/>
                  </a:cubicBezTo>
                  <a:cubicBezTo>
                    <a:pt x="75" y="106"/>
                    <a:pt x="74" y="109"/>
                    <a:pt x="67" y="108"/>
                  </a:cubicBezTo>
                  <a:cubicBezTo>
                    <a:pt x="63" y="107"/>
                    <a:pt x="59" y="106"/>
                    <a:pt x="58" y="101"/>
                  </a:cubicBezTo>
                  <a:cubicBezTo>
                    <a:pt x="57" y="99"/>
                    <a:pt x="57" y="96"/>
                    <a:pt x="56" y="94"/>
                  </a:cubicBezTo>
                  <a:cubicBezTo>
                    <a:pt x="53" y="90"/>
                    <a:pt x="51" y="93"/>
                    <a:pt x="49" y="91"/>
                  </a:cubicBezTo>
                  <a:cubicBezTo>
                    <a:pt x="40" y="85"/>
                    <a:pt x="39" y="64"/>
                    <a:pt x="43" y="55"/>
                  </a:cubicBezTo>
                  <a:cubicBezTo>
                    <a:pt x="45" y="50"/>
                    <a:pt x="49" y="44"/>
                    <a:pt x="54" y="42"/>
                  </a:cubicBezTo>
                  <a:cubicBezTo>
                    <a:pt x="58" y="39"/>
                    <a:pt x="69" y="43"/>
                    <a:pt x="73" y="45"/>
                  </a:cubicBezTo>
                  <a:cubicBezTo>
                    <a:pt x="76" y="46"/>
                    <a:pt x="82" y="43"/>
                    <a:pt x="85" y="42"/>
                  </a:cubicBezTo>
                  <a:cubicBezTo>
                    <a:pt x="91" y="39"/>
                    <a:pt x="92" y="43"/>
                    <a:pt x="98" y="44"/>
                  </a:cubicBezTo>
                  <a:cubicBezTo>
                    <a:pt x="104" y="45"/>
                    <a:pt x="112" y="42"/>
                    <a:pt x="119" y="42"/>
                  </a:cubicBezTo>
                  <a:cubicBezTo>
                    <a:pt x="127" y="42"/>
                    <a:pt x="132" y="43"/>
                    <a:pt x="138" y="47"/>
                  </a:cubicBezTo>
                  <a:cubicBezTo>
                    <a:pt x="146" y="53"/>
                    <a:pt x="171" y="49"/>
                    <a:pt x="177" y="42"/>
                  </a:cubicBezTo>
                  <a:cubicBezTo>
                    <a:pt x="182" y="36"/>
                    <a:pt x="183" y="31"/>
                    <a:pt x="189" y="26"/>
                  </a:cubicBezTo>
                  <a:cubicBezTo>
                    <a:pt x="194" y="21"/>
                    <a:pt x="194" y="12"/>
                    <a:pt x="200" y="7"/>
                  </a:cubicBezTo>
                  <a:cubicBezTo>
                    <a:pt x="198" y="6"/>
                    <a:pt x="197" y="4"/>
                    <a:pt x="198" y="1"/>
                  </a:cubicBezTo>
                  <a:cubicBezTo>
                    <a:pt x="195" y="2"/>
                    <a:pt x="192" y="0"/>
                    <a:pt x="190" y="2"/>
                  </a:cubicBezTo>
                  <a:cubicBezTo>
                    <a:pt x="187" y="4"/>
                    <a:pt x="188" y="9"/>
                    <a:pt x="184" y="10"/>
                  </a:cubicBezTo>
                  <a:cubicBezTo>
                    <a:pt x="178" y="12"/>
                    <a:pt x="182" y="14"/>
                    <a:pt x="179" y="17"/>
                  </a:cubicBezTo>
                  <a:cubicBezTo>
                    <a:pt x="177" y="20"/>
                    <a:pt x="173" y="19"/>
                    <a:pt x="172" y="22"/>
                  </a:cubicBezTo>
                  <a:cubicBezTo>
                    <a:pt x="169" y="29"/>
                    <a:pt x="158" y="30"/>
                    <a:pt x="151" y="29"/>
                  </a:cubicBezTo>
                  <a:cubicBezTo>
                    <a:pt x="146" y="28"/>
                    <a:pt x="140" y="27"/>
                    <a:pt x="134" y="27"/>
                  </a:cubicBezTo>
                  <a:cubicBezTo>
                    <a:pt x="131" y="27"/>
                    <a:pt x="128" y="30"/>
                    <a:pt x="126" y="29"/>
                  </a:cubicBezTo>
                  <a:cubicBezTo>
                    <a:pt x="118" y="26"/>
                    <a:pt x="112" y="25"/>
                    <a:pt x="103" y="24"/>
                  </a:cubicBezTo>
                  <a:cubicBezTo>
                    <a:pt x="99" y="23"/>
                    <a:pt x="97" y="22"/>
                    <a:pt x="92" y="23"/>
                  </a:cubicBezTo>
                  <a:cubicBezTo>
                    <a:pt x="87" y="23"/>
                    <a:pt x="85" y="16"/>
                    <a:pt x="82" y="16"/>
                  </a:cubicBezTo>
                  <a:cubicBezTo>
                    <a:pt x="79" y="16"/>
                    <a:pt x="66" y="10"/>
                    <a:pt x="65" y="17"/>
                  </a:cubicBezTo>
                  <a:cubicBezTo>
                    <a:pt x="64" y="27"/>
                    <a:pt x="55" y="36"/>
                    <a:pt x="48" y="26"/>
                  </a:cubicBezTo>
                  <a:cubicBezTo>
                    <a:pt x="47" y="29"/>
                    <a:pt x="46" y="31"/>
                    <a:pt x="44" y="34"/>
                  </a:cubicBezTo>
                  <a:cubicBezTo>
                    <a:pt x="40" y="37"/>
                    <a:pt x="41" y="41"/>
                    <a:pt x="38" y="44"/>
                  </a:cubicBezTo>
                  <a:cubicBezTo>
                    <a:pt x="31" y="49"/>
                    <a:pt x="40" y="58"/>
                    <a:pt x="33" y="62"/>
                  </a:cubicBezTo>
                  <a:cubicBezTo>
                    <a:pt x="33" y="60"/>
                    <a:pt x="31" y="59"/>
                    <a:pt x="29" y="59"/>
                  </a:cubicBezTo>
                  <a:cubicBezTo>
                    <a:pt x="30" y="65"/>
                    <a:pt x="35" y="64"/>
                    <a:pt x="33" y="71"/>
                  </a:cubicBezTo>
                  <a:cubicBezTo>
                    <a:pt x="31" y="77"/>
                    <a:pt x="37" y="83"/>
                    <a:pt x="35" y="90"/>
                  </a:cubicBezTo>
                  <a:cubicBezTo>
                    <a:pt x="34" y="87"/>
                    <a:pt x="33" y="84"/>
                    <a:pt x="31" y="82"/>
                  </a:cubicBezTo>
                  <a:cubicBezTo>
                    <a:pt x="28" y="92"/>
                    <a:pt x="20" y="97"/>
                    <a:pt x="19" y="108"/>
                  </a:cubicBezTo>
                  <a:cubicBezTo>
                    <a:pt x="19" y="113"/>
                    <a:pt x="20" y="119"/>
                    <a:pt x="19" y="123"/>
                  </a:cubicBezTo>
                  <a:cubicBezTo>
                    <a:pt x="19" y="129"/>
                    <a:pt x="14" y="133"/>
                    <a:pt x="13" y="139"/>
                  </a:cubicBezTo>
                  <a:cubicBezTo>
                    <a:pt x="13" y="147"/>
                    <a:pt x="0" y="150"/>
                    <a:pt x="2" y="157"/>
                  </a:cubicBezTo>
                  <a:cubicBezTo>
                    <a:pt x="3" y="161"/>
                    <a:pt x="6" y="159"/>
                    <a:pt x="3" y="164"/>
                  </a:cubicBezTo>
                  <a:cubicBezTo>
                    <a:pt x="0" y="169"/>
                    <a:pt x="3" y="179"/>
                    <a:pt x="5" y="183"/>
                  </a:cubicBezTo>
                  <a:cubicBezTo>
                    <a:pt x="8" y="180"/>
                    <a:pt x="15" y="179"/>
                    <a:pt x="18" y="179"/>
                  </a:cubicBezTo>
                  <a:cubicBezTo>
                    <a:pt x="26" y="179"/>
                    <a:pt x="20" y="186"/>
                    <a:pt x="23" y="191"/>
                  </a:cubicBezTo>
                  <a:cubicBezTo>
                    <a:pt x="27" y="199"/>
                    <a:pt x="26" y="205"/>
                    <a:pt x="24" y="214"/>
                  </a:cubicBezTo>
                  <a:cubicBezTo>
                    <a:pt x="23" y="221"/>
                    <a:pt x="21" y="233"/>
                    <a:pt x="17" y="23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411">
              <a:extLst>
                <a:ext uri="{FF2B5EF4-FFF2-40B4-BE49-F238E27FC236}">
                  <a16:creationId xmlns:a16="http://schemas.microsoft.com/office/drawing/2014/main" id="{DE5030F1-E2F6-4BB4-9407-BE31F4513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9804" y="5870196"/>
              <a:ext cx="213557" cy="75635"/>
            </a:xfrm>
            <a:custGeom>
              <a:avLst/>
              <a:gdLst>
                <a:gd name="T0" fmla="*/ 5 w 98"/>
                <a:gd name="T1" fmla="*/ 29 h 35"/>
                <a:gd name="T2" fmla="*/ 17 w 98"/>
                <a:gd name="T3" fmla="*/ 29 h 35"/>
                <a:gd name="T4" fmla="*/ 29 w 98"/>
                <a:gd name="T5" fmla="*/ 30 h 35"/>
                <a:gd name="T6" fmla="*/ 38 w 98"/>
                <a:gd name="T7" fmla="*/ 33 h 35"/>
                <a:gd name="T8" fmla="*/ 47 w 98"/>
                <a:gd name="T9" fmla="*/ 29 h 35"/>
                <a:gd name="T10" fmla="*/ 68 w 98"/>
                <a:gd name="T11" fmla="*/ 27 h 35"/>
                <a:gd name="T12" fmla="*/ 91 w 98"/>
                <a:gd name="T13" fmla="*/ 16 h 35"/>
                <a:gd name="T14" fmla="*/ 98 w 98"/>
                <a:gd name="T15" fmla="*/ 12 h 35"/>
                <a:gd name="T16" fmla="*/ 90 w 98"/>
                <a:gd name="T17" fmla="*/ 9 h 35"/>
                <a:gd name="T18" fmla="*/ 96 w 98"/>
                <a:gd name="T19" fmla="*/ 9 h 35"/>
                <a:gd name="T20" fmla="*/ 82 w 98"/>
                <a:gd name="T21" fmla="*/ 19 h 35"/>
                <a:gd name="T22" fmla="*/ 68 w 98"/>
                <a:gd name="T23" fmla="*/ 18 h 35"/>
                <a:gd name="T24" fmla="*/ 56 w 98"/>
                <a:gd name="T25" fmla="*/ 19 h 35"/>
                <a:gd name="T26" fmla="*/ 53 w 98"/>
                <a:gd name="T27" fmla="*/ 21 h 35"/>
                <a:gd name="T28" fmla="*/ 45 w 98"/>
                <a:gd name="T29" fmla="*/ 18 h 35"/>
                <a:gd name="T30" fmla="*/ 27 w 98"/>
                <a:gd name="T31" fmla="*/ 11 h 35"/>
                <a:gd name="T32" fmla="*/ 7 w 98"/>
                <a:gd name="T33" fmla="*/ 16 h 35"/>
                <a:gd name="T34" fmla="*/ 0 w 98"/>
                <a:gd name="T35" fmla="*/ 23 h 35"/>
                <a:gd name="T36" fmla="*/ 5 w 98"/>
                <a:gd name="T3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8" h="35">
                  <a:moveTo>
                    <a:pt x="5" y="29"/>
                  </a:moveTo>
                  <a:cubicBezTo>
                    <a:pt x="8" y="28"/>
                    <a:pt x="14" y="30"/>
                    <a:pt x="17" y="29"/>
                  </a:cubicBezTo>
                  <a:cubicBezTo>
                    <a:pt x="21" y="29"/>
                    <a:pt x="26" y="30"/>
                    <a:pt x="29" y="30"/>
                  </a:cubicBezTo>
                  <a:cubicBezTo>
                    <a:pt x="32" y="31"/>
                    <a:pt x="34" y="35"/>
                    <a:pt x="38" y="33"/>
                  </a:cubicBezTo>
                  <a:cubicBezTo>
                    <a:pt x="41" y="32"/>
                    <a:pt x="48" y="34"/>
                    <a:pt x="47" y="29"/>
                  </a:cubicBezTo>
                  <a:cubicBezTo>
                    <a:pt x="56" y="33"/>
                    <a:pt x="60" y="30"/>
                    <a:pt x="68" y="27"/>
                  </a:cubicBezTo>
                  <a:cubicBezTo>
                    <a:pt x="74" y="25"/>
                    <a:pt x="94" y="28"/>
                    <a:pt x="91" y="16"/>
                  </a:cubicBezTo>
                  <a:cubicBezTo>
                    <a:pt x="95" y="17"/>
                    <a:pt x="95" y="12"/>
                    <a:pt x="98" y="12"/>
                  </a:cubicBezTo>
                  <a:cubicBezTo>
                    <a:pt x="97" y="7"/>
                    <a:pt x="92" y="0"/>
                    <a:pt x="90" y="9"/>
                  </a:cubicBezTo>
                  <a:cubicBezTo>
                    <a:pt x="92" y="8"/>
                    <a:pt x="94" y="8"/>
                    <a:pt x="96" y="9"/>
                  </a:cubicBezTo>
                  <a:cubicBezTo>
                    <a:pt x="92" y="13"/>
                    <a:pt x="85" y="14"/>
                    <a:pt x="82" y="19"/>
                  </a:cubicBezTo>
                  <a:cubicBezTo>
                    <a:pt x="78" y="26"/>
                    <a:pt x="72" y="22"/>
                    <a:pt x="68" y="18"/>
                  </a:cubicBezTo>
                  <a:cubicBezTo>
                    <a:pt x="65" y="14"/>
                    <a:pt x="60" y="20"/>
                    <a:pt x="56" y="19"/>
                  </a:cubicBezTo>
                  <a:cubicBezTo>
                    <a:pt x="54" y="18"/>
                    <a:pt x="54" y="19"/>
                    <a:pt x="53" y="21"/>
                  </a:cubicBezTo>
                  <a:cubicBezTo>
                    <a:pt x="51" y="23"/>
                    <a:pt x="47" y="19"/>
                    <a:pt x="45" y="18"/>
                  </a:cubicBezTo>
                  <a:cubicBezTo>
                    <a:pt x="40" y="14"/>
                    <a:pt x="33" y="12"/>
                    <a:pt x="27" y="11"/>
                  </a:cubicBezTo>
                  <a:cubicBezTo>
                    <a:pt x="17" y="9"/>
                    <a:pt x="14" y="12"/>
                    <a:pt x="7" y="16"/>
                  </a:cubicBezTo>
                  <a:cubicBezTo>
                    <a:pt x="3" y="18"/>
                    <a:pt x="0" y="18"/>
                    <a:pt x="0" y="23"/>
                  </a:cubicBezTo>
                  <a:cubicBezTo>
                    <a:pt x="0" y="26"/>
                    <a:pt x="1" y="34"/>
                    <a:pt x="5" y="2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412">
              <a:extLst>
                <a:ext uri="{FF2B5EF4-FFF2-40B4-BE49-F238E27FC236}">
                  <a16:creationId xmlns:a16="http://schemas.microsoft.com/office/drawing/2014/main" id="{6A467616-191A-4F64-8C9C-991A2BAF3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9804" y="5870196"/>
              <a:ext cx="213557" cy="75635"/>
            </a:xfrm>
            <a:custGeom>
              <a:avLst/>
              <a:gdLst>
                <a:gd name="T0" fmla="*/ 5 w 98"/>
                <a:gd name="T1" fmla="*/ 29 h 35"/>
                <a:gd name="T2" fmla="*/ 17 w 98"/>
                <a:gd name="T3" fmla="*/ 29 h 35"/>
                <a:gd name="T4" fmla="*/ 29 w 98"/>
                <a:gd name="T5" fmla="*/ 30 h 35"/>
                <a:gd name="T6" fmla="*/ 38 w 98"/>
                <a:gd name="T7" fmla="*/ 33 h 35"/>
                <a:gd name="T8" fmla="*/ 47 w 98"/>
                <a:gd name="T9" fmla="*/ 29 h 35"/>
                <a:gd name="T10" fmla="*/ 68 w 98"/>
                <a:gd name="T11" fmla="*/ 27 h 35"/>
                <a:gd name="T12" fmla="*/ 91 w 98"/>
                <a:gd name="T13" fmla="*/ 16 h 35"/>
                <a:gd name="T14" fmla="*/ 98 w 98"/>
                <a:gd name="T15" fmla="*/ 12 h 35"/>
                <a:gd name="T16" fmla="*/ 90 w 98"/>
                <a:gd name="T17" fmla="*/ 9 h 35"/>
                <a:gd name="T18" fmla="*/ 96 w 98"/>
                <a:gd name="T19" fmla="*/ 9 h 35"/>
                <a:gd name="T20" fmla="*/ 82 w 98"/>
                <a:gd name="T21" fmla="*/ 19 h 35"/>
                <a:gd name="T22" fmla="*/ 68 w 98"/>
                <a:gd name="T23" fmla="*/ 18 h 35"/>
                <a:gd name="T24" fmla="*/ 56 w 98"/>
                <a:gd name="T25" fmla="*/ 19 h 35"/>
                <a:gd name="T26" fmla="*/ 53 w 98"/>
                <a:gd name="T27" fmla="*/ 21 h 35"/>
                <a:gd name="T28" fmla="*/ 45 w 98"/>
                <a:gd name="T29" fmla="*/ 18 h 35"/>
                <a:gd name="T30" fmla="*/ 27 w 98"/>
                <a:gd name="T31" fmla="*/ 11 h 35"/>
                <a:gd name="T32" fmla="*/ 7 w 98"/>
                <a:gd name="T33" fmla="*/ 16 h 35"/>
                <a:gd name="T34" fmla="*/ 0 w 98"/>
                <a:gd name="T35" fmla="*/ 23 h 35"/>
                <a:gd name="T36" fmla="*/ 5 w 98"/>
                <a:gd name="T37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8" h="35">
                  <a:moveTo>
                    <a:pt x="5" y="29"/>
                  </a:moveTo>
                  <a:cubicBezTo>
                    <a:pt x="8" y="28"/>
                    <a:pt x="14" y="30"/>
                    <a:pt x="17" y="29"/>
                  </a:cubicBezTo>
                  <a:cubicBezTo>
                    <a:pt x="21" y="29"/>
                    <a:pt x="26" y="30"/>
                    <a:pt x="29" y="30"/>
                  </a:cubicBezTo>
                  <a:cubicBezTo>
                    <a:pt x="32" y="31"/>
                    <a:pt x="34" y="35"/>
                    <a:pt x="38" y="33"/>
                  </a:cubicBezTo>
                  <a:cubicBezTo>
                    <a:pt x="41" y="32"/>
                    <a:pt x="48" y="34"/>
                    <a:pt x="47" y="29"/>
                  </a:cubicBezTo>
                  <a:cubicBezTo>
                    <a:pt x="56" y="33"/>
                    <a:pt x="60" y="30"/>
                    <a:pt x="68" y="27"/>
                  </a:cubicBezTo>
                  <a:cubicBezTo>
                    <a:pt x="74" y="25"/>
                    <a:pt x="94" y="28"/>
                    <a:pt x="91" y="16"/>
                  </a:cubicBezTo>
                  <a:cubicBezTo>
                    <a:pt x="95" y="17"/>
                    <a:pt x="95" y="12"/>
                    <a:pt x="98" y="12"/>
                  </a:cubicBezTo>
                  <a:cubicBezTo>
                    <a:pt x="97" y="7"/>
                    <a:pt x="92" y="0"/>
                    <a:pt x="90" y="9"/>
                  </a:cubicBezTo>
                  <a:cubicBezTo>
                    <a:pt x="92" y="8"/>
                    <a:pt x="94" y="8"/>
                    <a:pt x="96" y="9"/>
                  </a:cubicBezTo>
                  <a:cubicBezTo>
                    <a:pt x="92" y="13"/>
                    <a:pt x="85" y="14"/>
                    <a:pt x="82" y="19"/>
                  </a:cubicBezTo>
                  <a:cubicBezTo>
                    <a:pt x="78" y="26"/>
                    <a:pt x="72" y="22"/>
                    <a:pt x="68" y="18"/>
                  </a:cubicBezTo>
                  <a:cubicBezTo>
                    <a:pt x="65" y="14"/>
                    <a:pt x="60" y="20"/>
                    <a:pt x="56" y="19"/>
                  </a:cubicBezTo>
                  <a:cubicBezTo>
                    <a:pt x="54" y="18"/>
                    <a:pt x="54" y="19"/>
                    <a:pt x="53" y="21"/>
                  </a:cubicBezTo>
                  <a:cubicBezTo>
                    <a:pt x="51" y="23"/>
                    <a:pt x="47" y="19"/>
                    <a:pt x="45" y="18"/>
                  </a:cubicBezTo>
                  <a:cubicBezTo>
                    <a:pt x="40" y="14"/>
                    <a:pt x="33" y="12"/>
                    <a:pt x="27" y="11"/>
                  </a:cubicBezTo>
                  <a:cubicBezTo>
                    <a:pt x="17" y="9"/>
                    <a:pt x="14" y="12"/>
                    <a:pt x="7" y="16"/>
                  </a:cubicBezTo>
                  <a:cubicBezTo>
                    <a:pt x="3" y="18"/>
                    <a:pt x="0" y="18"/>
                    <a:pt x="0" y="23"/>
                  </a:cubicBezTo>
                  <a:cubicBezTo>
                    <a:pt x="0" y="26"/>
                    <a:pt x="1" y="34"/>
                    <a:pt x="5" y="2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413">
              <a:extLst>
                <a:ext uri="{FF2B5EF4-FFF2-40B4-BE49-F238E27FC236}">
                  <a16:creationId xmlns:a16="http://schemas.microsoft.com/office/drawing/2014/main" id="{2553B100-6B17-46A2-AECD-7AB3CE6D4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8745" y="5705579"/>
              <a:ext cx="13347" cy="48940"/>
            </a:xfrm>
            <a:custGeom>
              <a:avLst/>
              <a:gdLst>
                <a:gd name="T0" fmla="*/ 5 w 7"/>
                <a:gd name="T1" fmla="*/ 0 h 23"/>
                <a:gd name="T2" fmla="*/ 4 w 7"/>
                <a:gd name="T3" fmla="*/ 23 h 23"/>
                <a:gd name="T4" fmla="*/ 5 w 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3">
                  <a:moveTo>
                    <a:pt x="5" y="0"/>
                  </a:moveTo>
                  <a:cubicBezTo>
                    <a:pt x="0" y="1"/>
                    <a:pt x="3" y="19"/>
                    <a:pt x="4" y="23"/>
                  </a:cubicBezTo>
                  <a:cubicBezTo>
                    <a:pt x="5" y="15"/>
                    <a:pt x="7" y="8"/>
                    <a:pt x="5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414">
              <a:extLst>
                <a:ext uri="{FF2B5EF4-FFF2-40B4-BE49-F238E27FC236}">
                  <a16:creationId xmlns:a16="http://schemas.microsoft.com/office/drawing/2014/main" id="{18655C59-3527-4F00-B5D7-BB478135B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8745" y="5705579"/>
              <a:ext cx="13347" cy="48940"/>
            </a:xfrm>
            <a:custGeom>
              <a:avLst/>
              <a:gdLst>
                <a:gd name="T0" fmla="*/ 5 w 7"/>
                <a:gd name="T1" fmla="*/ 0 h 23"/>
                <a:gd name="T2" fmla="*/ 4 w 7"/>
                <a:gd name="T3" fmla="*/ 23 h 23"/>
                <a:gd name="T4" fmla="*/ 5 w 7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23">
                  <a:moveTo>
                    <a:pt x="5" y="0"/>
                  </a:moveTo>
                  <a:cubicBezTo>
                    <a:pt x="0" y="1"/>
                    <a:pt x="3" y="19"/>
                    <a:pt x="4" y="23"/>
                  </a:cubicBezTo>
                  <a:cubicBezTo>
                    <a:pt x="5" y="15"/>
                    <a:pt x="7" y="8"/>
                    <a:pt x="5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415">
              <a:extLst>
                <a:ext uri="{FF2B5EF4-FFF2-40B4-BE49-F238E27FC236}">
                  <a16:creationId xmlns:a16="http://schemas.microsoft.com/office/drawing/2014/main" id="{CDDF11C6-2215-4C66-A77C-626610810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2092" y="5799010"/>
              <a:ext cx="8898" cy="8898"/>
            </a:xfrm>
            <a:custGeom>
              <a:avLst/>
              <a:gdLst>
                <a:gd name="T0" fmla="*/ 1 w 4"/>
                <a:gd name="T1" fmla="*/ 0 h 5"/>
                <a:gd name="T2" fmla="*/ 1 w 4"/>
                <a:gd name="T3" fmla="*/ 5 h 5"/>
                <a:gd name="T4" fmla="*/ 4 w 4"/>
                <a:gd name="T5" fmla="*/ 2 h 5"/>
                <a:gd name="T6" fmla="*/ 1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cubicBezTo>
                    <a:pt x="0" y="2"/>
                    <a:pt x="0" y="3"/>
                    <a:pt x="1" y="5"/>
                  </a:cubicBezTo>
                  <a:cubicBezTo>
                    <a:pt x="2" y="4"/>
                    <a:pt x="3" y="3"/>
                    <a:pt x="4" y="2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416">
              <a:extLst>
                <a:ext uri="{FF2B5EF4-FFF2-40B4-BE49-F238E27FC236}">
                  <a16:creationId xmlns:a16="http://schemas.microsoft.com/office/drawing/2014/main" id="{09FCA722-8A90-403D-B41E-DA114A836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2092" y="5799010"/>
              <a:ext cx="8898" cy="8898"/>
            </a:xfrm>
            <a:custGeom>
              <a:avLst/>
              <a:gdLst>
                <a:gd name="T0" fmla="*/ 1 w 4"/>
                <a:gd name="T1" fmla="*/ 0 h 5"/>
                <a:gd name="T2" fmla="*/ 1 w 4"/>
                <a:gd name="T3" fmla="*/ 5 h 5"/>
                <a:gd name="T4" fmla="*/ 4 w 4"/>
                <a:gd name="T5" fmla="*/ 2 h 5"/>
                <a:gd name="T6" fmla="*/ 1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cubicBezTo>
                    <a:pt x="0" y="2"/>
                    <a:pt x="0" y="3"/>
                    <a:pt x="1" y="5"/>
                  </a:cubicBezTo>
                  <a:cubicBezTo>
                    <a:pt x="2" y="4"/>
                    <a:pt x="3" y="3"/>
                    <a:pt x="4" y="2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417">
              <a:extLst>
                <a:ext uri="{FF2B5EF4-FFF2-40B4-BE49-F238E27FC236}">
                  <a16:creationId xmlns:a16="http://schemas.microsoft.com/office/drawing/2014/main" id="{19ADF3DE-BE6C-420D-9E58-CBA543CAB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176" y="5652190"/>
              <a:ext cx="22245" cy="31144"/>
            </a:xfrm>
            <a:custGeom>
              <a:avLst/>
              <a:gdLst>
                <a:gd name="T0" fmla="*/ 9 w 11"/>
                <a:gd name="T1" fmla="*/ 0 h 14"/>
                <a:gd name="T2" fmla="*/ 9 w 11"/>
                <a:gd name="T3" fmla="*/ 13 h 14"/>
                <a:gd name="T4" fmla="*/ 9 w 11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4">
                  <a:moveTo>
                    <a:pt x="9" y="0"/>
                  </a:moveTo>
                  <a:cubicBezTo>
                    <a:pt x="0" y="3"/>
                    <a:pt x="8" y="14"/>
                    <a:pt x="9" y="13"/>
                  </a:cubicBezTo>
                  <a:cubicBezTo>
                    <a:pt x="11" y="11"/>
                    <a:pt x="11" y="3"/>
                    <a:pt x="9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418">
              <a:extLst>
                <a:ext uri="{FF2B5EF4-FFF2-40B4-BE49-F238E27FC236}">
                  <a16:creationId xmlns:a16="http://schemas.microsoft.com/office/drawing/2014/main" id="{95902224-D8C2-4785-9A59-B71C6C7B9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176" y="5652190"/>
              <a:ext cx="22245" cy="31144"/>
            </a:xfrm>
            <a:custGeom>
              <a:avLst/>
              <a:gdLst>
                <a:gd name="T0" fmla="*/ 9 w 11"/>
                <a:gd name="T1" fmla="*/ 0 h 14"/>
                <a:gd name="T2" fmla="*/ 9 w 11"/>
                <a:gd name="T3" fmla="*/ 13 h 14"/>
                <a:gd name="T4" fmla="*/ 9 w 11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4">
                  <a:moveTo>
                    <a:pt x="9" y="0"/>
                  </a:moveTo>
                  <a:cubicBezTo>
                    <a:pt x="0" y="3"/>
                    <a:pt x="8" y="14"/>
                    <a:pt x="9" y="13"/>
                  </a:cubicBezTo>
                  <a:cubicBezTo>
                    <a:pt x="11" y="11"/>
                    <a:pt x="11" y="3"/>
                    <a:pt x="9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419">
              <a:extLst>
                <a:ext uri="{FF2B5EF4-FFF2-40B4-BE49-F238E27FC236}">
                  <a16:creationId xmlns:a16="http://schemas.microsoft.com/office/drawing/2014/main" id="{02CD8AA0-47CB-4759-B1F1-8BDBF9DB8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5523" y="5300712"/>
              <a:ext cx="8898" cy="8898"/>
            </a:xfrm>
            <a:custGeom>
              <a:avLst/>
              <a:gdLst>
                <a:gd name="T0" fmla="*/ 6 w 6"/>
                <a:gd name="T1" fmla="*/ 3 h 4"/>
                <a:gd name="T2" fmla="*/ 0 w 6"/>
                <a:gd name="T3" fmla="*/ 3 h 4"/>
                <a:gd name="T4" fmla="*/ 6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6" y="3"/>
                  </a:moveTo>
                  <a:cubicBezTo>
                    <a:pt x="4" y="0"/>
                    <a:pt x="0" y="0"/>
                    <a:pt x="0" y="3"/>
                  </a:cubicBezTo>
                  <a:cubicBezTo>
                    <a:pt x="2" y="4"/>
                    <a:pt x="4" y="4"/>
                    <a:pt x="6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420">
              <a:extLst>
                <a:ext uri="{FF2B5EF4-FFF2-40B4-BE49-F238E27FC236}">
                  <a16:creationId xmlns:a16="http://schemas.microsoft.com/office/drawing/2014/main" id="{BA6A7DAF-1C4D-450F-81D3-5D2B9B711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5523" y="5300712"/>
              <a:ext cx="8898" cy="8898"/>
            </a:xfrm>
            <a:custGeom>
              <a:avLst/>
              <a:gdLst>
                <a:gd name="T0" fmla="*/ 6 w 6"/>
                <a:gd name="T1" fmla="*/ 3 h 4"/>
                <a:gd name="T2" fmla="*/ 0 w 6"/>
                <a:gd name="T3" fmla="*/ 3 h 4"/>
                <a:gd name="T4" fmla="*/ 6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6" y="3"/>
                  </a:moveTo>
                  <a:cubicBezTo>
                    <a:pt x="4" y="0"/>
                    <a:pt x="0" y="0"/>
                    <a:pt x="0" y="3"/>
                  </a:cubicBezTo>
                  <a:cubicBezTo>
                    <a:pt x="2" y="4"/>
                    <a:pt x="4" y="4"/>
                    <a:pt x="6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421">
              <a:extLst>
                <a:ext uri="{FF2B5EF4-FFF2-40B4-BE49-F238E27FC236}">
                  <a16:creationId xmlns:a16="http://schemas.microsoft.com/office/drawing/2014/main" id="{0DF9BBD6-41BE-4ADE-BA35-1A1D9FB0B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7768" y="5612148"/>
              <a:ext cx="40042" cy="66736"/>
            </a:xfrm>
            <a:custGeom>
              <a:avLst/>
              <a:gdLst>
                <a:gd name="T0" fmla="*/ 9 w 18"/>
                <a:gd name="T1" fmla="*/ 30 h 30"/>
                <a:gd name="T2" fmla="*/ 12 w 18"/>
                <a:gd name="T3" fmla="*/ 24 h 30"/>
                <a:gd name="T4" fmla="*/ 15 w 18"/>
                <a:gd name="T5" fmla="*/ 14 h 30"/>
                <a:gd name="T6" fmla="*/ 13 w 18"/>
                <a:gd name="T7" fmla="*/ 3 h 30"/>
                <a:gd name="T8" fmla="*/ 5 w 18"/>
                <a:gd name="T9" fmla="*/ 8 h 30"/>
                <a:gd name="T10" fmla="*/ 4 w 18"/>
                <a:gd name="T11" fmla="*/ 19 h 30"/>
                <a:gd name="T12" fmla="*/ 1 w 18"/>
                <a:gd name="T13" fmla="*/ 27 h 30"/>
                <a:gd name="T14" fmla="*/ 7 w 18"/>
                <a:gd name="T15" fmla="*/ 26 h 30"/>
                <a:gd name="T16" fmla="*/ 9 w 1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0">
                  <a:moveTo>
                    <a:pt x="9" y="30"/>
                  </a:moveTo>
                  <a:cubicBezTo>
                    <a:pt x="10" y="29"/>
                    <a:pt x="13" y="26"/>
                    <a:pt x="12" y="24"/>
                  </a:cubicBezTo>
                  <a:cubicBezTo>
                    <a:pt x="10" y="20"/>
                    <a:pt x="14" y="18"/>
                    <a:pt x="15" y="14"/>
                  </a:cubicBezTo>
                  <a:cubicBezTo>
                    <a:pt x="15" y="13"/>
                    <a:pt x="18" y="0"/>
                    <a:pt x="13" y="3"/>
                  </a:cubicBezTo>
                  <a:cubicBezTo>
                    <a:pt x="10" y="4"/>
                    <a:pt x="7" y="6"/>
                    <a:pt x="5" y="8"/>
                  </a:cubicBezTo>
                  <a:cubicBezTo>
                    <a:pt x="1" y="11"/>
                    <a:pt x="7" y="15"/>
                    <a:pt x="4" y="19"/>
                  </a:cubicBezTo>
                  <a:cubicBezTo>
                    <a:pt x="3" y="21"/>
                    <a:pt x="0" y="25"/>
                    <a:pt x="1" y="27"/>
                  </a:cubicBezTo>
                  <a:cubicBezTo>
                    <a:pt x="2" y="30"/>
                    <a:pt x="7" y="29"/>
                    <a:pt x="7" y="26"/>
                  </a:cubicBezTo>
                  <a:cubicBezTo>
                    <a:pt x="8" y="27"/>
                    <a:pt x="8" y="29"/>
                    <a:pt x="9" y="3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422">
              <a:extLst>
                <a:ext uri="{FF2B5EF4-FFF2-40B4-BE49-F238E27FC236}">
                  <a16:creationId xmlns:a16="http://schemas.microsoft.com/office/drawing/2014/main" id="{55D7B78B-EAE7-4848-88A9-9B94B1213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7768" y="5612148"/>
              <a:ext cx="40042" cy="66736"/>
            </a:xfrm>
            <a:custGeom>
              <a:avLst/>
              <a:gdLst>
                <a:gd name="T0" fmla="*/ 9 w 18"/>
                <a:gd name="T1" fmla="*/ 30 h 30"/>
                <a:gd name="T2" fmla="*/ 12 w 18"/>
                <a:gd name="T3" fmla="*/ 24 h 30"/>
                <a:gd name="T4" fmla="*/ 15 w 18"/>
                <a:gd name="T5" fmla="*/ 14 h 30"/>
                <a:gd name="T6" fmla="*/ 13 w 18"/>
                <a:gd name="T7" fmla="*/ 3 h 30"/>
                <a:gd name="T8" fmla="*/ 5 w 18"/>
                <a:gd name="T9" fmla="*/ 8 h 30"/>
                <a:gd name="T10" fmla="*/ 4 w 18"/>
                <a:gd name="T11" fmla="*/ 19 h 30"/>
                <a:gd name="T12" fmla="*/ 1 w 18"/>
                <a:gd name="T13" fmla="*/ 27 h 30"/>
                <a:gd name="T14" fmla="*/ 7 w 18"/>
                <a:gd name="T15" fmla="*/ 26 h 30"/>
                <a:gd name="T16" fmla="*/ 9 w 1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0">
                  <a:moveTo>
                    <a:pt x="9" y="30"/>
                  </a:moveTo>
                  <a:cubicBezTo>
                    <a:pt x="10" y="29"/>
                    <a:pt x="13" y="26"/>
                    <a:pt x="12" y="24"/>
                  </a:cubicBezTo>
                  <a:cubicBezTo>
                    <a:pt x="10" y="20"/>
                    <a:pt x="14" y="18"/>
                    <a:pt x="15" y="14"/>
                  </a:cubicBezTo>
                  <a:cubicBezTo>
                    <a:pt x="15" y="13"/>
                    <a:pt x="18" y="0"/>
                    <a:pt x="13" y="3"/>
                  </a:cubicBezTo>
                  <a:cubicBezTo>
                    <a:pt x="10" y="4"/>
                    <a:pt x="7" y="6"/>
                    <a:pt x="5" y="8"/>
                  </a:cubicBezTo>
                  <a:cubicBezTo>
                    <a:pt x="1" y="11"/>
                    <a:pt x="7" y="15"/>
                    <a:pt x="4" y="19"/>
                  </a:cubicBezTo>
                  <a:cubicBezTo>
                    <a:pt x="3" y="21"/>
                    <a:pt x="0" y="25"/>
                    <a:pt x="1" y="27"/>
                  </a:cubicBezTo>
                  <a:cubicBezTo>
                    <a:pt x="2" y="30"/>
                    <a:pt x="7" y="29"/>
                    <a:pt x="7" y="26"/>
                  </a:cubicBezTo>
                  <a:cubicBezTo>
                    <a:pt x="8" y="27"/>
                    <a:pt x="8" y="29"/>
                    <a:pt x="9" y="3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423">
              <a:extLst>
                <a:ext uri="{FF2B5EF4-FFF2-40B4-BE49-F238E27FC236}">
                  <a16:creationId xmlns:a16="http://schemas.microsoft.com/office/drawing/2014/main" id="{D479B424-CC5D-477E-9C0D-056381D96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5565" y="5603250"/>
              <a:ext cx="48940" cy="93431"/>
            </a:xfrm>
            <a:custGeom>
              <a:avLst/>
              <a:gdLst>
                <a:gd name="T0" fmla="*/ 18 w 23"/>
                <a:gd name="T1" fmla="*/ 0 h 44"/>
                <a:gd name="T2" fmla="*/ 7 w 23"/>
                <a:gd name="T3" fmla="*/ 21 h 44"/>
                <a:gd name="T4" fmla="*/ 2 w 23"/>
                <a:gd name="T5" fmla="*/ 35 h 44"/>
                <a:gd name="T6" fmla="*/ 8 w 23"/>
                <a:gd name="T7" fmla="*/ 44 h 44"/>
                <a:gd name="T8" fmla="*/ 11 w 23"/>
                <a:gd name="T9" fmla="*/ 36 h 44"/>
                <a:gd name="T10" fmla="*/ 19 w 23"/>
                <a:gd name="T11" fmla="*/ 33 h 44"/>
                <a:gd name="T12" fmla="*/ 13 w 23"/>
                <a:gd name="T13" fmla="*/ 27 h 44"/>
                <a:gd name="T14" fmla="*/ 14 w 23"/>
                <a:gd name="T15" fmla="*/ 16 h 44"/>
                <a:gd name="T16" fmla="*/ 20 w 23"/>
                <a:gd name="T17" fmla="*/ 13 h 44"/>
                <a:gd name="T18" fmla="*/ 18 w 2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44">
                  <a:moveTo>
                    <a:pt x="18" y="0"/>
                  </a:moveTo>
                  <a:cubicBezTo>
                    <a:pt x="10" y="0"/>
                    <a:pt x="7" y="16"/>
                    <a:pt x="7" y="21"/>
                  </a:cubicBezTo>
                  <a:cubicBezTo>
                    <a:pt x="7" y="27"/>
                    <a:pt x="4" y="30"/>
                    <a:pt x="2" y="35"/>
                  </a:cubicBezTo>
                  <a:cubicBezTo>
                    <a:pt x="0" y="42"/>
                    <a:pt x="4" y="40"/>
                    <a:pt x="8" y="44"/>
                  </a:cubicBezTo>
                  <a:cubicBezTo>
                    <a:pt x="9" y="42"/>
                    <a:pt x="9" y="38"/>
                    <a:pt x="11" y="36"/>
                  </a:cubicBezTo>
                  <a:cubicBezTo>
                    <a:pt x="13" y="34"/>
                    <a:pt x="17" y="35"/>
                    <a:pt x="19" y="33"/>
                  </a:cubicBezTo>
                  <a:cubicBezTo>
                    <a:pt x="21" y="29"/>
                    <a:pt x="16" y="24"/>
                    <a:pt x="13" y="27"/>
                  </a:cubicBezTo>
                  <a:cubicBezTo>
                    <a:pt x="14" y="24"/>
                    <a:pt x="13" y="20"/>
                    <a:pt x="14" y="16"/>
                  </a:cubicBezTo>
                  <a:cubicBezTo>
                    <a:pt x="15" y="14"/>
                    <a:pt x="19" y="7"/>
                    <a:pt x="20" y="13"/>
                  </a:cubicBezTo>
                  <a:cubicBezTo>
                    <a:pt x="23" y="8"/>
                    <a:pt x="17" y="5"/>
                    <a:pt x="18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424">
              <a:extLst>
                <a:ext uri="{FF2B5EF4-FFF2-40B4-BE49-F238E27FC236}">
                  <a16:creationId xmlns:a16="http://schemas.microsoft.com/office/drawing/2014/main" id="{C411E25F-EB98-41D1-855D-95D628D23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5565" y="5603250"/>
              <a:ext cx="48940" cy="93431"/>
            </a:xfrm>
            <a:custGeom>
              <a:avLst/>
              <a:gdLst>
                <a:gd name="T0" fmla="*/ 18 w 23"/>
                <a:gd name="T1" fmla="*/ 0 h 44"/>
                <a:gd name="T2" fmla="*/ 7 w 23"/>
                <a:gd name="T3" fmla="*/ 21 h 44"/>
                <a:gd name="T4" fmla="*/ 2 w 23"/>
                <a:gd name="T5" fmla="*/ 35 h 44"/>
                <a:gd name="T6" fmla="*/ 8 w 23"/>
                <a:gd name="T7" fmla="*/ 44 h 44"/>
                <a:gd name="T8" fmla="*/ 11 w 23"/>
                <a:gd name="T9" fmla="*/ 36 h 44"/>
                <a:gd name="T10" fmla="*/ 19 w 23"/>
                <a:gd name="T11" fmla="*/ 33 h 44"/>
                <a:gd name="T12" fmla="*/ 13 w 23"/>
                <a:gd name="T13" fmla="*/ 27 h 44"/>
                <a:gd name="T14" fmla="*/ 14 w 23"/>
                <a:gd name="T15" fmla="*/ 16 h 44"/>
                <a:gd name="T16" fmla="*/ 20 w 23"/>
                <a:gd name="T17" fmla="*/ 13 h 44"/>
                <a:gd name="T18" fmla="*/ 18 w 23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44">
                  <a:moveTo>
                    <a:pt x="18" y="0"/>
                  </a:moveTo>
                  <a:cubicBezTo>
                    <a:pt x="10" y="0"/>
                    <a:pt x="7" y="16"/>
                    <a:pt x="7" y="21"/>
                  </a:cubicBezTo>
                  <a:cubicBezTo>
                    <a:pt x="7" y="27"/>
                    <a:pt x="4" y="30"/>
                    <a:pt x="2" y="35"/>
                  </a:cubicBezTo>
                  <a:cubicBezTo>
                    <a:pt x="0" y="42"/>
                    <a:pt x="4" y="40"/>
                    <a:pt x="8" y="44"/>
                  </a:cubicBezTo>
                  <a:cubicBezTo>
                    <a:pt x="9" y="42"/>
                    <a:pt x="9" y="38"/>
                    <a:pt x="11" y="36"/>
                  </a:cubicBezTo>
                  <a:cubicBezTo>
                    <a:pt x="13" y="34"/>
                    <a:pt x="17" y="35"/>
                    <a:pt x="19" y="33"/>
                  </a:cubicBezTo>
                  <a:cubicBezTo>
                    <a:pt x="21" y="29"/>
                    <a:pt x="16" y="24"/>
                    <a:pt x="13" y="27"/>
                  </a:cubicBezTo>
                  <a:cubicBezTo>
                    <a:pt x="14" y="24"/>
                    <a:pt x="13" y="20"/>
                    <a:pt x="14" y="16"/>
                  </a:cubicBezTo>
                  <a:cubicBezTo>
                    <a:pt x="15" y="14"/>
                    <a:pt x="19" y="7"/>
                    <a:pt x="20" y="13"/>
                  </a:cubicBezTo>
                  <a:cubicBezTo>
                    <a:pt x="23" y="8"/>
                    <a:pt x="17" y="5"/>
                    <a:pt x="18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425">
              <a:extLst>
                <a:ext uri="{FF2B5EF4-FFF2-40B4-BE49-F238E27FC236}">
                  <a16:creationId xmlns:a16="http://schemas.microsoft.com/office/drawing/2014/main" id="{4799AE23-7805-4F95-90FE-41E5897E6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5345203"/>
              <a:ext cx="48940" cy="48940"/>
            </a:xfrm>
            <a:custGeom>
              <a:avLst/>
              <a:gdLst>
                <a:gd name="T0" fmla="*/ 13 w 24"/>
                <a:gd name="T1" fmla="*/ 22 h 22"/>
                <a:gd name="T2" fmla="*/ 14 w 24"/>
                <a:gd name="T3" fmla="*/ 16 h 22"/>
                <a:gd name="T4" fmla="*/ 13 w 24"/>
                <a:gd name="T5" fmla="*/ 13 h 22"/>
                <a:gd name="T6" fmla="*/ 10 w 24"/>
                <a:gd name="T7" fmla="*/ 6 h 22"/>
                <a:gd name="T8" fmla="*/ 4 w 24"/>
                <a:gd name="T9" fmla="*/ 7 h 22"/>
                <a:gd name="T10" fmla="*/ 2 w 24"/>
                <a:gd name="T11" fmla="*/ 20 h 22"/>
                <a:gd name="T12" fmla="*/ 8 w 24"/>
                <a:gd name="T13" fmla="*/ 12 h 22"/>
                <a:gd name="T14" fmla="*/ 13 w 2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13" y="22"/>
                  </a:moveTo>
                  <a:cubicBezTo>
                    <a:pt x="13" y="20"/>
                    <a:pt x="13" y="18"/>
                    <a:pt x="14" y="16"/>
                  </a:cubicBezTo>
                  <a:cubicBezTo>
                    <a:pt x="24" y="22"/>
                    <a:pt x="22" y="0"/>
                    <a:pt x="13" y="13"/>
                  </a:cubicBezTo>
                  <a:cubicBezTo>
                    <a:pt x="10" y="9"/>
                    <a:pt x="16" y="8"/>
                    <a:pt x="10" y="6"/>
                  </a:cubicBezTo>
                  <a:cubicBezTo>
                    <a:pt x="8" y="6"/>
                    <a:pt x="6" y="5"/>
                    <a:pt x="4" y="7"/>
                  </a:cubicBezTo>
                  <a:cubicBezTo>
                    <a:pt x="0" y="9"/>
                    <a:pt x="1" y="16"/>
                    <a:pt x="2" y="20"/>
                  </a:cubicBezTo>
                  <a:cubicBezTo>
                    <a:pt x="5" y="19"/>
                    <a:pt x="7" y="15"/>
                    <a:pt x="8" y="12"/>
                  </a:cubicBezTo>
                  <a:cubicBezTo>
                    <a:pt x="11" y="15"/>
                    <a:pt x="8" y="22"/>
                    <a:pt x="13" y="2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426">
              <a:extLst>
                <a:ext uri="{FF2B5EF4-FFF2-40B4-BE49-F238E27FC236}">
                  <a16:creationId xmlns:a16="http://schemas.microsoft.com/office/drawing/2014/main" id="{EB6E5D6F-0A6E-4185-9B68-EE4E3561A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5345203"/>
              <a:ext cx="48940" cy="48940"/>
            </a:xfrm>
            <a:custGeom>
              <a:avLst/>
              <a:gdLst>
                <a:gd name="T0" fmla="*/ 13 w 24"/>
                <a:gd name="T1" fmla="*/ 22 h 22"/>
                <a:gd name="T2" fmla="*/ 14 w 24"/>
                <a:gd name="T3" fmla="*/ 16 h 22"/>
                <a:gd name="T4" fmla="*/ 13 w 24"/>
                <a:gd name="T5" fmla="*/ 13 h 22"/>
                <a:gd name="T6" fmla="*/ 10 w 24"/>
                <a:gd name="T7" fmla="*/ 6 h 22"/>
                <a:gd name="T8" fmla="*/ 4 w 24"/>
                <a:gd name="T9" fmla="*/ 7 h 22"/>
                <a:gd name="T10" fmla="*/ 2 w 24"/>
                <a:gd name="T11" fmla="*/ 20 h 22"/>
                <a:gd name="T12" fmla="*/ 8 w 24"/>
                <a:gd name="T13" fmla="*/ 12 h 22"/>
                <a:gd name="T14" fmla="*/ 13 w 2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2">
                  <a:moveTo>
                    <a:pt x="13" y="22"/>
                  </a:moveTo>
                  <a:cubicBezTo>
                    <a:pt x="13" y="20"/>
                    <a:pt x="13" y="18"/>
                    <a:pt x="14" y="16"/>
                  </a:cubicBezTo>
                  <a:cubicBezTo>
                    <a:pt x="24" y="22"/>
                    <a:pt x="22" y="0"/>
                    <a:pt x="13" y="13"/>
                  </a:cubicBezTo>
                  <a:cubicBezTo>
                    <a:pt x="10" y="9"/>
                    <a:pt x="16" y="8"/>
                    <a:pt x="10" y="6"/>
                  </a:cubicBezTo>
                  <a:cubicBezTo>
                    <a:pt x="8" y="6"/>
                    <a:pt x="6" y="5"/>
                    <a:pt x="4" y="7"/>
                  </a:cubicBezTo>
                  <a:cubicBezTo>
                    <a:pt x="0" y="9"/>
                    <a:pt x="1" y="16"/>
                    <a:pt x="2" y="20"/>
                  </a:cubicBezTo>
                  <a:cubicBezTo>
                    <a:pt x="5" y="19"/>
                    <a:pt x="7" y="15"/>
                    <a:pt x="8" y="12"/>
                  </a:cubicBezTo>
                  <a:cubicBezTo>
                    <a:pt x="11" y="15"/>
                    <a:pt x="8" y="22"/>
                    <a:pt x="13" y="2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427">
              <a:extLst>
                <a:ext uri="{FF2B5EF4-FFF2-40B4-BE49-F238E27FC236}">
                  <a16:creationId xmlns:a16="http://schemas.microsoft.com/office/drawing/2014/main" id="{03A197E7-5278-4221-A39A-C947EDCAF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5567657"/>
              <a:ext cx="22245" cy="26695"/>
            </a:xfrm>
            <a:custGeom>
              <a:avLst/>
              <a:gdLst>
                <a:gd name="T0" fmla="*/ 3 w 11"/>
                <a:gd name="T1" fmla="*/ 0 h 11"/>
                <a:gd name="T2" fmla="*/ 4 w 11"/>
                <a:gd name="T3" fmla="*/ 9 h 11"/>
                <a:gd name="T4" fmla="*/ 3 w 1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3" y="0"/>
                  </a:moveTo>
                  <a:cubicBezTo>
                    <a:pt x="0" y="1"/>
                    <a:pt x="0" y="7"/>
                    <a:pt x="4" y="9"/>
                  </a:cubicBezTo>
                  <a:cubicBezTo>
                    <a:pt x="8" y="11"/>
                    <a:pt x="11" y="1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428">
              <a:extLst>
                <a:ext uri="{FF2B5EF4-FFF2-40B4-BE49-F238E27FC236}">
                  <a16:creationId xmlns:a16="http://schemas.microsoft.com/office/drawing/2014/main" id="{BDAB6131-2D83-49A8-9F47-C5B57CC27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5567657"/>
              <a:ext cx="22245" cy="26695"/>
            </a:xfrm>
            <a:custGeom>
              <a:avLst/>
              <a:gdLst>
                <a:gd name="T0" fmla="*/ 3 w 11"/>
                <a:gd name="T1" fmla="*/ 0 h 11"/>
                <a:gd name="T2" fmla="*/ 4 w 11"/>
                <a:gd name="T3" fmla="*/ 9 h 11"/>
                <a:gd name="T4" fmla="*/ 3 w 11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1">
                  <a:moveTo>
                    <a:pt x="3" y="0"/>
                  </a:moveTo>
                  <a:cubicBezTo>
                    <a:pt x="0" y="1"/>
                    <a:pt x="0" y="7"/>
                    <a:pt x="4" y="9"/>
                  </a:cubicBezTo>
                  <a:cubicBezTo>
                    <a:pt x="8" y="11"/>
                    <a:pt x="11" y="1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429">
              <a:extLst>
                <a:ext uri="{FF2B5EF4-FFF2-40B4-BE49-F238E27FC236}">
                  <a16:creationId xmlns:a16="http://schemas.microsoft.com/office/drawing/2014/main" id="{545267F9-AAE0-4E5F-BACF-787E107EF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5879094"/>
              <a:ext cx="48940" cy="40042"/>
            </a:xfrm>
            <a:custGeom>
              <a:avLst/>
              <a:gdLst>
                <a:gd name="T0" fmla="*/ 6 w 22"/>
                <a:gd name="T1" fmla="*/ 7 h 19"/>
                <a:gd name="T2" fmla="*/ 8 w 22"/>
                <a:gd name="T3" fmla="*/ 10 h 19"/>
                <a:gd name="T4" fmla="*/ 1 w 22"/>
                <a:gd name="T5" fmla="*/ 15 h 19"/>
                <a:gd name="T6" fmla="*/ 10 w 22"/>
                <a:gd name="T7" fmla="*/ 17 h 19"/>
                <a:gd name="T8" fmla="*/ 22 w 22"/>
                <a:gd name="T9" fmla="*/ 6 h 19"/>
                <a:gd name="T10" fmla="*/ 10 w 22"/>
                <a:gd name="T11" fmla="*/ 10 h 19"/>
                <a:gd name="T12" fmla="*/ 6 w 22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9">
                  <a:moveTo>
                    <a:pt x="6" y="7"/>
                  </a:moveTo>
                  <a:cubicBezTo>
                    <a:pt x="7" y="8"/>
                    <a:pt x="7" y="9"/>
                    <a:pt x="8" y="10"/>
                  </a:cubicBezTo>
                  <a:cubicBezTo>
                    <a:pt x="6" y="10"/>
                    <a:pt x="2" y="12"/>
                    <a:pt x="1" y="15"/>
                  </a:cubicBezTo>
                  <a:cubicBezTo>
                    <a:pt x="0" y="19"/>
                    <a:pt x="9" y="16"/>
                    <a:pt x="10" y="17"/>
                  </a:cubicBezTo>
                  <a:cubicBezTo>
                    <a:pt x="10" y="12"/>
                    <a:pt x="18" y="7"/>
                    <a:pt x="22" y="6"/>
                  </a:cubicBezTo>
                  <a:cubicBezTo>
                    <a:pt x="17" y="0"/>
                    <a:pt x="14" y="8"/>
                    <a:pt x="10" y="10"/>
                  </a:cubicBezTo>
                  <a:cubicBezTo>
                    <a:pt x="12" y="6"/>
                    <a:pt x="9" y="6"/>
                    <a:pt x="6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430">
              <a:extLst>
                <a:ext uri="{FF2B5EF4-FFF2-40B4-BE49-F238E27FC236}">
                  <a16:creationId xmlns:a16="http://schemas.microsoft.com/office/drawing/2014/main" id="{FA458E96-A7E6-41B4-BCB0-A5E464C89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5879094"/>
              <a:ext cx="48940" cy="40042"/>
            </a:xfrm>
            <a:custGeom>
              <a:avLst/>
              <a:gdLst>
                <a:gd name="T0" fmla="*/ 6 w 22"/>
                <a:gd name="T1" fmla="*/ 7 h 19"/>
                <a:gd name="T2" fmla="*/ 8 w 22"/>
                <a:gd name="T3" fmla="*/ 10 h 19"/>
                <a:gd name="T4" fmla="*/ 1 w 22"/>
                <a:gd name="T5" fmla="*/ 15 h 19"/>
                <a:gd name="T6" fmla="*/ 10 w 22"/>
                <a:gd name="T7" fmla="*/ 17 h 19"/>
                <a:gd name="T8" fmla="*/ 22 w 22"/>
                <a:gd name="T9" fmla="*/ 6 h 19"/>
                <a:gd name="T10" fmla="*/ 10 w 22"/>
                <a:gd name="T11" fmla="*/ 10 h 19"/>
                <a:gd name="T12" fmla="*/ 6 w 22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9">
                  <a:moveTo>
                    <a:pt x="6" y="7"/>
                  </a:moveTo>
                  <a:cubicBezTo>
                    <a:pt x="7" y="8"/>
                    <a:pt x="7" y="9"/>
                    <a:pt x="8" y="10"/>
                  </a:cubicBezTo>
                  <a:cubicBezTo>
                    <a:pt x="6" y="10"/>
                    <a:pt x="2" y="12"/>
                    <a:pt x="1" y="15"/>
                  </a:cubicBezTo>
                  <a:cubicBezTo>
                    <a:pt x="0" y="19"/>
                    <a:pt x="9" y="16"/>
                    <a:pt x="10" y="17"/>
                  </a:cubicBezTo>
                  <a:cubicBezTo>
                    <a:pt x="10" y="12"/>
                    <a:pt x="18" y="7"/>
                    <a:pt x="22" y="6"/>
                  </a:cubicBezTo>
                  <a:cubicBezTo>
                    <a:pt x="17" y="0"/>
                    <a:pt x="14" y="8"/>
                    <a:pt x="10" y="10"/>
                  </a:cubicBezTo>
                  <a:cubicBezTo>
                    <a:pt x="12" y="6"/>
                    <a:pt x="9" y="6"/>
                    <a:pt x="6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431">
              <a:extLst>
                <a:ext uri="{FF2B5EF4-FFF2-40B4-BE49-F238E27FC236}">
                  <a16:creationId xmlns:a16="http://schemas.microsoft.com/office/drawing/2014/main" id="{B3056FE2-5EAF-438B-88CC-9621864F9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5607" y="5887992"/>
              <a:ext cx="271395" cy="160167"/>
            </a:xfrm>
            <a:custGeom>
              <a:avLst/>
              <a:gdLst>
                <a:gd name="T0" fmla="*/ 4 w 127"/>
                <a:gd name="T1" fmla="*/ 61 h 74"/>
                <a:gd name="T2" fmla="*/ 7 w 127"/>
                <a:gd name="T3" fmla="*/ 63 h 74"/>
                <a:gd name="T4" fmla="*/ 0 w 127"/>
                <a:gd name="T5" fmla="*/ 74 h 74"/>
                <a:gd name="T6" fmla="*/ 10 w 127"/>
                <a:gd name="T7" fmla="*/ 73 h 74"/>
                <a:gd name="T8" fmla="*/ 23 w 127"/>
                <a:gd name="T9" fmla="*/ 67 h 74"/>
                <a:gd name="T10" fmla="*/ 38 w 127"/>
                <a:gd name="T11" fmla="*/ 59 h 74"/>
                <a:gd name="T12" fmla="*/ 47 w 127"/>
                <a:gd name="T13" fmla="*/ 47 h 74"/>
                <a:gd name="T14" fmla="*/ 70 w 127"/>
                <a:gd name="T15" fmla="*/ 33 h 74"/>
                <a:gd name="T16" fmla="*/ 88 w 127"/>
                <a:gd name="T17" fmla="*/ 26 h 74"/>
                <a:gd name="T18" fmla="*/ 103 w 127"/>
                <a:gd name="T19" fmla="*/ 18 h 74"/>
                <a:gd name="T20" fmla="*/ 119 w 127"/>
                <a:gd name="T21" fmla="*/ 4 h 74"/>
                <a:gd name="T22" fmla="*/ 97 w 127"/>
                <a:gd name="T23" fmla="*/ 8 h 74"/>
                <a:gd name="T24" fmla="*/ 82 w 127"/>
                <a:gd name="T25" fmla="*/ 9 h 74"/>
                <a:gd name="T26" fmla="*/ 60 w 127"/>
                <a:gd name="T27" fmla="*/ 13 h 74"/>
                <a:gd name="T28" fmla="*/ 29 w 127"/>
                <a:gd name="T29" fmla="*/ 34 h 74"/>
                <a:gd name="T30" fmla="*/ 4 w 127"/>
                <a:gd name="T31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" h="74">
                  <a:moveTo>
                    <a:pt x="4" y="61"/>
                  </a:moveTo>
                  <a:cubicBezTo>
                    <a:pt x="5" y="62"/>
                    <a:pt x="5" y="64"/>
                    <a:pt x="7" y="63"/>
                  </a:cubicBezTo>
                  <a:cubicBezTo>
                    <a:pt x="8" y="67"/>
                    <a:pt x="0" y="68"/>
                    <a:pt x="0" y="74"/>
                  </a:cubicBezTo>
                  <a:cubicBezTo>
                    <a:pt x="3" y="73"/>
                    <a:pt x="7" y="74"/>
                    <a:pt x="10" y="73"/>
                  </a:cubicBezTo>
                  <a:cubicBezTo>
                    <a:pt x="15" y="72"/>
                    <a:pt x="18" y="67"/>
                    <a:pt x="23" y="67"/>
                  </a:cubicBezTo>
                  <a:cubicBezTo>
                    <a:pt x="30" y="67"/>
                    <a:pt x="33" y="65"/>
                    <a:pt x="38" y="59"/>
                  </a:cubicBezTo>
                  <a:cubicBezTo>
                    <a:pt x="41" y="56"/>
                    <a:pt x="46" y="51"/>
                    <a:pt x="47" y="47"/>
                  </a:cubicBezTo>
                  <a:cubicBezTo>
                    <a:pt x="49" y="40"/>
                    <a:pt x="64" y="35"/>
                    <a:pt x="70" y="33"/>
                  </a:cubicBezTo>
                  <a:cubicBezTo>
                    <a:pt x="76" y="31"/>
                    <a:pt x="82" y="27"/>
                    <a:pt x="88" y="26"/>
                  </a:cubicBezTo>
                  <a:cubicBezTo>
                    <a:pt x="95" y="26"/>
                    <a:pt x="98" y="21"/>
                    <a:pt x="103" y="18"/>
                  </a:cubicBezTo>
                  <a:cubicBezTo>
                    <a:pt x="107" y="17"/>
                    <a:pt x="127" y="9"/>
                    <a:pt x="119" y="4"/>
                  </a:cubicBezTo>
                  <a:cubicBezTo>
                    <a:pt x="113" y="0"/>
                    <a:pt x="103" y="10"/>
                    <a:pt x="97" y="8"/>
                  </a:cubicBezTo>
                  <a:cubicBezTo>
                    <a:pt x="92" y="7"/>
                    <a:pt x="88" y="10"/>
                    <a:pt x="82" y="9"/>
                  </a:cubicBezTo>
                  <a:cubicBezTo>
                    <a:pt x="75" y="9"/>
                    <a:pt x="67" y="10"/>
                    <a:pt x="60" y="13"/>
                  </a:cubicBezTo>
                  <a:cubicBezTo>
                    <a:pt x="48" y="18"/>
                    <a:pt x="43" y="31"/>
                    <a:pt x="29" y="34"/>
                  </a:cubicBezTo>
                  <a:cubicBezTo>
                    <a:pt x="15" y="37"/>
                    <a:pt x="8" y="49"/>
                    <a:pt x="4" y="6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432">
              <a:extLst>
                <a:ext uri="{FF2B5EF4-FFF2-40B4-BE49-F238E27FC236}">
                  <a16:creationId xmlns:a16="http://schemas.microsoft.com/office/drawing/2014/main" id="{B1E40B76-F8D8-4279-88FC-158FC60A5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5607" y="5887992"/>
              <a:ext cx="271395" cy="160167"/>
            </a:xfrm>
            <a:custGeom>
              <a:avLst/>
              <a:gdLst>
                <a:gd name="T0" fmla="*/ 4 w 127"/>
                <a:gd name="T1" fmla="*/ 61 h 74"/>
                <a:gd name="T2" fmla="*/ 7 w 127"/>
                <a:gd name="T3" fmla="*/ 63 h 74"/>
                <a:gd name="T4" fmla="*/ 0 w 127"/>
                <a:gd name="T5" fmla="*/ 74 h 74"/>
                <a:gd name="T6" fmla="*/ 10 w 127"/>
                <a:gd name="T7" fmla="*/ 73 h 74"/>
                <a:gd name="T8" fmla="*/ 23 w 127"/>
                <a:gd name="T9" fmla="*/ 67 h 74"/>
                <a:gd name="T10" fmla="*/ 38 w 127"/>
                <a:gd name="T11" fmla="*/ 59 h 74"/>
                <a:gd name="T12" fmla="*/ 47 w 127"/>
                <a:gd name="T13" fmla="*/ 47 h 74"/>
                <a:gd name="T14" fmla="*/ 70 w 127"/>
                <a:gd name="T15" fmla="*/ 33 h 74"/>
                <a:gd name="T16" fmla="*/ 88 w 127"/>
                <a:gd name="T17" fmla="*/ 26 h 74"/>
                <a:gd name="T18" fmla="*/ 103 w 127"/>
                <a:gd name="T19" fmla="*/ 18 h 74"/>
                <a:gd name="T20" fmla="*/ 119 w 127"/>
                <a:gd name="T21" fmla="*/ 4 h 74"/>
                <a:gd name="T22" fmla="*/ 97 w 127"/>
                <a:gd name="T23" fmla="*/ 8 h 74"/>
                <a:gd name="T24" fmla="*/ 82 w 127"/>
                <a:gd name="T25" fmla="*/ 9 h 74"/>
                <a:gd name="T26" fmla="*/ 60 w 127"/>
                <a:gd name="T27" fmla="*/ 13 h 74"/>
                <a:gd name="T28" fmla="*/ 29 w 127"/>
                <a:gd name="T29" fmla="*/ 34 h 74"/>
                <a:gd name="T30" fmla="*/ 4 w 127"/>
                <a:gd name="T31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" h="74">
                  <a:moveTo>
                    <a:pt x="4" y="61"/>
                  </a:moveTo>
                  <a:cubicBezTo>
                    <a:pt x="5" y="62"/>
                    <a:pt x="5" y="64"/>
                    <a:pt x="7" y="63"/>
                  </a:cubicBezTo>
                  <a:cubicBezTo>
                    <a:pt x="8" y="67"/>
                    <a:pt x="0" y="68"/>
                    <a:pt x="0" y="74"/>
                  </a:cubicBezTo>
                  <a:cubicBezTo>
                    <a:pt x="3" y="73"/>
                    <a:pt x="7" y="74"/>
                    <a:pt x="10" y="73"/>
                  </a:cubicBezTo>
                  <a:cubicBezTo>
                    <a:pt x="15" y="72"/>
                    <a:pt x="18" y="67"/>
                    <a:pt x="23" y="67"/>
                  </a:cubicBezTo>
                  <a:cubicBezTo>
                    <a:pt x="30" y="67"/>
                    <a:pt x="33" y="65"/>
                    <a:pt x="38" y="59"/>
                  </a:cubicBezTo>
                  <a:cubicBezTo>
                    <a:pt x="41" y="56"/>
                    <a:pt x="46" y="51"/>
                    <a:pt x="47" y="47"/>
                  </a:cubicBezTo>
                  <a:cubicBezTo>
                    <a:pt x="49" y="40"/>
                    <a:pt x="64" y="35"/>
                    <a:pt x="70" y="33"/>
                  </a:cubicBezTo>
                  <a:cubicBezTo>
                    <a:pt x="76" y="31"/>
                    <a:pt x="82" y="27"/>
                    <a:pt x="88" y="26"/>
                  </a:cubicBezTo>
                  <a:cubicBezTo>
                    <a:pt x="95" y="26"/>
                    <a:pt x="98" y="21"/>
                    <a:pt x="103" y="18"/>
                  </a:cubicBezTo>
                  <a:cubicBezTo>
                    <a:pt x="107" y="17"/>
                    <a:pt x="127" y="9"/>
                    <a:pt x="119" y="4"/>
                  </a:cubicBezTo>
                  <a:cubicBezTo>
                    <a:pt x="113" y="0"/>
                    <a:pt x="103" y="10"/>
                    <a:pt x="97" y="8"/>
                  </a:cubicBezTo>
                  <a:cubicBezTo>
                    <a:pt x="92" y="7"/>
                    <a:pt x="88" y="10"/>
                    <a:pt x="82" y="9"/>
                  </a:cubicBezTo>
                  <a:cubicBezTo>
                    <a:pt x="75" y="9"/>
                    <a:pt x="67" y="10"/>
                    <a:pt x="60" y="13"/>
                  </a:cubicBezTo>
                  <a:cubicBezTo>
                    <a:pt x="48" y="18"/>
                    <a:pt x="43" y="31"/>
                    <a:pt x="29" y="34"/>
                  </a:cubicBezTo>
                  <a:cubicBezTo>
                    <a:pt x="15" y="37"/>
                    <a:pt x="8" y="49"/>
                    <a:pt x="4" y="6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433">
              <a:extLst>
                <a:ext uri="{FF2B5EF4-FFF2-40B4-BE49-F238E27FC236}">
                  <a16:creationId xmlns:a16="http://schemas.microsoft.com/office/drawing/2014/main" id="{9DCA2C9F-C251-45CB-BAA2-85EBCE5DF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403" y="5362999"/>
              <a:ext cx="4449" cy="4449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1"/>
                    <a:pt x="0" y="1"/>
                    <a:pt x="1" y="3"/>
                  </a:cubicBezTo>
                  <a:cubicBezTo>
                    <a:pt x="1" y="2"/>
                    <a:pt x="1" y="1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434">
              <a:extLst>
                <a:ext uri="{FF2B5EF4-FFF2-40B4-BE49-F238E27FC236}">
                  <a16:creationId xmlns:a16="http://schemas.microsoft.com/office/drawing/2014/main" id="{8A22AFAF-80B5-4296-A302-D95530B16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403" y="5362999"/>
              <a:ext cx="4449" cy="4449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1"/>
                    <a:pt x="0" y="1"/>
                    <a:pt x="1" y="3"/>
                  </a:cubicBezTo>
                  <a:cubicBezTo>
                    <a:pt x="1" y="2"/>
                    <a:pt x="1" y="1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435">
              <a:extLst>
                <a:ext uri="{FF2B5EF4-FFF2-40B4-BE49-F238E27FC236}">
                  <a16:creationId xmlns:a16="http://schemas.microsoft.com/office/drawing/2014/main" id="{E0DD91A6-66F2-4B61-97DE-085215C06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7852" y="5398592"/>
              <a:ext cx="4449" cy="444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1" y="2"/>
                    <a:pt x="1" y="1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436">
              <a:extLst>
                <a:ext uri="{FF2B5EF4-FFF2-40B4-BE49-F238E27FC236}">
                  <a16:creationId xmlns:a16="http://schemas.microsoft.com/office/drawing/2014/main" id="{FF2CC9A7-BDAD-4C75-A484-E8FE20888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7852" y="5398592"/>
              <a:ext cx="4449" cy="444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1" y="2"/>
                    <a:pt x="1" y="1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437">
              <a:extLst>
                <a:ext uri="{FF2B5EF4-FFF2-40B4-BE49-F238E27FC236}">
                  <a16:creationId xmlns:a16="http://schemas.microsoft.com/office/drawing/2014/main" id="{6CB0FB01-C515-4D89-B2B0-4E03AC96B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5648" y="5887992"/>
              <a:ext cx="26695" cy="22245"/>
            </a:xfrm>
            <a:custGeom>
              <a:avLst/>
              <a:gdLst>
                <a:gd name="T0" fmla="*/ 1 w 13"/>
                <a:gd name="T1" fmla="*/ 5 h 12"/>
                <a:gd name="T2" fmla="*/ 0 w 13"/>
                <a:gd name="T3" fmla="*/ 9 h 12"/>
                <a:gd name="T4" fmla="*/ 5 w 13"/>
                <a:gd name="T5" fmla="*/ 12 h 12"/>
                <a:gd name="T6" fmla="*/ 9 w 13"/>
                <a:gd name="T7" fmla="*/ 0 h 12"/>
                <a:gd name="T8" fmla="*/ 1 w 13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" y="5"/>
                  </a:moveTo>
                  <a:cubicBezTo>
                    <a:pt x="0" y="6"/>
                    <a:pt x="0" y="8"/>
                    <a:pt x="0" y="9"/>
                  </a:cubicBezTo>
                  <a:cubicBezTo>
                    <a:pt x="2" y="9"/>
                    <a:pt x="4" y="10"/>
                    <a:pt x="5" y="12"/>
                  </a:cubicBezTo>
                  <a:cubicBezTo>
                    <a:pt x="8" y="10"/>
                    <a:pt x="13" y="4"/>
                    <a:pt x="9" y="0"/>
                  </a:cubicBezTo>
                  <a:cubicBezTo>
                    <a:pt x="8" y="4"/>
                    <a:pt x="5" y="4"/>
                    <a:pt x="1" y="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438">
              <a:extLst>
                <a:ext uri="{FF2B5EF4-FFF2-40B4-BE49-F238E27FC236}">
                  <a16:creationId xmlns:a16="http://schemas.microsoft.com/office/drawing/2014/main" id="{AF01B010-6301-47C0-9A4D-5EC1432AD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5648" y="5887992"/>
              <a:ext cx="26695" cy="22245"/>
            </a:xfrm>
            <a:custGeom>
              <a:avLst/>
              <a:gdLst>
                <a:gd name="T0" fmla="*/ 1 w 13"/>
                <a:gd name="T1" fmla="*/ 5 h 12"/>
                <a:gd name="T2" fmla="*/ 0 w 13"/>
                <a:gd name="T3" fmla="*/ 9 h 12"/>
                <a:gd name="T4" fmla="*/ 5 w 13"/>
                <a:gd name="T5" fmla="*/ 12 h 12"/>
                <a:gd name="T6" fmla="*/ 9 w 13"/>
                <a:gd name="T7" fmla="*/ 0 h 12"/>
                <a:gd name="T8" fmla="*/ 1 w 13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" y="5"/>
                  </a:moveTo>
                  <a:cubicBezTo>
                    <a:pt x="0" y="6"/>
                    <a:pt x="0" y="8"/>
                    <a:pt x="0" y="9"/>
                  </a:cubicBezTo>
                  <a:cubicBezTo>
                    <a:pt x="2" y="9"/>
                    <a:pt x="4" y="10"/>
                    <a:pt x="5" y="12"/>
                  </a:cubicBezTo>
                  <a:cubicBezTo>
                    <a:pt x="8" y="10"/>
                    <a:pt x="13" y="4"/>
                    <a:pt x="9" y="0"/>
                  </a:cubicBezTo>
                  <a:cubicBezTo>
                    <a:pt x="8" y="4"/>
                    <a:pt x="5" y="4"/>
                    <a:pt x="1" y="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439">
              <a:extLst>
                <a:ext uri="{FF2B5EF4-FFF2-40B4-BE49-F238E27FC236}">
                  <a16:creationId xmlns:a16="http://schemas.microsoft.com/office/drawing/2014/main" id="{D3E8927A-1213-4DFF-99B3-8C0851645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2343" y="5879094"/>
              <a:ext cx="57838" cy="26695"/>
            </a:xfrm>
            <a:custGeom>
              <a:avLst/>
              <a:gdLst>
                <a:gd name="T0" fmla="*/ 4 w 26"/>
                <a:gd name="T1" fmla="*/ 1 h 12"/>
                <a:gd name="T2" fmla="*/ 5 w 26"/>
                <a:gd name="T3" fmla="*/ 5 h 12"/>
                <a:gd name="T4" fmla="*/ 0 w 26"/>
                <a:gd name="T5" fmla="*/ 12 h 12"/>
                <a:gd name="T6" fmla="*/ 22 w 26"/>
                <a:gd name="T7" fmla="*/ 9 h 12"/>
                <a:gd name="T8" fmla="*/ 20 w 26"/>
                <a:gd name="T9" fmla="*/ 2 h 12"/>
                <a:gd name="T10" fmla="*/ 13 w 26"/>
                <a:gd name="T11" fmla="*/ 2 h 12"/>
                <a:gd name="T12" fmla="*/ 4 w 26"/>
                <a:gd name="T1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2">
                  <a:moveTo>
                    <a:pt x="4" y="1"/>
                  </a:moveTo>
                  <a:cubicBezTo>
                    <a:pt x="2" y="3"/>
                    <a:pt x="0" y="7"/>
                    <a:pt x="5" y="5"/>
                  </a:cubicBezTo>
                  <a:cubicBezTo>
                    <a:pt x="2" y="6"/>
                    <a:pt x="0" y="9"/>
                    <a:pt x="0" y="12"/>
                  </a:cubicBezTo>
                  <a:cubicBezTo>
                    <a:pt x="7" y="11"/>
                    <a:pt x="15" y="12"/>
                    <a:pt x="22" y="9"/>
                  </a:cubicBezTo>
                  <a:cubicBezTo>
                    <a:pt x="26" y="7"/>
                    <a:pt x="24" y="3"/>
                    <a:pt x="20" y="2"/>
                  </a:cubicBezTo>
                  <a:cubicBezTo>
                    <a:pt x="18" y="1"/>
                    <a:pt x="16" y="2"/>
                    <a:pt x="13" y="2"/>
                  </a:cubicBezTo>
                  <a:cubicBezTo>
                    <a:pt x="10" y="2"/>
                    <a:pt x="7" y="0"/>
                    <a:pt x="4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440">
              <a:extLst>
                <a:ext uri="{FF2B5EF4-FFF2-40B4-BE49-F238E27FC236}">
                  <a16:creationId xmlns:a16="http://schemas.microsoft.com/office/drawing/2014/main" id="{96746C5D-0356-4DF1-91F7-ABA739B39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2343" y="5879094"/>
              <a:ext cx="57838" cy="26695"/>
            </a:xfrm>
            <a:custGeom>
              <a:avLst/>
              <a:gdLst>
                <a:gd name="T0" fmla="*/ 4 w 26"/>
                <a:gd name="T1" fmla="*/ 1 h 12"/>
                <a:gd name="T2" fmla="*/ 5 w 26"/>
                <a:gd name="T3" fmla="*/ 5 h 12"/>
                <a:gd name="T4" fmla="*/ 0 w 26"/>
                <a:gd name="T5" fmla="*/ 12 h 12"/>
                <a:gd name="T6" fmla="*/ 22 w 26"/>
                <a:gd name="T7" fmla="*/ 9 h 12"/>
                <a:gd name="T8" fmla="*/ 20 w 26"/>
                <a:gd name="T9" fmla="*/ 2 h 12"/>
                <a:gd name="T10" fmla="*/ 13 w 26"/>
                <a:gd name="T11" fmla="*/ 2 h 12"/>
                <a:gd name="T12" fmla="*/ 4 w 26"/>
                <a:gd name="T1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2">
                  <a:moveTo>
                    <a:pt x="4" y="1"/>
                  </a:moveTo>
                  <a:cubicBezTo>
                    <a:pt x="2" y="3"/>
                    <a:pt x="0" y="7"/>
                    <a:pt x="5" y="5"/>
                  </a:cubicBezTo>
                  <a:cubicBezTo>
                    <a:pt x="2" y="6"/>
                    <a:pt x="0" y="9"/>
                    <a:pt x="0" y="12"/>
                  </a:cubicBezTo>
                  <a:cubicBezTo>
                    <a:pt x="7" y="11"/>
                    <a:pt x="15" y="12"/>
                    <a:pt x="22" y="9"/>
                  </a:cubicBezTo>
                  <a:cubicBezTo>
                    <a:pt x="26" y="7"/>
                    <a:pt x="24" y="3"/>
                    <a:pt x="20" y="2"/>
                  </a:cubicBezTo>
                  <a:cubicBezTo>
                    <a:pt x="18" y="1"/>
                    <a:pt x="16" y="2"/>
                    <a:pt x="13" y="2"/>
                  </a:cubicBezTo>
                  <a:cubicBezTo>
                    <a:pt x="10" y="2"/>
                    <a:pt x="7" y="0"/>
                    <a:pt x="4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441">
              <a:extLst>
                <a:ext uri="{FF2B5EF4-FFF2-40B4-BE49-F238E27FC236}">
                  <a16:creationId xmlns:a16="http://schemas.microsoft.com/office/drawing/2014/main" id="{C41EBCBC-A9D7-41E8-869A-F96CEC304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0139" y="5389694"/>
              <a:ext cx="71186" cy="35593"/>
            </a:xfrm>
            <a:custGeom>
              <a:avLst/>
              <a:gdLst>
                <a:gd name="T0" fmla="*/ 5 w 32"/>
                <a:gd name="T1" fmla="*/ 2 h 15"/>
                <a:gd name="T2" fmla="*/ 13 w 32"/>
                <a:gd name="T3" fmla="*/ 13 h 15"/>
                <a:gd name="T4" fmla="*/ 17 w 32"/>
                <a:gd name="T5" fmla="*/ 10 h 15"/>
                <a:gd name="T6" fmla="*/ 22 w 32"/>
                <a:gd name="T7" fmla="*/ 11 h 15"/>
                <a:gd name="T8" fmla="*/ 32 w 32"/>
                <a:gd name="T9" fmla="*/ 6 h 15"/>
                <a:gd name="T10" fmla="*/ 28 w 32"/>
                <a:gd name="T11" fmla="*/ 3 h 15"/>
                <a:gd name="T12" fmla="*/ 5 w 32"/>
                <a:gd name="T1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5">
                  <a:moveTo>
                    <a:pt x="5" y="2"/>
                  </a:moveTo>
                  <a:cubicBezTo>
                    <a:pt x="0" y="9"/>
                    <a:pt x="4" y="15"/>
                    <a:pt x="13" y="13"/>
                  </a:cubicBezTo>
                  <a:cubicBezTo>
                    <a:pt x="14" y="12"/>
                    <a:pt x="16" y="11"/>
                    <a:pt x="17" y="10"/>
                  </a:cubicBezTo>
                  <a:cubicBezTo>
                    <a:pt x="19" y="11"/>
                    <a:pt x="20" y="11"/>
                    <a:pt x="22" y="11"/>
                  </a:cubicBezTo>
                  <a:cubicBezTo>
                    <a:pt x="25" y="9"/>
                    <a:pt x="31" y="11"/>
                    <a:pt x="32" y="6"/>
                  </a:cubicBezTo>
                  <a:cubicBezTo>
                    <a:pt x="30" y="7"/>
                    <a:pt x="28" y="5"/>
                    <a:pt x="28" y="3"/>
                  </a:cubicBezTo>
                  <a:cubicBezTo>
                    <a:pt x="24" y="8"/>
                    <a:pt x="11" y="0"/>
                    <a:pt x="5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442">
              <a:extLst>
                <a:ext uri="{FF2B5EF4-FFF2-40B4-BE49-F238E27FC236}">
                  <a16:creationId xmlns:a16="http://schemas.microsoft.com/office/drawing/2014/main" id="{82764454-1898-43CA-9A95-97E35B48D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0139" y="5389694"/>
              <a:ext cx="71186" cy="35593"/>
            </a:xfrm>
            <a:custGeom>
              <a:avLst/>
              <a:gdLst>
                <a:gd name="T0" fmla="*/ 5 w 32"/>
                <a:gd name="T1" fmla="*/ 2 h 15"/>
                <a:gd name="T2" fmla="*/ 13 w 32"/>
                <a:gd name="T3" fmla="*/ 13 h 15"/>
                <a:gd name="T4" fmla="*/ 17 w 32"/>
                <a:gd name="T5" fmla="*/ 10 h 15"/>
                <a:gd name="T6" fmla="*/ 22 w 32"/>
                <a:gd name="T7" fmla="*/ 11 h 15"/>
                <a:gd name="T8" fmla="*/ 32 w 32"/>
                <a:gd name="T9" fmla="*/ 6 h 15"/>
                <a:gd name="T10" fmla="*/ 28 w 32"/>
                <a:gd name="T11" fmla="*/ 3 h 15"/>
                <a:gd name="T12" fmla="*/ 5 w 32"/>
                <a:gd name="T1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5">
                  <a:moveTo>
                    <a:pt x="5" y="2"/>
                  </a:moveTo>
                  <a:cubicBezTo>
                    <a:pt x="0" y="9"/>
                    <a:pt x="4" y="15"/>
                    <a:pt x="13" y="13"/>
                  </a:cubicBezTo>
                  <a:cubicBezTo>
                    <a:pt x="14" y="12"/>
                    <a:pt x="16" y="11"/>
                    <a:pt x="17" y="10"/>
                  </a:cubicBezTo>
                  <a:cubicBezTo>
                    <a:pt x="19" y="11"/>
                    <a:pt x="20" y="11"/>
                    <a:pt x="22" y="11"/>
                  </a:cubicBezTo>
                  <a:cubicBezTo>
                    <a:pt x="25" y="9"/>
                    <a:pt x="31" y="11"/>
                    <a:pt x="32" y="6"/>
                  </a:cubicBezTo>
                  <a:cubicBezTo>
                    <a:pt x="30" y="7"/>
                    <a:pt x="28" y="5"/>
                    <a:pt x="28" y="3"/>
                  </a:cubicBezTo>
                  <a:cubicBezTo>
                    <a:pt x="24" y="8"/>
                    <a:pt x="11" y="0"/>
                    <a:pt x="5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443">
              <a:extLst>
                <a:ext uri="{FF2B5EF4-FFF2-40B4-BE49-F238E27FC236}">
                  <a16:creationId xmlns:a16="http://schemas.microsoft.com/office/drawing/2014/main" id="{275E17AD-C32A-46F9-AD00-395EB548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1325" y="4984826"/>
              <a:ext cx="22245" cy="35593"/>
            </a:xfrm>
            <a:custGeom>
              <a:avLst/>
              <a:gdLst>
                <a:gd name="T0" fmla="*/ 8 w 10"/>
                <a:gd name="T1" fmla="*/ 15 h 15"/>
                <a:gd name="T2" fmla="*/ 0 w 10"/>
                <a:gd name="T3" fmla="*/ 5 h 15"/>
                <a:gd name="T4" fmla="*/ 8 w 10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8" y="15"/>
                  </a:moveTo>
                  <a:cubicBezTo>
                    <a:pt x="10" y="12"/>
                    <a:pt x="5" y="0"/>
                    <a:pt x="0" y="5"/>
                  </a:cubicBezTo>
                  <a:cubicBezTo>
                    <a:pt x="5" y="7"/>
                    <a:pt x="4" y="13"/>
                    <a:pt x="8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444">
              <a:extLst>
                <a:ext uri="{FF2B5EF4-FFF2-40B4-BE49-F238E27FC236}">
                  <a16:creationId xmlns:a16="http://schemas.microsoft.com/office/drawing/2014/main" id="{0CFF28A2-AFDA-494A-BF34-8642B1B3D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1325" y="4984826"/>
              <a:ext cx="22245" cy="35593"/>
            </a:xfrm>
            <a:custGeom>
              <a:avLst/>
              <a:gdLst>
                <a:gd name="T0" fmla="*/ 8 w 10"/>
                <a:gd name="T1" fmla="*/ 15 h 15"/>
                <a:gd name="T2" fmla="*/ 0 w 10"/>
                <a:gd name="T3" fmla="*/ 5 h 15"/>
                <a:gd name="T4" fmla="*/ 8 w 10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5">
                  <a:moveTo>
                    <a:pt x="8" y="15"/>
                  </a:moveTo>
                  <a:cubicBezTo>
                    <a:pt x="10" y="12"/>
                    <a:pt x="5" y="0"/>
                    <a:pt x="0" y="5"/>
                  </a:cubicBezTo>
                  <a:cubicBezTo>
                    <a:pt x="5" y="7"/>
                    <a:pt x="4" y="13"/>
                    <a:pt x="8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445">
              <a:extLst>
                <a:ext uri="{FF2B5EF4-FFF2-40B4-BE49-F238E27FC236}">
                  <a16:creationId xmlns:a16="http://schemas.microsoft.com/office/drawing/2014/main" id="{0447C7D4-4E09-4BC2-B1E4-0123E8A82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6876" y="5403041"/>
              <a:ext cx="66736" cy="13347"/>
            </a:xfrm>
            <a:custGeom>
              <a:avLst/>
              <a:gdLst>
                <a:gd name="T0" fmla="*/ 4 w 31"/>
                <a:gd name="T1" fmla="*/ 0 h 6"/>
                <a:gd name="T2" fmla="*/ 13 w 31"/>
                <a:gd name="T3" fmla="*/ 5 h 6"/>
                <a:gd name="T4" fmla="*/ 31 w 31"/>
                <a:gd name="T5" fmla="*/ 1 h 6"/>
                <a:gd name="T6" fmla="*/ 4 w 31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6">
                  <a:moveTo>
                    <a:pt x="4" y="0"/>
                  </a:moveTo>
                  <a:cubicBezTo>
                    <a:pt x="0" y="4"/>
                    <a:pt x="11" y="5"/>
                    <a:pt x="13" y="5"/>
                  </a:cubicBezTo>
                  <a:cubicBezTo>
                    <a:pt x="18" y="5"/>
                    <a:pt x="27" y="6"/>
                    <a:pt x="31" y="1"/>
                  </a:cubicBezTo>
                  <a:cubicBezTo>
                    <a:pt x="22" y="0"/>
                    <a:pt x="13" y="3"/>
                    <a:pt x="4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446">
              <a:extLst>
                <a:ext uri="{FF2B5EF4-FFF2-40B4-BE49-F238E27FC236}">
                  <a16:creationId xmlns:a16="http://schemas.microsoft.com/office/drawing/2014/main" id="{B15FAA48-D9CE-4E79-9254-4EEA63B42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6876" y="5403041"/>
              <a:ext cx="66736" cy="13347"/>
            </a:xfrm>
            <a:custGeom>
              <a:avLst/>
              <a:gdLst>
                <a:gd name="T0" fmla="*/ 4 w 31"/>
                <a:gd name="T1" fmla="*/ 0 h 6"/>
                <a:gd name="T2" fmla="*/ 13 w 31"/>
                <a:gd name="T3" fmla="*/ 5 h 6"/>
                <a:gd name="T4" fmla="*/ 31 w 31"/>
                <a:gd name="T5" fmla="*/ 1 h 6"/>
                <a:gd name="T6" fmla="*/ 4 w 31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6">
                  <a:moveTo>
                    <a:pt x="4" y="0"/>
                  </a:moveTo>
                  <a:cubicBezTo>
                    <a:pt x="0" y="4"/>
                    <a:pt x="11" y="5"/>
                    <a:pt x="13" y="5"/>
                  </a:cubicBezTo>
                  <a:cubicBezTo>
                    <a:pt x="18" y="5"/>
                    <a:pt x="27" y="6"/>
                    <a:pt x="31" y="1"/>
                  </a:cubicBezTo>
                  <a:cubicBezTo>
                    <a:pt x="22" y="0"/>
                    <a:pt x="13" y="3"/>
                    <a:pt x="4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447">
              <a:extLst>
                <a:ext uri="{FF2B5EF4-FFF2-40B4-BE49-F238E27FC236}">
                  <a16:creationId xmlns:a16="http://schemas.microsoft.com/office/drawing/2014/main" id="{C5160780-9447-4667-AA6A-3708D9550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223" y="5834603"/>
              <a:ext cx="66736" cy="40042"/>
            </a:xfrm>
            <a:custGeom>
              <a:avLst/>
              <a:gdLst>
                <a:gd name="T0" fmla="*/ 0 w 31"/>
                <a:gd name="T1" fmla="*/ 17 h 17"/>
                <a:gd name="T2" fmla="*/ 19 w 31"/>
                <a:gd name="T3" fmla="*/ 14 h 17"/>
                <a:gd name="T4" fmla="*/ 31 w 31"/>
                <a:gd name="T5" fmla="*/ 8 h 17"/>
                <a:gd name="T6" fmla="*/ 13 w 31"/>
                <a:gd name="T7" fmla="*/ 6 h 17"/>
                <a:gd name="T8" fmla="*/ 6 w 31"/>
                <a:gd name="T9" fmla="*/ 6 h 17"/>
                <a:gd name="T10" fmla="*/ 0 w 31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7">
                  <a:moveTo>
                    <a:pt x="0" y="17"/>
                  </a:moveTo>
                  <a:cubicBezTo>
                    <a:pt x="6" y="12"/>
                    <a:pt x="12" y="13"/>
                    <a:pt x="19" y="14"/>
                  </a:cubicBezTo>
                  <a:cubicBezTo>
                    <a:pt x="23" y="15"/>
                    <a:pt x="27" y="7"/>
                    <a:pt x="31" y="8"/>
                  </a:cubicBezTo>
                  <a:cubicBezTo>
                    <a:pt x="25" y="0"/>
                    <a:pt x="22" y="3"/>
                    <a:pt x="13" y="6"/>
                  </a:cubicBezTo>
                  <a:cubicBezTo>
                    <a:pt x="10" y="7"/>
                    <a:pt x="9" y="5"/>
                    <a:pt x="6" y="6"/>
                  </a:cubicBezTo>
                  <a:cubicBezTo>
                    <a:pt x="3" y="7"/>
                    <a:pt x="1" y="13"/>
                    <a:pt x="0" y="1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448">
              <a:extLst>
                <a:ext uri="{FF2B5EF4-FFF2-40B4-BE49-F238E27FC236}">
                  <a16:creationId xmlns:a16="http://schemas.microsoft.com/office/drawing/2014/main" id="{47D65D47-FC50-480F-8C1C-794E50EC1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0223" y="5834603"/>
              <a:ext cx="66736" cy="40042"/>
            </a:xfrm>
            <a:custGeom>
              <a:avLst/>
              <a:gdLst>
                <a:gd name="T0" fmla="*/ 0 w 31"/>
                <a:gd name="T1" fmla="*/ 17 h 17"/>
                <a:gd name="T2" fmla="*/ 19 w 31"/>
                <a:gd name="T3" fmla="*/ 14 h 17"/>
                <a:gd name="T4" fmla="*/ 31 w 31"/>
                <a:gd name="T5" fmla="*/ 8 h 17"/>
                <a:gd name="T6" fmla="*/ 13 w 31"/>
                <a:gd name="T7" fmla="*/ 6 h 17"/>
                <a:gd name="T8" fmla="*/ 6 w 31"/>
                <a:gd name="T9" fmla="*/ 6 h 17"/>
                <a:gd name="T10" fmla="*/ 0 w 31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7">
                  <a:moveTo>
                    <a:pt x="0" y="17"/>
                  </a:moveTo>
                  <a:cubicBezTo>
                    <a:pt x="6" y="12"/>
                    <a:pt x="12" y="13"/>
                    <a:pt x="19" y="14"/>
                  </a:cubicBezTo>
                  <a:cubicBezTo>
                    <a:pt x="23" y="15"/>
                    <a:pt x="27" y="7"/>
                    <a:pt x="31" y="8"/>
                  </a:cubicBezTo>
                  <a:cubicBezTo>
                    <a:pt x="25" y="0"/>
                    <a:pt x="22" y="3"/>
                    <a:pt x="13" y="6"/>
                  </a:cubicBezTo>
                  <a:cubicBezTo>
                    <a:pt x="10" y="7"/>
                    <a:pt x="9" y="5"/>
                    <a:pt x="6" y="6"/>
                  </a:cubicBezTo>
                  <a:cubicBezTo>
                    <a:pt x="3" y="7"/>
                    <a:pt x="1" y="13"/>
                    <a:pt x="0" y="1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449">
              <a:extLst>
                <a:ext uri="{FF2B5EF4-FFF2-40B4-BE49-F238E27FC236}">
                  <a16:creationId xmlns:a16="http://schemas.microsoft.com/office/drawing/2014/main" id="{789FB146-72B6-4FF0-B20B-A2AFC483B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8020" y="5420837"/>
              <a:ext cx="22245" cy="35593"/>
            </a:xfrm>
            <a:custGeom>
              <a:avLst/>
              <a:gdLst>
                <a:gd name="T0" fmla="*/ 7 w 10"/>
                <a:gd name="T1" fmla="*/ 0 h 17"/>
                <a:gd name="T2" fmla="*/ 9 w 10"/>
                <a:gd name="T3" fmla="*/ 17 h 17"/>
                <a:gd name="T4" fmla="*/ 7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7" y="0"/>
                  </a:moveTo>
                  <a:cubicBezTo>
                    <a:pt x="0" y="1"/>
                    <a:pt x="6" y="15"/>
                    <a:pt x="9" y="17"/>
                  </a:cubicBezTo>
                  <a:cubicBezTo>
                    <a:pt x="10" y="15"/>
                    <a:pt x="8" y="2"/>
                    <a:pt x="7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Freeform 450">
              <a:extLst>
                <a:ext uri="{FF2B5EF4-FFF2-40B4-BE49-F238E27FC236}">
                  <a16:creationId xmlns:a16="http://schemas.microsoft.com/office/drawing/2014/main" id="{E81A79B2-FD65-4E66-AD7F-D2991488A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8020" y="5420837"/>
              <a:ext cx="22245" cy="35593"/>
            </a:xfrm>
            <a:custGeom>
              <a:avLst/>
              <a:gdLst>
                <a:gd name="T0" fmla="*/ 7 w 10"/>
                <a:gd name="T1" fmla="*/ 0 h 17"/>
                <a:gd name="T2" fmla="*/ 9 w 10"/>
                <a:gd name="T3" fmla="*/ 17 h 17"/>
                <a:gd name="T4" fmla="*/ 7 w 10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7">
                  <a:moveTo>
                    <a:pt x="7" y="0"/>
                  </a:moveTo>
                  <a:cubicBezTo>
                    <a:pt x="0" y="1"/>
                    <a:pt x="6" y="15"/>
                    <a:pt x="9" y="17"/>
                  </a:cubicBezTo>
                  <a:cubicBezTo>
                    <a:pt x="10" y="15"/>
                    <a:pt x="8" y="2"/>
                    <a:pt x="7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Freeform 451">
              <a:extLst>
                <a:ext uri="{FF2B5EF4-FFF2-40B4-BE49-F238E27FC236}">
                  <a16:creationId xmlns:a16="http://schemas.microsoft.com/office/drawing/2014/main" id="{0A29617A-B02D-4CD5-963C-9496B2098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918" y="5496472"/>
              <a:ext cx="88982" cy="62287"/>
            </a:xfrm>
            <a:custGeom>
              <a:avLst/>
              <a:gdLst>
                <a:gd name="T0" fmla="*/ 22 w 41"/>
                <a:gd name="T1" fmla="*/ 28 h 28"/>
                <a:gd name="T2" fmla="*/ 38 w 41"/>
                <a:gd name="T3" fmla="*/ 20 h 28"/>
                <a:gd name="T4" fmla="*/ 34 w 41"/>
                <a:gd name="T5" fmla="*/ 10 h 28"/>
                <a:gd name="T6" fmla="*/ 26 w 41"/>
                <a:gd name="T7" fmla="*/ 2 h 28"/>
                <a:gd name="T8" fmla="*/ 9 w 41"/>
                <a:gd name="T9" fmla="*/ 3 h 28"/>
                <a:gd name="T10" fmla="*/ 3 w 41"/>
                <a:gd name="T11" fmla="*/ 14 h 28"/>
                <a:gd name="T12" fmla="*/ 22 w 41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8">
                  <a:moveTo>
                    <a:pt x="22" y="28"/>
                  </a:moveTo>
                  <a:cubicBezTo>
                    <a:pt x="26" y="26"/>
                    <a:pt x="35" y="24"/>
                    <a:pt x="38" y="20"/>
                  </a:cubicBezTo>
                  <a:cubicBezTo>
                    <a:pt x="41" y="15"/>
                    <a:pt x="39" y="11"/>
                    <a:pt x="34" y="10"/>
                  </a:cubicBezTo>
                  <a:cubicBezTo>
                    <a:pt x="38" y="6"/>
                    <a:pt x="29" y="3"/>
                    <a:pt x="26" y="2"/>
                  </a:cubicBezTo>
                  <a:cubicBezTo>
                    <a:pt x="20" y="0"/>
                    <a:pt x="15" y="2"/>
                    <a:pt x="9" y="3"/>
                  </a:cubicBezTo>
                  <a:cubicBezTo>
                    <a:pt x="2" y="4"/>
                    <a:pt x="0" y="7"/>
                    <a:pt x="3" y="14"/>
                  </a:cubicBezTo>
                  <a:cubicBezTo>
                    <a:pt x="7" y="22"/>
                    <a:pt x="15" y="24"/>
                    <a:pt x="22" y="2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452">
              <a:extLst>
                <a:ext uri="{FF2B5EF4-FFF2-40B4-BE49-F238E27FC236}">
                  <a16:creationId xmlns:a16="http://schemas.microsoft.com/office/drawing/2014/main" id="{9EF5F58A-4B94-486C-AE76-28CA4BCDC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6918" y="5496472"/>
              <a:ext cx="88982" cy="62287"/>
            </a:xfrm>
            <a:custGeom>
              <a:avLst/>
              <a:gdLst>
                <a:gd name="T0" fmla="*/ 22 w 41"/>
                <a:gd name="T1" fmla="*/ 28 h 28"/>
                <a:gd name="T2" fmla="*/ 38 w 41"/>
                <a:gd name="T3" fmla="*/ 20 h 28"/>
                <a:gd name="T4" fmla="*/ 34 w 41"/>
                <a:gd name="T5" fmla="*/ 10 h 28"/>
                <a:gd name="T6" fmla="*/ 26 w 41"/>
                <a:gd name="T7" fmla="*/ 2 h 28"/>
                <a:gd name="T8" fmla="*/ 9 w 41"/>
                <a:gd name="T9" fmla="*/ 3 h 28"/>
                <a:gd name="T10" fmla="*/ 3 w 41"/>
                <a:gd name="T11" fmla="*/ 14 h 28"/>
                <a:gd name="T12" fmla="*/ 22 w 41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8">
                  <a:moveTo>
                    <a:pt x="22" y="28"/>
                  </a:moveTo>
                  <a:cubicBezTo>
                    <a:pt x="26" y="26"/>
                    <a:pt x="35" y="24"/>
                    <a:pt x="38" y="20"/>
                  </a:cubicBezTo>
                  <a:cubicBezTo>
                    <a:pt x="41" y="15"/>
                    <a:pt x="39" y="11"/>
                    <a:pt x="34" y="10"/>
                  </a:cubicBezTo>
                  <a:cubicBezTo>
                    <a:pt x="38" y="6"/>
                    <a:pt x="29" y="3"/>
                    <a:pt x="26" y="2"/>
                  </a:cubicBezTo>
                  <a:cubicBezTo>
                    <a:pt x="20" y="0"/>
                    <a:pt x="15" y="2"/>
                    <a:pt x="9" y="3"/>
                  </a:cubicBezTo>
                  <a:cubicBezTo>
                    <a:pt x="2" y="4"/>
                    <a:pt x="0" y="7"/>
                    <a:pt x="3" y="14"/>
                  </a:cubicBezTo>
                  <a:cubicBezTo>
                    <a:pt x="7" y="22"/>
                    <a:pt x="15" y="24"/>
                    <a:pt x="22" y="2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Freeform 453">
              <a:extLst>
                <a:ext uri="{FF2B5EF4-FFF2-40B4-BE49-F238E27FC236}">
                  <a16:creationId xmlns:a16="http://schemas.microsoft.com/office/drawing/2014/main" id="{76AC3C57-039A-45A5-AE2D-2F1406AD0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1409" y="4926987"/>
              <a:ext cx="17796" cy="44491"/>
            </a:xfrm>
            <a:custGeom>
              <a:avLst/>
              <a:gdLst>
                <a:gd name="T0" fmla="*/ 3 w 7"/>
                <a:gd name="T1" fmla="*/ 21 h 21"/>
                <a:gd name="T2" fmla="*/ 7 w 7"/>
                <a:gd name="T3" fmla="*/ 9 h 21"/>
                <a:gd name="T4" fmla="*/ 2 w 7"/>
                <a:gd name="T5" fmla="*/ 5 h 21"/>
                <a:gd name="T6" fmla="*/ 4 w 7"/>
                <a:gd name="T7" fmla="*/ 15 h 21"/>
                <a:gd name="T8" fmla="*/ 3 w 7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1">
                  <a:moveTo>
                    <a:pt x="3" y="21"/>
                  </a:moveTo>
                  <a:cubicBezTo>
                    <a:pt x="7" y="18"/>
                    <a:pt x="7" y="13"/>
                    <a:pt x="7" y="9"/>
                  </a:cubicBezTo>
                  <a:cubicBezTo>
                    <a:pt x="6" y="7"/>
                    <a:pt x="5" y="0"/>
                    <a:pt x="2" y="5"/>
                  </a:cubicBezTo>
                  <a:cubicBezTo>
                    <a:pt x="1" y="9"/>
                    <a:pt x="5" y="12"/>
                    <a:pt x="4" y="15"/>
                  </a:cubicBezTo>
                  <a:cubicBezTo>
                    <a:pt x="3" y="17"/>
                    <a:pt x="0" y="19"/>
                    <a:pt x="3" y="2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Freeform 454">
              <a:extLst>
                <a:ext uri="{FF2B5EF4-FFF2-40B4-BE49-F238E27FC236}">
                  <a16:creationId xmlns:a16="http://schemas.microsoft.com/office/drawing/2014/main" id="{37501393-5568-4E3A-8AA5-DF09EAC4B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1409" y="4926987"/>
              <a:ext cx="17796" cy="44491"/>
            </a:xfrm>
            <a:custGeom>
              <a:avLst/>
              <a:gdLst>
                <a:gd name="T0" fmla="*/ 3 w 7"/>
                <a:gd name="T1" fmla="*/ 21 h 21"/>
                <a:gd name="T2" fmla="*/ 7 w 7"/>
                <a:gd name="T3" fmla="*/ 9 h 21"/>
                <a:gd name="T4" fmla="*/ 2 w 7"/>
                <a:gd name="T5" fmla="*/ 5 h 21"/>
                <a:gd name="T6" fmla="*/ 4 w 7"/>
                <a:gd name="T7" fmla="*/ 15 h 21"/>
                <a:gd name="T8" fmla="*/ 3 w 7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1">
                  <a:moveTo>
                    <a:pt x="3" y="21"/>
                  </a:moveTo>
                  <a:cubicBezTo>
                    <a:pt x="7" y="18"/>
                    <a:pt x="7" y="13"/>
                    <a:pt x="7" y="9"/>
                  </a:cubicBezTo>
                  <a:cubicBezTo>
                    <a:pt x="6" y="7"/>
                    <a:pt x="5" y="0"/>
                    <a:pt x="2" y="5"/>
                  </a:cubicBezTo>
                  <a:cubicBezTo>
                    <a:pt x="1" y="9"/>
                    <a:pt x="5" y="12"/>
                    <a:pt x="4" y="15"/>
                  </a:cubicBezTo>
                  <a:cubicBezTo>
                    <a:pt x="3" y="17"/>
                    <a:pt x="0" y="19"/>
                    <a:pt x="3" y="2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Freeform 455">
              <a:extLst>
                <a:ext uri="{FF2B5EF4-FFF2-40B4-BE49-F238E27FC236}">
                  <a16:creationId xmlns:a16="http://schemas.microsoft.com/office/drawing/2014/main" id="{773DD53C-6199-4A0F-A660-54AC0B195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2552" y="5287364"/>
              <a:ext cx="17796" cy="31144"/>
            </a:xfrm>
            <a:custGeom>
              <a:avLst/>
              <a:gdLst>
                <a:gd name="T0" fmla="*/ 7 w 7"/>
                <a:gd name="T1" fmla="*/ 2 h 14"/>
                <a:gd name="T2" fmla="*/ 3 w 7"/>
                <a:gd name="T3" fmla="*/ 10 h 14"/>
                <a:gd name="T4" fmla="*/ 7 w 7"/>
                <a:gd name="T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7" y="2"/>
                  </a:moveTo>
                  <a:cubicBezTo>
                    <a:pt x="3" y="0"/>
                    <a:pt x="0" y="8"/>
                    <a:pt x="3" y="10"/>
                  </a:cubicBezTo>
                  <a:cubicBezTo>
                    <a:pt x="7" y="14"/>
                    <a:pt x="7" y="4"/>
                    <a:pt x="7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Freeform 456">
              <a:extLst>
                <a:ext uri="{FF2B5EF4-FFF2-40B4-BE49-F238E27FC236}">
                  <a16:creationId xmlns:a16="http://schemas.microsoft.com/office/drawing/2014/main" id="{3AFE623A-4E2A-401F-BF00-98019EE48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2552" y="5287364"/>
              <a:ext cx="17796" cy="31144"/>
            </a:xfrm>
            <a:custGeom>
              <a:avLst/>
              <a:gdLst>
                <a:gd name="T0" fmla="*/ 7 w 7"/>
                <a:gd name="T1" fmla="*/ 2 h 14"/>
                <a:gd name="T2" fmla="*/ 3 w 7"/>
                <a:gd name="T3" fmla="*/ 10 h 14"/>
                <a:gd name="T4" fmla="*/ 7 w 7"/>
                <a:gd name="T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7" y="2"/>
                  </a:moveTo>
                  <a:cubicBezTo>
                    <a:pt x="3" y="0"/>
                    <a:pt x="0" y="8"/>
                    <a:pt x="3" y="10"/>
                  </a:cubicBezTo>
                  <a:cubicBezTo>
                    <a:pt x="7" y="14"/>
                    <a:pt x="7" y="4"/>
                    <a:pt x="7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Freeform 457">
              <a:extLst>
                <a:ext uri="{FF2B5EF4-FFF2-40B4-BE49-F238E27FC236}">
                  <a16:creationId xmlns:a16="http://schemas.microsoft.com/office/drawing/2014/main" id="{C04CDE64-7886-4966-B381-D96A13AA6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1451" y="5314059"/>
              <a:ext cx="13347" cy="17796"/>
            </a:xfrm>
            <a:custGeom>
              <a:avLst/>
              <a:gdLst>
                <a:gd name="T0" fmla="*/ 4 w 6"/>
                <a:gd name="T1" fmla="*/ 0 h 8"/>
                <a:gd name="T2" fmla="*/ 6 w 6"/>
                <a:gd name="T3" fmla="*/ 6 h 8"/>
                <a:gd name="T4" fmla="*/ 4 w 6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4" y="0"/>
                  </a:moveTo>
                  <a:cubicBezTo>
                    <a:pt x="0" y="2"/>
                    <a:pt x="2" y="8"/>
                    <a:pt x="6" y="6"/>
                  </a:cubicBezTo>
                  <a:cubicBezTo>
                    <a:pt x="6" y="4"/>
                    <a:pt x="5" y="2"/>
                    <a:pt x="4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458">
              <a:extLst>
                <a:ext uri="{FF2B5EF4-FFF2-40B4-BE49-F238E27FC236}">
                  <a16:creationId xmlns:a16="http://schemas.microsoft.com/office/drawing/2014/main" id="{5A8861DD-9B74-48AD-AA9F-87F413D12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1451" y="5314059"/>
              <a:ext cx="13347" cy="17796"/>
            </a:xfrm>
            <a:custGeom>
              <a:avLst/>
              <a:gdLst>
                <a:gd name="T0" fmla="*/ 4 w 6"/>
                <a:gd name="T1" fmla="*/ 0 h 8"/>
                <a:gd name="T2" fmla="*/ 6 w 6"/>
                <a:gd name="T3" fmla="*/ 6 h 8"/>
                <a:gd name="T4" fmla="*/ 4 w 6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4" y="0"/>
                  </a:moveTo>
                  <a:cubicBezTo>
                    <a:pt x="0" y="2"/>
                    <a:pt x="2" y="8"/>
                    <a:pt x="6" y="6"/>
                  </a:cubicBezTo>
                  <a:cubicBezTo>
                    <a:pt x="6" y="4"/>
                    <a:pt x="5" y="2"/>
                    <a:pt x="4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459">
              <a:extLst>
                <a:ext uri="{FF2B5EF4-FFF2-40B4-BE49-F238E27FC236}">
                  <a16:creationId xmlns:a16="http://schemas.microsoft.com/office/drawing/2014/main" id="{CCEFDC48-CC59-4971-ACFE-E8364F1BA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0349" y="5291813"/>
              <a:ext cx="53389" cy="48940"/>
            </a:xfrm>
            <a:custGeom>
              <a:avLst/>
              <a:gdLst>
                <a:gd name="T0" fmla="*/ 9 w 25"/>
                <a:gd name="T1" fmla="*/ 0 h 21"/>
                <a:gd name="T2" fmla="*/ 6 w 25"/>
                <a:gd name="T3" fmla="*/ 4 h 21"/>
                <a:gd name="T4" fmla="*/ 3 w 25"/>
                <a:gd name="T5" fmla="*/ 1 h 21"/>
                <a:gd name="T6" fmla="*/ 7 w 25"/>
                <a:gd name="T7" fmla="*/ 12 h 21"/>
                <a:gd name="T8" fmla="*/ 7 w 25"/>
                <a:gd name="T9" fmla="*/ 17 h 21"/>
                <a:gd name="T10" fmla="*/ 13 w 25"/>
                <a:gd name="T11" fmla="*/ 18 h 21"/>
                <a:gd name="T12" fmla="*/ 15 w 25"/>
                <a:gd name="T13" fmla="*/ 13 h 21"/>
                <a:gd name="T14" fmla="*/ 13 w 25"/>
                <a:gd name="T15" fmla="*/ 7 h 21"/>
                <a:gd name="T16" fmla="*/ 9 w 25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1">
                  <a:moveTo>
                    <a:pt x="9" y="0"/>
                  </a:moveTo>
                  <a:cubicBezTo>
                    <a:pt x="8" y="1"/>
                    <a:pt x="7" y="3"/>
                    <a:pt x="6" y="4"/>
                  </a:cubicBezTo>
                  <a:cubicBezTo>
                    <a:pt x="5" y="3"/>
                    <a:pt x="4" y="2"/>
                    <a:pt x="3" y="1"/>
                  </a:cubicBezTo>
                  <a:cubicBezTo>
                    <a:pt x="0" y="9"/>
                    <a:pt x="4" y="6"/>
                    <a:pt x="7" y="12"/>
                  </a:cubicBezTo>
                  <a:cubicBezTo>
                    <a:pt x="7" y="13"/>
                    <a:pt x="3" y="18"/>
                    <a:pt x="7" y="17"/>
                  </a:cubicBezTo>
                  <a:cubicBezTo>
                    <a:pt x="9" y="17"/>
                    <a:pt x="12" y="15"/>
                    <a:pt x="13" y="18"/>
                  </a:cubicBezTo>
                  <a:cubicBezTo>
                    <a:pt x="13" y="21"/>
                    <a:pt x="25" y="16"/>
                    <a:pt x="15" y="13"/>
                  </a:cubicBezTo>
                  <a:cubicBezTo>
                    <a:pt x="11" y="12"/>
                    <a:pt x="10" y="10"/>
                    <a:pt x="13" y="7"/>
                  </a:cubicBezTo>
                  <a:cubicBezTo>
                    <a:pt x="14" y="5"/>
                    <a:pt x="10" y="1"/>
                    <a:pt x="9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460">
              <a:extLst>
                <a:ext uri="{FF2B5EF4-FFF2-40B4-BE49-F238E27FC236}">
                  <a16:creationId xmlns:a16="http://schemas.microsoft.com/office/drawing/2014/main" id="{89830273-D11E-4DEE-8B0A-9D50445A2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0349" y="5291813"/>
              <a:ext cx="53389" cy="48940"/>
            </a:xfrm>
            <a:custGeom>
              <a:avLst/>
              <a:gdLst>
                <a:gd name="T0" fmla="*/ 9 w 25"/>
                <a:gd name="T1" fmla="*/ 0 h 21"/>
                <a:gd name="T2" fmla="*/ 6 w 25"/>
                <a:gd name="T3" fmla="*/ 4 h 21"/>
                <a:gd name="T4" fmla="*/ 3 w 25"/>
                <a:gd name="T5" fmla="*/ 1 h 21"/>
                <a:gd name="T6" fmla="*/ 7 w 25"/>
                <a:gd name="T7" fmla="*/ 12 h 21"/>
                <a:gd name="T8" fmla="*/ 7 w 25"/>
                <a:gd name="T9" fmla="*/ 17 h 21"/>
                <a:gd name="T10" fmla="*/ 13 w 25"/>
                <a:gd name="T11" fmla="*/ 18 h 21"/>
                <a:gd name="T12" fmla="*/ 15 w 25"/>
                <a:gd name="T13" fmla="*/ 13 h 21"/>
                <a:gd name="T14" fmla="*/ 13 w 25"/>
                <a:gd name="T15" fmla="*/ 7 h 21"/>
                <a:gd name="T16" fmla="*/ 9 w 25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1">
                  <a:moveTo>
                    <a:pt x="9" y="0"/>
                  </a:moveTo>
                  <a:cubicBezTo>
                    <a:pt x="8" y="1"/>
                    <a:pt x="7" y="3"/>
                    <a:pt x="6" y="4"/>
                  </a:cubicBezTo>
                  <a:cubicBezTo>
                    <a:pt x="5" y="3"/>
                    <a:pt x="4" y="2"/>
                    <a:pt x="3" y="1"/>
                  </a:cubicBezTo>
                  <a:cubicBezTo>
                    <a:pt x="0" y="9"/>
                    <a:pt x="4" y="6"/>
                    <a:pt x="7" y="12"/>
                  </a:cubicBezTo>
                  <a:cubicBezTo>
                    <a:pt x="7" y="13"/>
                    <a:pt x="3" y="18"/>
                    <a:pt x="7" y="17"/>
                  </a:cubicBezTo>
                  <a:cubicBezTo>
                    <a:pt x="9" y="17"/>
                    <a:pt x="12" y="15"/>
                    <a:pt x="13" y="18"/>
                  </a:cubicBezTo>
                  <a:cubicBezTo>
                    <a:pt x="13" y="21"/>
                    <a:pt x="25" y="16"/>
                    <a:pt x="15" y="13"/>
                  </a:cubicBezTo>
                  <a:cubicBezTo>
                    <a:pt x="11" y="12"/>
                    <a:pt x="10" y="10"/>
                    <a:pt x="13" y="7"/>
                  </a:cubicBezTo>
                  <a:cubicBezTo>
                    <a:pt x="14" y="5"/>
                    <a:pt x="10" y="1"/>
                    <a:pt x="9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461">
              <a:extLst>
                <a:ext uri="{FF2B5EF4-FFF2-40B4-BE49-F238E27FC236}">
                  <a16:creationId xmlns:a16="http://schemas.microsoft.com/office/drawing/2014/main" id="{2754FBF6-7531-4A44-8481-CA4AD0926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0349" y="5371897"/>
              <a:ext cx="66736" cy="31144"/>
            </a:xfrm>
            <a:custGeom>
              <a:avLst/>
              <a:gdLst>
                <a:gd name="T0" fmla="*/ 5 w 30"/>
                <a:gd name="T1" fmla="*/ 4 h 15"/>
                <a:gd name="T2" fmla="*/ 8 w 30"/>
                <a:gd name="T3" fmla="*/ 14 h 15"/>
                <a:gd name="T4" fmla="*/ 15 w 30"/>
                <a:gd name="T5" fmla="*/ 13 h 15"/>
                <a:gd name="T6" fmla="*/ 22 w 30"/>
                <a:gd name="T7" fmla="*/ 14 h 15"/>
                <a:gd name="T8" fmla="*/ 19 w 30"/>
                <a:gd name="T9" fmla="*/ 5 h 15"/>
                <a:gd name="T10" fmla="*/ 5 w 30"/>
                <a:gd name="T11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5" y="4"/>
                  </a:moveTo>
                  <a:cubicBezTo>
                    <a:pt x="0" y="7"/>
                    <a:pt x="3" y="14"/>
                    <a:pt x="8" y="14"/>
                  </a:cubicBezTo>
                  <a:cubicBezTo>
                    <a:pt x="10" y="15"/>
                    <a:pt x="12" y="13"/>
                    <a:pt x="15" y="13"/>
                  </a:cubicBezTo>
                  <a:cubicBezTo>
                    <a:pt x="17" y="13"/>
                    <a:pt x="19" y="14"/>
                    <a:pt x="22" y="14"/>
                  </a:cubicBezTo>
                  <a:cubicBezTo>
                    <a:pt x="30" y="14"/>
                    <a:pt x="22" y="6"/>
                    <a:pt x="19" y="5"/>
                  </a:cubicBezTo>
                  <a:cubicBezTo>
                    <a:pt x="14" y="2"/>
                    <a:pt x="10" y="0"/>
                    <a:pt x="5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462">
              <a:extLst>
                <a:ext uri="{FF2B5EF4-FFF2-40B4-BE49-F238E27FC236}">
                  <a16:creationId xmlns:a16="http://schemas.microsoft.com/office/drawing/2014/main" id="{F52BD3E4-C127-4F81-84DA-4694ACEC9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0349" y="5371897"/>
              <a:ext cx="66736" cy="31144"/>
            </a:xfrm>
            <a:custGeom>
              <a:avLst/>
              <a:gdLst>
                <a:gd name="T0" fmla="*/ 5 w 30"/>
                <a:gd name="T1" fmla="*/ 4 h 15"/>
                <a:gd name="T2" fmla="*/ 8 w 30"/>
                <a:gd name="T3" fmla="*/ 14 h 15"/>
                <a:gd name="T4" fmla="*/ 15 w 30"/>
                <a:gd name="T5" fmla="*/ 13 h 15"/>
                <a:gd name="T6" fmla="*/ 22 w 30"/>
                <a:gd name="T7" fmla="*/ 14 h 15"/>
                <a:gd name="T8" fmla="*/ 19 w 30"/>
                <a:gd name="T9" fmla="*/ 5 h 15"/>
                <a:gd name="T10" fmla="*/ 5 w 30"/>
                <a:gd name="T11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5" y="4"/>
                  </a:moveTo>
                  <a:cubicBezTo>
                    <a:pt x="0" y="7"/>
                    <a:pt x="3" y="14"/>
                    <a:pt x="8" y="14"/>
                  </a:cubicBezTo>
                  <a:cubicBezTo>
                    <a:pt x="10" y="15"/>
                    <a:pt x="12" y="13"/>
                    <a:pt x="15" y="13"/>
                  </a:cubicBezTo>
                  <a:cubicBezTo>
                    <a:pt x="17" y="13"/>
                    <a:pt x="19" y="14"/>
                    <a:pt x="22" y="14"/>
                  </a:cubicBezTo>
                  <a:cubicBezTo>
                    <a:pt x="30" y="14"/>
                    <a:pt x="22" y="6"/>
                    <a:pt x="19" y="5"/>
                  </a:cubicBezTo>
                  <a:cubicBezTo>
                    <a:pt x="14" y="2"/>
                    <a:pt x="10" y="0"/>
                    <a:pt x="5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463">
              <a:extLst>
                <a:ext uri="{FF2B5EF4-FFF2-40B4-BE49-F238E27FC236}">
                  <a16:creationId xmlns:a16="http://schemas.microsoft.com/office/drawing/2014/main" id="{576AE95D-9858-4F68-ACC6-4A4EBC599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9247" y="5109400"/>
              <a:ext cx="97880" cy="231353"/>
            </a:xfrm>
            <a:custGeom>
              <a:avLst/>
              <a:gdLst>
                <a:gd name="T0" fmla="*/ 9 w 45"/>
                <a:gd name="T1" fmla="*/ 75 h 107"/>
                <a:gd name="T2" fmla="*/ 11 w 45"/>
                <a:gd name="T3" fmla="*/ 86 h 107"/>
                <a:gd name="T4" fmla="*/ 17 w 45"/>
                <a:gd name="T5" fmla="*/ 94 h 107"/>
                <a:gd name="T6" fmla="*/ 30 w 45"/>
                <a:gd name="T7" fmla="*/ 105 h 107"/>
                <a:gd name="T8" fmla="*/ 16 w 45"/>
                <a:gd name="T9" fmla="*/ 67 h 107"/>
                <a:gd name="T10" fmla="*/ 23 w 45"/>
                <a:gd name="T11" fmla="*/ 60 h 107"/>
                <a:gd name="T12" fmla="*/ 45 w 45"/>
                <a:gd name="T13" fmla="*/ 66 h 107"/>
                <a:gd name="T14" fmla="*/ 37 w 45"/>
                <a:gd name="T15" fmla="*/ 56 h 107"/>
                <a:gd name="T16" fmla="*/ 28 w 45"/>
                <a:gd name="T17" fmla="*/ 46 h 107"/>
                <a:gd name="T18" fmla="*/ 40 w 45"/>
                <a:gd name="T19" fmla="*/ 35 h 107"/>
                <a:gd name="T20" fmla="*/ 40 w 45"/>
                <a:gd name="T21" fmla="*/ 21 h 107"/>
                <a:gd name="T22" fmla="*/ 22 w 45"/>
                <a:gd name="T23" fmla="*/ 32 h 107"/>
                <a:gd name="T24" fmla="*/ 20 w 45"/>
                <a:gd name="T25" fmla="*/ 37 h 107"/>
                <a:gd name="T26" fmla="*/ 15 w 45"/>
                <a:gd name="T27" fmla="*/ 46 h 107"/>
                <a:gd name="T28" fmla="*/ 8 w 45"/>
                <a:gd name="T29" fmla="*/ 44 h 107"/>
                <a:gd name="T30" fmla="*/ 13 w 45"/>
                <a:gd name="T31" fmla="*/ 36 h 107"/>
                <a:gd name="T32" fmla="*/ 19 w 45"/>
                <a:gd name="T33" fmla="*/ 16 h 107"/>
                <a:gd name="T34" fmla="*/ 14 w 45"/>
                <a:gd name="T35" fmla="*/ 9 h 107"/>
                <a:gd name="T36" fmla="*/ 18 w 45"/>
                <a:gd name="T37" fmla="*/ 0 h 107"/>
                <a:gd name="T38" fmla="*/ 6 w 45"/>
                <a:gd name="T39" fmla="*/ 14 h 107"/>
                <a:gd name="T40" fmla="*/ 1 w 45"/>
                <a:gd name="T41" fmla="*/ 36 h 107"/>
                <a:gd name="T42" fmla="*/ 4 w 45"/>
                <a:gd name="T43" fmla="*/ 44 h 107"/>
                <a:gd name="T44" fmla="*/ 7 w 45"/>
                <a:gd name="T45" fmla="*/ 47 h 107"/>
                <a:gd name="T46" fmla="*/ 5 w 45"/>
                <a:gd name="T47" fmla="*/ 55 h 107"/>
                <a:gd name="T48" fmla="*/ 9 w 45"/>
                <a:gd name="T49" fmla="*/ 64 h 107"/>
                <a:gd name="T50" fmla="*/ 9 w 45"/>
                <a:gd name="T51" fmla="*/ 7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" h="107">
                  <a:moveTo>
                    <a:pt x="9" y="75"/>
                  </a:moveTo>
                  <a:cubicBezTo>
                    <a:pt x="9" y="79"/>
                    <a:pt x="8" y="82"/>
                    <a:pt x="11" y="86"/>
                  </a:cubicBezTo>
                  <a:cubicBezTo>
                    <a:pt x="13" y="89"/>
                    <a:pt x="16" y="90"/>
                    <a:pt x="17" y="94"/>
                  </a:cubicBezTo>
                  <a:cubicBezTo>
                    <a:pt x="19" y="98"/>
                    <a:pt x="26" y="107"/>
                    <a:pt x="30" y="105"/>
                  </a:cubicBezTo>
                  <a:cubicBezTo>
                    <a:pt x="19" y="94"/>
                    <a:pt x="18" y="81"/>
                    <a:pt x="16" y="67"/>
                  </a:cubicBezTo>
                  <a:cubicBezTo>
                    <a:pt x="15" y="62"/>
                    <a:pt x="16" y="57"/>
                    <a:pt x="23" y="60"/>
                  </a:cubicBezTo>
                  <a:cubicBezTo>
                    <a:pt x="29" y="64"/>
                    <a:pt x="38" y="66"/>
                    <a:pt x="45" y="66"/>
                  </a:cubicBezTo>
                  <a:cubicBezTo>
                    <a:pt x="41" y="64"/>
                    <a:pt x="41" y="59"/>
                    <a:pt x="37" y="56"/>
                  </a:cubicBezTo>
                  <a:cubicBezTo>
                    <a:pt x="34" y="53"/>
                    <a:pt x="24" y="53"/>
                    <a:pt x="28" y="46"/>
                  </a:cubicBezTo>
                  <a:cubicBezTo>
                    <a:pt x="31" y="41"/>
                    <a:pt x="39" y="41"/>
                    <a:pt x="40" y="35"/>
                  </a:cubicBezTo>
                  <a:cubicBezTo>
                    <a:pt x="41" y="31"/>
                    <a:pt x="38" y="24"/>
                    <a:pt x="40" y="21"/>
                  </a:cubicBezTo>
                  <a:cubicBezTo>
                    <a:pt x="33" y="19"/>
                    <a:pt x="25" y="26"/>
                    <a:pt x="22" y="32"/>
                  </a:cubicBezTo>
                  <a:cubicBezTo>
                    <a:pt x="28" y="33"/>
                    <a:pt x="22" y="36"/>
                    <a:pt x="20" y="37"/>
                  </a:cubicBezTo>
                  <a:cubicBezTo>
                    <a:pt x="16" y="39"/>
                    <a:pt x="17" y="43"/>
                    <a:pt x="15" y="46"/>
                  </a:cubicBezTo>
                  <a:cubicBezTo>
                    <a:pt x="13" y="50"/>
                    <a:pt x="9" y="46"/>
                    <a:pt x="8" y="44"/>
                  </a:cubicBezTo>
                  <a:cubicBezTo>
                    <a:pt x="6" y="40"/>
                    <a:pt x="10" y="38"/>
                    <a:pt x="13" y="36"/>
                  </a:cubicBezTo>
                  <a:cubicBezTo>
                    <a:pt x="18" y="33"/>
                    <a:pt x="22" y="22"/>
                    <a:pt x="19" y="16"/>
                  </a:cubicBezTo>
                  <a:cubicBezTo>
                    <a:pt x="17" y="13"/>
                    <a:pt x="13" y="13"/>
                    <a:pt x="14" y="9"/>
                  </a:cubicBezTo>
                  <a:cubicBezTo>
                    <a:pt x="15" y="6"/>
                    <a:pt x="20" y="4"/>
                    <a:pt x="18" y="0"/>
                  </a:cubicBezTo>
                  <a:cubicBezTo>
                    <a:pt x="11" y="0"/>
                    <a:pt x="8" y="9"/>
                    <a:pt x="6" y="14"/>
                  </a:cubicBezTo>
                  <a:cubicBezTo>
                    <a:pt x="5" y="20"/>
                    <a:pt x="0" y="30"/>
                    <a:pt x="1" y="36"/>
                  </a:cubicBezTo>
                  <a:cubicBezTo>
                    <a:pt x="2" y="39"/>
                    <a:pt x="3" y="42"/>
                    <a:pt x="4" y="44"/>
                  </a:cubicBezTo>
                  <a:cubicBezTo>
                    <a:pt x="5" y="45"/>
                    <a:pt x="6" y="46"/>
                    <a:pt x="7" y="47"/>
                  </a:cubicBezTo>
                  <a:cubicBezTo>
                    <a:pt x="5" y="49"/>
                    <a:pt x="5" y="52"/>
                    <a:pt x="5" y="55"/>
                  </a:cubicBezTo>
                  <a:cubicBezTo>
                    <a:pt x="5" y="59"/>
                    <a:pt x="7" y="61"/>
                    <a:pt x="9" y="64"/>
                  </a:cubicBezTo>
                  <a:cubicBezTo>
                    <a:pt x="11" y="67"/>
                    <a:pt x="10" y="72"/>
                    <a:pt x="9" y="7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464">
              <a:extLst>
                <a:ext uri="{FF2B5EF4-FFF2-40B4-BE49-F238E27FC236}">
                  <a16:creationId xmlns:a16="http://schemas.microsoft.com/office/drawing/2014/main" id="{8E4728FB-C471-4368-A5DA-B041E8D56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9247" y="5109400"/>
              <a:ext cx="97880" cy="231353"/>
            </a:xfrm>
            <a:custGeom>
              <a:avLst/>
              <a:gdLst>
                <a:gd name="T0" fmla="*/ 9 w 45"/>
                <a:gd name="T1" fmla="*/ 75 h 107"/>
                <a:gd name="T2" fmla="*/ 11 w 45"/>
                <a:gd name="T3" fmla="*/ 86 h 107"/>
                <a:gd name="T4" fmla="*/ 17 w 45"/>
                <a:gd name="T5" fmla="*/ 94 h 107"/>
                <a:gd name="T6" fmla="*/ 30 w 45"/>
                <a:gd name="T7" fmla="*/ 105 h 107"/>
                <a:gd name="T8" fmla="*/ 16 w 45"/>
                <a:gd name="T9" fmla="*/ 67 h 107"/>
                <a:gd name="T10" fmla="*/ 23 w 45"/>
                <a:gd name="T11" fmla="*/ 60 h 107"/>
                <a:gd name="T12" fmla="*/ 45 w 45"/>
                <a:gd name="T13" fmla="*/ 66 h 107"/>
                <a:gd name="T14" fmla="*/ 37 w 45"/>
                <a:gd name="T15" fmla="*/ 56 h 107"/>
                <a:gd name="T16" fmla="*/ 28 w 45"/>
                <a:gd name="T17" fmla="*/ 46 h 107"/>
                <a:gd name="T18" fmla="*/ 40 w 45"/>
                <a:gd name="T19" fmla="*/ 35 h 107"/>
                <a:gd name="T20" fmla="*/ 40 w 45"/>
                <a:gd name="T21" fmla="*/ 21 h 107"/>
                <a:gd name="T22" fmla="*/ 22 w 45"/>
                <a:gd name="T23" fmla="*/ 32 h 107"/>
                <a:gd name="T24" fmla="*/ 20 w 45"/>
                <a:gd name="T25" fmla="*/ 37 h 107"/>
                <a:gd name="T26" fmla="*/ 15 w 45"/>
                <a:gd name="T27" fmla="*/ 46 h 107"/>
                <a:gd name="T28" fmla="*/ 8 w 45"/>
                <a:gd name="T29" fmla="*/ 44 h 107"/>
                <a:gd name="T30" fmla="*/ 13 w 45"/>
                <a:gd name="T31" fmla="*/ 36 h 107"/>
                <a:gd name="T32" fmla="*/ 19 w 45"/>
                <a:gd name="T33" fmla="*/ 16 h 107"/>
                <a:gd name="T34" fmla="*/ 14 w 45"/>
                <a:gd name="T35" fmla="*/ 9 h 107"/>
                <a:gd name="T36" fmla="*/ 18 w 45"/>
                <a:gd name="T37" fmla="*/ 0 h 107"/>
                <a:gd name="T38" fmla="*/ 6 w 45"/>
                <a:gd name="T39" fmla="*/ 14 h 107"/>
                <a:gd name="T40" fmla="*/ 1 w 45"/>
                <a:gd name="T41" fmla="*/ 36 h 107"/>
                <a:gd name="T42" fmla="*/ 4 w 45"/>
                <a:gd name="T43" fmla="*/ 44 h 107"/>
                <a:gd name="T44" fmla="*/ 7 w 45"/>
                <a:gd name="T45" fmla="*/ 47 h 107"/>
                <a:gd name="T46" fmla="*/ 5 w 45"/>
                <a:gd name="T47" fmla="*/ 55 h 107"/>
                <a:gd name="T48" fmla="*/ 9 w 45"/>
                <a:gd name="T49" fmla="*/ 64 h 107"/>
                <a:gd name="T50" fmla="*/ 9 w 45"/>
                <a:gd name="T51" fmla="*/ 7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" h="107">
                  <a:moveTo>
                    <a:pt x="9" y="75"/>
                  </a:moveTo>
                  <a:cubicBezTo>
                    <a:pt x="9" y="79"/>
                    <a:pt x="8" y="82"/>
                    <a:pt x="11" y="86"/>
                  </a:cubicBezTo>
                  <a:cubicBezTo>
                    <a:pt x="13" y="89"/>
                    <a:pt x="16" y="90"/>
                    <a:pt x="17" y="94"/>
                  </a:cubicBezTo>
                  <a:cubicBezTo>
                    <a:pt x="19" y="98"/>
                    <a:pt x="26" y="107"/>
                    <a:pt x="30" y="105"/>
                  </a:cubicBezTo>
                  <a:cubicBezTo>
                    <a:pt x="19" y="94"/>
                    <a:pt x="18" y="81"/>
                    <a:pt x="16" y="67"/>
                  </a:cubicBezTo>
                  <a:cubicBezTo>
                    <a:pt x="15" y="62"/>
                    <a:pt x="16" y="57"/>
                    <a:pt x="23" y="60"/>
                  </a:cubicBezTo>
                  <a:cubicBezTo>
                    <a:pt x="29" y="64"/>
                    <a:pt x="38" y="66"/>
                    <a:pt x="45" y="66"/>
                  </a:cubicBezTo>
                  <a:cubicBezTo>
                    <a:pt x="41" y="64"/>
                    <a:pt x="41" y="59"/>
                    <a:pt x="37" y="56"/>
                  </a:cubicBezTo>
                  <a:cubicBezTo>
                    <a:pt x="34" y="53"/>
                    <a:pt x="24" y="53"/>
                    <a:pt x="28" y="46"/>
                  </a:cubicBezTo>
                  <a:cubicBezTo>
                    <a:pt x="31" y="41"/>
                    <a:pt x="39" y="41"/>
                    <a:pt x="40" y="35"/>
                  </a:cubicBezTo>
                  <a:cubicBezTo>
                    <a:pt x="41" y="31"/>
                    <a:pt x="38" y="24"/>
                    <a:pt x="40" y="21"/>
                  </a:cubicBezTo>
                  <a:cubicBezTo>
                    <a:pt x="33" y="19"/>
                    <a:pt x="25" y="26"/>
                    <a:pt x="22" y="32"/>
                  </a:cubicBezTo>
                  <a:cubicBezTo>
                    <a:pt x="28" y="33"/>
                    <a:pt x="22" y="36"/>
                    <a:pt x="20" y="37"/>
                  </a:cubicBezTo>
                  <a:cubicBezTo>
                    <a:pt x="16" y="39"/>
                    <a:pt x="17" y="43"/>
                    <a:pt x="15" y="46"/>
                  </a:cubicBezTo>
                  <a:cubicBezTo>
                    <a:pt x="13" y="50"/>
                    <a:pt x="9" y="46"/>
                    <a:pt x="8" y="44"/>
                  </a:cubicBezTo>
                  <a:cubicBezTo>
                    <a:pt x="6" y="40"/>
                    <a:pt x="10" y="38"/>
                    <a:pt x="13" y="36"/>
                  </a:cubicBezTo>
                  <a:cubicBezTo>
                    <a:pt x="18" y="33"/>
                    <a:pt x="22" y="22"/>
                    <a:pt x="19" y="16"/>
                  </a:cubicBezTo>
                  <a:cubicBezTo>
                    <a:pt x="17" y="13"/>
                    <a:pt x="13" y="13"/>
                    <a:pt x="14" y="9"/>
                  </a:cubicBezTo>
                  <a:cubicBezTo>
                    <a:pt x="15" y="6"/>
                    <a:pt x="20" y="4"/>
                    <a:pt x="18" y="0"/>
                  </a:cubicBezTo>
                  <a:cubicBezTo>
                    <a:pt x="11" y="0"/>
                    <a:pt x="8" y="9"/>
                    <a:pt x="6" y="14"/>
                  </a:cubicBezTo>
                  <a:cubicBezTo>
                    <a:pt x="5" y="20"/>
                    <a:pt x="0" y="30"/>
                    <a:pt x="1" y="36"/>
                  </a:cubicBezTo>
                  <a:cubicBezTo>
                    <a:pt x="2" y="39"/>
                    <a:pt x="3" y="42"/>
                    <a:pt x="4" y="44"/>
                  </a:cubicBezTo>
                  <a:cubicBezTo>
                    <a:pt x="5" y="45"/>
                    <a:pt x="6" y="46"/>
                    <a:pt x="7" y="47"/>
                  </a:cubicBezTo>
                  <a:cubicBezTo>
                    <a:pt x="5" y="49"/>
                    <a:pt x="5" y="52"/>
                    <a:pt x="5" y="55"/>
                  </a:cubicBezTo>
                  <a:cubicBezTo>
                    <a:pt x="5" y="59"/>
                    <a:pt x="7" y="61"/>
                    <a:pt x="9" y="64"/>
                  </a:cubicBezTo>
                  <a:cubicBezTo>
                    <a:pt x="11" y="67"/>
                    <a:pt x="10" y="72"/>
                    <a:pt x="9" y="7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465">
              <a:extLst>
                <a:ext uri="{FF2B5EF4-FFF2-40B4-BE49-F238E27FC236}">
                  <a16:creationId xmlns:a16="http://schemas.microsoft.com/office/drawing/2014/main" id="{18571346-4FEF-47C5-80B3-D7E6B50BE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3696" y="5358550"/>
              <a:ext cx="13347" cy="8898"/>
            </a:xfrm>
            <a:custGeom>
              <a:avLst/>
              <a:gdLst>
                <a:gd name="T0" fmla="*/ 3 w 6"/>
                <a:gd name="T1" fmla="*/ 0 h 3"/>
                <a:gd name="T2" fmla="*/ 0 w 6"/>
                <a:gd name="T3" fmla="*/ 2 h 3"/>
                <a:gd name="T4" fmla="*/ 6 w 6"/>
                <a:gd name="T5" fmla="*/ 1 h 3"/>
                <a:gd name="T6" fmla="*/ 3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0"/>
                  </a:moveTo>
                  <a:cubicBezTo>
                    <a:pt x="2" y="1"/>
                    <a:pt x="1" y="2"/>
                    <a:pt x="0" y="2"/>
                  </a:cubicBezTo>
                  <a:cubicBezTo>
                    <a:pt x="2" y="3"/>
                    <a:pt x="4" y="2"/>
                    <a:pt x="6" y="1"/>
                  </a:cubicBezTo>
                  <a:cubicBezTo>
                    <a:pt x="5" y="1"/>
                    <a:pt x="4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466">
              <a:extLst>
                <a:ext uri="{FF2B5EF4-FFF2-40B4-BE49-F238E27FC236}">
                  <a16:creationId xmlns:a16="http://schemas.microsoft.com/office/drawing/2014/main" id="{3476FDC4-0928-4192-9D2B-017E69CAD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3696" y="5358550"/>
              <a:ext cx="13347" cy="8898"/>
            </a:xfrm>
            <a:custGeom>
              <a:avLst/>
              <a:gdLst>
                <a:gd name="T0" fmla="*/ 3 w 6"/>
                <a:gd name="T1" fmla="*/ 0 h 3"/>
                <a:gd name="T2" fmla="*/ 0 w 6"/>
                <a:gd name="T3" fmla="*/ 2 h 3"/>
                <a:gd name="T4" fmla="*/ 6 w 6"/>
                <a:gd name="T5" fmla="*/ 1 h 3"/>
                <a:gd name="T6" fmla="*/ 3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3" y="0"/>
                  </a:moveTo>
                  <a:cubicBezTo>
                    <a:pt x="2" y="1"/>
                    <a:pt x="1" y="2"/>
                    <a:pt x="0" y="2"/>
                  </a:cubicBezTo>
                  <a:cubicBezTo>
                    <a:pt x="2" y="3"/>
                    <a:pt x="4" y="2"/>
                    <a:pt x="6" y="1"/>
                  </a:cubicBezTo>
                  <a:cubicBezTo>
                    <a:pt x="5" y="1"/>
                    <a:pt x="4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467">
              <a:extLst>
                <a:ext uri="{FF2B5EF4-FFF2-40B4-BE49-F238E27FC236}">
                  <a16:creationId xmlns:a16="http://schemas.microsoft.com/office/drawing/2014/main" id="{5EC9A371-73E2-4490-BEF8-8CFA55B3A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1492" y="5887992"/>
              <a:ext cx="8898" cy="444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0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Freeform 468">
              <a:extLst>
                <a:ext uri="{FF2B5EF4-FFF2-40B4-BE49-F238E27FC236}">
                  <a16:creationId xmlns:a16="http://schemas.microsoft.com/office/drawing/2014/main" id="{650F9904-1CCC-4017-8571-148F9533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1492" y="5887992"/>
              <a:ext cx="8898" cy="444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0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Freeform 469">
              <a:extLst>
                <a:ext uri="{FF2B5EF4-FFF2-40B4-BE49-F238E27FC236}">
                  <a16:creationId xmlns:a16="http://schemas.microsoft.com/office/drawing/2014/main" id="{62E9AABA-641A-4020-9458-1FD9AF847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7043" y="5478675"/>
              <a:ext cx="209108" cy="88982"/>
            </a:xfrm>
            <a:custGeom>
              <a:avLst/>
              <a:gdLst>
                <a:gd name="T0" fmla="*/ 68 w 95"/>
                <a:gd name="T1" fmla="*/ 23 h 40"/>
                <a:gd name="T2" fmla="*/ 87 w 95"/>
                <a:gd name="T3" fmla="*/ 34 h 40"/>
                <a:gd name="T4" fmla="*/ 94 w 95"/>
                <a:gd name="T5" fmla="*/ 26 h 40"/>
                <a:gd name="T6" fmla="*/ 88 w 95"/>
                <a:gd name="T7" fmla="*/ 19 h 40"/>
                <a:gd name="T8" fmla="*/ 84 w 95"/>
                <a:gd name="T9" fmla="*/ 10 h 40"/>
                <a:gd name="T10" fmla="*/ 76 w 95"/>
                <a:gd name="T11" fmla="*/ 7 h 40"/>
                <a:gd name="T12" fmla="*/ 66 w 95"/>
                <a:gd name="T13" fmla="*/ 5 h 40"/>
                <a:gd name="T14" fmla="*/ 55 w 95"/>
                <a:gd name="T15" fmla="*/ 0 h 40"/>
                <a:gd name="T16" fmla="*/ 45 w 95"/>
                <a:gd name="T17" fmla="*/ 5 h 40"/>
                <a:gd name="T18" fmla="*/ 39 w 95"/>
                <a:gd name="T19" fmla="*/ 2 h 40"/>
                <a:gd name="T20" fmla="*/ 27 w 95"/>
                <a:gd name="T21" fmla="*/ 2 h 40"/>
                <a:gd name="T22" fmla="*/ 5 w 95"/>
                <a:gd name="T23" fmla="*/ 26 h 40"/>
                <a:gd name="T24" fmla="*/ 14 w 95"/>
                <a:gd name="T25" fmla="*/ 11 h 40"/>
                <a:gd name="T26" fmla="*/ 23 w 95"/>
                <a:gd name="T27" fmla="*/ 22 h 40"/>
                <a:gd name="T28" fmla="*/ 37 w 95"/>
                <a:gd name="T29" fmla="*/ 19 h 40"/>
                <a:gd name="T30" fmla="*/ 55 w 95"/>
                <a:gd name="T31" fmla="*/ 20 h 40"/>
                <a:gd name="T32" fmla="*/ 68 w 95"/>
                <a:gd name="T3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40">
                  <a:moveTo>
                    <a:pt x="68" y="23"/>
                  </a:moveTo>
                  <a:cubicBezTo>
                    <a:pt x="75" y="27"/>
                    <a:pt x="81" y="30"/>
                    <a:pt x="87" y="34"/>
                  </a:cubicBezTo>
                  <a:cubicBezTo>
                    <a:pt x="94" y="40"/>
                    <a:pt x="95" y="32"/>
                    <a:pt x="94" y="26"/>
                  </a:cubicBezTo>
                  <a:cubicBezTo>
                    <a:pt x="93" y="23"/>
                    <a:pt x="89" y="22"/>
                    <a:pt x="88" y="19"/>
                  </a:cubicBezTo>
                  <a:cubicBezTo>
                    <a:pt x="88" y="16"/>
                    <a:pt x="88" y="12"/>
                    <a:pt x="84" y="10"/>
                  </a:cubicBezTo>
                  <a:cubicBezTo>
                    <a:pt x="81" y="8"/>
                    <a:pt x="80" y="6"/>
                    <a:pt x="76" y="7"/>
                  </a:cubicBezTo>
                  <a:cubicBezTo>
                    <a:pt x="73" y="8"/>
                    <a:pt x="69" y="7"/>
                    <a:pt x="66" y="5"/>
                  </a:cubicBezTo>
                  <a:cubicBezTo>
                    <a:pt x="63" y="2"/>
                    <a:pt x="59" y="0"/>
                    <a:pt x="55" y="0"/>
                  </a:cubicBezTo>
                  <a:cubicBezTo>
                    <a:pt x="51" y="0"/>
                    <a:pt x="49" y="4"/>
                    <a:pt x="45" y="5"/>
                  </a:cubicBezTo>
                  <a:cubicBezTo>
                    <a:pt x="42" y="5"/>
                    <a:pt x="41" y="4"/>
                    <a:pt x="39" y="2"/>
                  </a:cubicBezTo>
                  <a:cubicBezTo>
                    <a:pt x="39" y="1"/>
                    <a:pt x="29" y="2"/>
                    <a:pt x="27" y="2"/>
                  </a:cubicBezTo>
                  <a:cubicBezTo>
                    <a:pt x="14" y="1"/>
                    <a:pt x="0" y="11"/>
                    <a:pt x="5" y="26"/>
                  </a:cubicBezTo>
                  <a:cubicBezTo>
                    <a:pt x="5" y="22"/>
                    <a:pt x="10" y="10"/>
                    <a:pt x="14" y="11"/>
                  </a:cubicBezTo>
                  <a:cubicBezTo>
                    <a:pt x="13" y="15"/>
                    <a:pt x="20" y="22"/>
                    <a:pt x="23" y="22"/>
                  </a:cubicBezTo>
                  <a:cubicBezTo>
                    <a:pt x="25" y="23"/>
                    <a:pt x="41" y="9"/>
                    <a:pt x="37" y="19"/>
                  </a:cubicBezTo>
                  <a:cubicBezTo>
                    <a:pt x="40" y="19"/>
                    <a:pt x="54" y="25"/>
                    <a:pt x="55" y="20"/>
                  </a:cubicBezTo>
                  <a:cubicBezTo>
                    <a:pt x="56" y="15"/>
                    <a:pt x="68" y="19"/>
                    <a:pt x="68" y="2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Freeform 470">
              <a:extLst>
                <a:ext uri="{FF2B5EF4-FFF2-40B4-BE49-F238E27FC236}">
                  <a16:creationId xmlns:a16="http://schemas.microsoft.com/office/drawing/2014/main" id="{FAF34764-2C92-4473-B94D-EF0B59D59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7043" y="5478675"/>
              <a:ext cx="209108" cy="88982"/>
            </a:xfrm>
            <a:custGeom>
              <a:avLst/>
              <a:gdLst>
                <a:gd name="T0" fmla="*/ 68 w 95"/>
                <a:gd name="T1" fmla="*/ 23 h 40"/>
                <a:gd name="T2" fmla="*/ 87 w 95"/>
                <a:gd name="T3" fmla="*/ 34 h 40"/>
                <a:gd name="T4" fmla="*/ 94 w 95"/>
                <a:gd name="T5" fmla="*/ 26 h 40"/>
                <a:gd name="T6" fmla="*/ 88 w 95"/>
                <a:gd name="T7" fmla="*/ 19 h 40"/>
                <a:gd name="T8" fmla="*/ 84 w 95"/>
                <a:gd name="T9" fmla="*/ 10 h 40"/>
                <a:gd name="T10" fmla="*/ 76 w 95"/>
                <a:gd name="T11" fmla="*/ 7 h 40"/>
                <a:gd name="T12" fmla="*/ 66 w 95"/>
                <a:gd name="T13" fmla="*/ 5 h 40"/>
                <a:gd name="T14" fmla="*/ 55 w 95"/>
                <a:gd name="T15" fmla="*/ 0 h 40"/>
                <a:gd name="T16" fmla="*/ 45 w 95"/>
                <a:gd name="T17" fmla="*/ 5 h 40"/>
                <a:gd name="T18" fmla="*/ 39 w 95"/>
                <a:gd name="T19" fmla="*/ 2 h 40"/>
                <a:gd name="T20" fmla="*/ 27 w 95"/>
                <a:gd name="T21" fmla="*/ 2 h 40"/>
                <a:gd name="T22" fmla="*/ 5 w 95"/>
                <a:gd name="T23" fmla="*/ 26 h 40"/>
                <a:gd name="T24" fmla="*/ 14 w 95"/>
                <a:gd name="T25" fmla="*/ 11 h 40"/>
                <a:gd name="T26" fmla="*/ 23 w 95"/>
                <a:gd name="T27" fmla="*/ 22 h 40"/>
                <a:gd name="T28" fmla="*/ 37 w 95"/>
                <a:gd name="T29" fmla="*/ 19 h 40"/>
                <a:gd name="T30" fmla="*/ 55 w 95"/>
                <a:gd name="T31" fmla="*/ 20 h 40"/>
                <a:gd name="T32" fmla="*/ 68 w 95"/>
                <a:gd name="T3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40">
                  <a:moveTo>
                    <a:pt x="68" y="23"/>
                  </a:moveTo>
                  <a:cubicBezTo>
                    <a:pt x="75" y="27"/>
                    <a:pt x="81" y="30"/>
                    <a:pt x="87" y="34"/>
                  </a:cubicBezTo>
                  <a:cubicBezTo>
                    <a:pt x="94" y="40"/>
                    <a:pt x="95" y="32"/>
                    <a:pt x="94" y="26"/>
                  </a:cubicBezTo>
                  <a:cubicBezTo>
                    <a:pt x="93" y="23"/>
                    <a:pt x="89" y="22"/>
                    <a:pt x="88" y="19"/>
                  </a:cubicBezTo>
                  <a:cubicBezTo>
                    <a:pt x="88" y="16"/>
                    <a:pt x="88" y="12"/>
                    <a:pt x="84" y="10"/>
                  </a:cubicBezTo>
                  <a:cubicBezTo>
                    <a:pt x="81" y="8"/>
                    <a:pt x="80" y="6"/>
                    <a:pt x="76" y="7"/>
                  </a:cubicBezTo>
                  <a:cubicBezTo>
                    <a:pt x="73" y="8"/>
                    <a:pt x="69" y="7"/>
                    <a:pt x="66" y="5"/>
                  </a:cubicBezTo>
                  <a:cubicBezTo>
                    <a:pt x="63" y="2"/>
                    <a:pt x="59" y="0"/>
                    <a:pt x="55" y="0"/>
                  </a:cubicBezTo>
                  <a:cubicBezTo>
                    <a:pt x="51" y="0"/>
                    <a:pt x="49" y="4"/>
                    <a:pt x="45" y="5"/>
                  </a:cubicBezTo>
                  <a:cubicBezTo>
                    <a:pt x="42" y="5"/>
                    <a:pt x="41" y="4"/>
                    <a:pt x="39" y="2"/>
                  </a:cubicBezTo>
                  <a:cubicBezTo>
                    <a:pt x="39" y="1"/>
                    <a:pt x="29" y="2"/>
                    <a:pt x="27" y="2"/>
                  </a:cubicBezTo>
                  <a:cubicBezTo>
                    <a:pt x="14" y="1"/>
                    <a:pt x="0" y="11"/>
                    <a:pt x="5" y="26"/>
                  </a:cubicBezTo>
                  <a:cubicBezTo>
                    <a:pt x="5" y="22"/>
                    <a:pt x="10" y="10"/>
                    <a:pt x="14" y="11"/>
                  </a:cubicBezTo>
                  <a:cubicBezTo>
                    <a:pt x="13" y="15"/>
                    <a:pt x="20" y="22"/>
                    <a:pt x="23" y="22"/>
                  </a:cubicBezTo>
                  <a:cubicBezTo>
                    <a:pt x="25" y="23"/>
                    <a:pt x="41" y="9"/>
                    <a:pt x="37" y="19"/>
                  </a:cubicBezTo>
                  <a:cubicBezTo>
                    <a:pt x="40" y="19"/>
                    <a:pt x="54" y="25"/>
                    <a:pt x="55" y="20"/>
                  </a:cubicBezTo>
                  <a:cubicBezTo>
                    <a:pt x="56" y="15"/>
                    <a:pt x="68" y="19"/>
                    <a:pt x="68" y="2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Freeform 471">
              <a:extLst>
                <a:ext uri="{FF2B5EF4-FFF2-40B4-BE49-F238E27FC236}">
                  <a16:creationId xmlns:a16="http://schemas.microsoft.com/office/drawing/2014/main" id="{318FCD92-A360-4D23-BCD6-D650A3F28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5941" y="5536514"/>
              <a:ext cx="31144" cy="17796"/>
            </a:xfrm>
            <a:custGeom>
              <a:avLst/>
              <a:gdLst>
                <a:gd name="T0" fmla="*/ 4 w 14"/>
                <a:gd name="T1" fmla="*/ 3 h 10"/>
                <a:gd name="T2" fmla="*/ 1 w 14"/>
                <a:gd name="T3" fmla="*/ 9 h 10"/>
                <a:gd name="T4" fmla="*/ 10 w 14"/>
                <a:gd name="T5" fmla="*/ 5 h 10"/>
                <a:gd name="T6" fmla="*/ 13 w 14"/>
                <a:gd name="T7" fmla="*/ 0 h 10"/>
                <a:gd name="T8" fmla="*/ 4 w 14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4" y="3"/>
                  </a:moveTo>
                  <a:cubicBezTo>
                    <a:pt x="2" y="4"/>
                    <a:pt x="0" y="6"/>
                    <a:pt x="1" y="9"/>
                  </a:cubicBezTo>
                  <a:cubicBezTo>
                    <a:pt x="4" y="8"/>
                    <a:pt x="6" y="5"/>
                    <a:pt x="10" y="5"/>
                  </a:cubicBezTo>
                  <a:cubicBezTo>
                    <a:pt x="7" y="10"/>
                    <a:pt x="14" y="5"/>
                    <a:pt x="13" y="0"/>
                  </a:cubicBezTo>
                  <a:cubicBezTo>
                    <a:pt x="10" y="0"/>
                    <a:pt x="8" y="3"/>
                    <a:pt x="4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Freeform 472">
              <a:extLst>
                <a:ext uri="{FF2B5EF4-FFF2-40B4-BE49-F238E27FC236}">
                  <a16:creationId xmlns:a16="http://schemas.microsoft.com/office/drawing/2014/main" id="{DB3E5FE9-6078-45F0-8561-135185ACD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5941" y="5536514"/>
              <a:ext cx="31144" cy="17796"/>
            </a:xfrm>
            <a:custGeom>
              <a:avLst/>
              <a:gdLst>
                <a:gd name="T0" fmla="*/ 4 w 14"/>
                <a:gd name="T1" fmla="*/ 3 h 10"/>
                <a:gd name="T2" fmla="*/ 1 w 14"/>
                <a:gd name="T3" fmla="*/ 9 h 10"/>
                <a:gd name="T4" fmla="*/ 10 w 14"/>
                <a:gd name="T5" fmla="*/ 5 h 10"/>
                <a:gd name="T6" fmla="*/ 13 w 14"/>
                <a:gd name="T7" fmla="*/ 0 h 10"/>
                <a:gd name="T8" fmla="*/ 4 w 14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4" y="3"/>
                  </a:moveTo>
                  <a:cubicBezTo>
                    <a:pt x="2" y="4"/>
                    <a:pt x="0" y="6"/>
                    <a:pt x="1" y="9"/>
                  </a:cubicBezTo>
                  <a:cubicBezTo>
                    <a:pt x="4" y="8"/>
                    <a:pt x="6" y="5"/>
                    <a:pt x="10" y="5"/>
                  </a:cubicBezTo>
                  <a:cubicBezTo>
                    <a:pt x="7" y="10"/>
                    <a:pt x="14" y="5"/>
                    <a:pt x="13" y="0"/>
                  </a:cubicBezTo>
                  <a:cubicBezTo>
                    <a:pt x="10" y="0"/>
                    <a:pt x="8" y="3"/>
                    <a:pt x="4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Freeform 473">
              <a:extLst>
                <a:ext uri="{FF2B5EF4-FFF2-40B4-BE49-F238E27FC236}">
                  <a16:creationId xmlns:a16="http://schemas.microsoft.com/office/drawing/2014/main" id="{758A9B94-216A-47E2-93FA-266365CA4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2636" y="5073808"/>
              <a:ext cx="35593" cy="44491"/>
            </a:xfrm>
            <a:custGeom>
              <a:avLst/>
              <a:gdLst>
                <a:gd name="T0" fmla="*/ 2 w 17"/>
                <a:gd name="T1" fmla="*/ 21 h 21"/>
                <a:gd name="T2" fmla="*/ 11 w 17"/>
                <a:gd name="T3" fmla="*/ 0 h 21"/>
                <a:gd name="T4" fmla="*/ 4 w 17"/>
                <a:gd name="T5" fmla="*/ 6 h 21"/>
                <a:gd name="T6" fmla="*/ 2 w 17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1">
                  <a:moveTo>
                    <a:pt x="2" y="21"/>
                  </a:moveTo>
                  <a:cubicBezTo>
                    <a:pt x="13" y="19"/>
                    <a:pt x="17" y="10"/>
                    <a:pt x="11" y="0"/>
                  </a:cubicBezTo>
                  <a:cubicBezTo>
                    <a:pt x="10" y="3"/>
                    <a:pt x="6" y="4"/>
                    <a:pt x="4" y="6"/>
                  </a:cubicBezTo>
                  <a:cubicBezTo>
                    <a:pt x="0" y="10"/>
                    <a:pt x="0" y="17"/>
                    <a:pt x="2" y="2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Freeform 474">
              <a:extLst>
                <a:ext uri="{FF2B5EF4-FFF2-40B4-BE49-F238E27FC236}">
                  <a16:creationId xmlns:a16="http://schemas.microsoft.com/office/drawing/2014/main" id="{1E13C88D-AFF8-4EA6-A3A3-6410E5517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2636" y="5073808"/>
              <a:ext cx="35593" cy="44491"/>
            </a:xfrm>
            <a:custGeom>
              <a:avLst/>
              <a:gdLst>
                <a:gd name="T0" fmla="*/ 2 w 17"/>
                <a:gd name="T1" fmla="*/ 21 h 21"/>
                <a:gd name="T2" fmla="*/ 11 w 17"/>
                <a:gd name="T3" fmla="*/ 0 h 21"/>
                <a:gd name="T4" fmla="*/ 4 w 17"/>
                <a:gd name="T5" fmla="*/ 6 h 21"/>
                <a:gd name="T6" fmla="*/ 2 w 17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1">
                  <a:moveTo>
                    <a:pt x="2" y="21"/>
                  </a:moveTo>
                  <a:cubicBezTo>
                    <a:pt x="13" y="19"/>
                    <a:pt x="17" y="10"/>
                    <a:pt x="11" y="0"/>
                  </a:cubicBezTo>
                  <a:cubicBezTo>
                    <a:pt x="10" y="3"/>
                    <a:pt x="6" y="4"/>
                    <a:pt x="4" y="6"/>
                  </a:cubicBezTo>
                  <a:cubicBezTo>
                    <a:pt x="0" y="10"/>
                    <a:pt x="0" y="17"/>
                    <a:pt x="2" y="2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Freeform 475">
              <a:extLst>
                <a:ext uri="{FF2B5EF4-FFF2-40B4-BE49-F238E27FC236}">
                  <a16:creationId xmlns:a16="http://schemas.microsoft.com/office/drawing/2014/main" id="{1EB83291-56E7-42D5-98BD-80A42FFD6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9373" y="5856849"/>
              <a:ext cx="22245" cy="17796"/>
            </a:xfrm>
            <a:custGeom>
              <a:avLst/>
              <a:gdLst>
                <a:gd name="T0" fmla="*/ 3 w 12"/>
                <a:gd name="T1" fmla="*/ 0 h 8"/>
                <a:gd name="T2" fmla="*/ 5 w 12"/>
                <a:gd name="T3" fmla="*/ 8 h 8"/>
                <a:gd name="T4" fmla="*/ 3 w 12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3" y="0"/>
                  </a:moveTo>
                  <a:cubicBezTo>
                    <a:pt x="0" y="2"/>
                    <a:pt x="2" y="8"/>
                    <a:pt x="5" y="8"/>
                  </a:cubicBezTo>
                  <a:cubicBezTo>
                    <a:pt x="12" y="8"/>
                    <a:pt x="9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Freeform 476">
              <a:extLst>
                <a:ext uri="{FF2B5EF4-FFF2-40B4-BE49-F238E27FC236}">
                  <a16:creationId xmlns:a16="http://schemas.microsoft.com/office/drawing/2014/main" id="{696A049E-07B4-43DA-92DA-A2736430E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9373" y="5856849"/>
              <a:ext cx="22245" cy="17796"/>
            </a:xfrm>
            <a:custGeom>
              <a:avLst/>
              <a:gdLst>
                <a:gd name="T0" fmla="*/ 3 w 12"/>
                <a:gd name="T1" fmla="*/ 0 h 8"/>
                <a:gd name="T2" fmla="*/ 5 w 12"/>
                <a:gd name="T3" fmla="*/ 8 h 8"/>
                <a:gd name="T4" fmla="*/ 3 w 12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3" y="0"/>
                  </a:moveTo>
                  <a:cubicBezTo>
                    <a:pt x="0" y="2"/>
                    <a:pt x="2" y="8"/>
                    <a:pt x="5" y="8"/>
                  </a:cubicBezTo>
                  <a:cubicBezTo>
                    <a:pt x="12" y="8"/>
                    <a:pt x="9" y="0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Freeform 477">
              <a:extLst>
                <a:ext uri="{FF2B5EF4-FFF2-40B4-BE49-F238E27FC236}">
                  <a16:creationId xmlns:a16="http://schemas.microsoft.com/office/drawing/2014/main" id="{A87D3E24-8858-46FD-A4EC-D67D8C470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0558" y="5265119"/>
              <a:ext cx="71186" cy="44491"/>
            </a:xfrm>
            <a:custGeom>
              <a:avLst/>
              <a:gdLst>
                <a:gd name="T0" fmla="*/ 13 w 32"/>
                <a:gd name="T1" fmla="*/ 17 h 21"/>
                <a:gd name="T2" fmla="*/ 10 w 32"/>
                <a:gd name="T3" fmla="*/ 6 h 21"/>
                <a:gd name="T4" fmla="*/ 18 w 32"/>
                <a:gd name="T5" fmla="*/ 12 h 21"/>
                <a:gd name="T6" fmla="*/ 25 w 32"/>
                <a:gd name="T7" fmla="*/ 14 h 21"/>
                <a:gd name="T8" fmla="*/ 28 w 32"/>
                <a:gd name="T9" fmla="*/ 6 h 21"/>
                <a:gd name="T10" fmla="*/ 0 w 32"/>
                <a:gd name="T11" fmla="*/ 8 h 21"/>
                <a:gd name="T12" fmla="*/ 0 w 32"/>
                <a:gd name="T13" fmla="*/ 10 h 21"/>
                <a:gd name="T14" fmla="*/ 7 w 32"/>
                <a:gd name="T15" fmla="*/ 17 h 21"/>
                <a:gd name="T16" fmla="*/ 11 w 32"/>
                <a:gd name="T17" fmla="*/ 13 h 21"/>
                <a:gd name="T18" fmla="*/ 13 w 32"/>
                <a:gd name="T1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21">
                  <a:moveTo>
                    <a:pt x="13" y="17"/>
                  </a:moveTo>
                  <a:cubicBezTo>
                    <a:pt x="25" y="21"/>
                    <a:pt x="13" y="9"/>
                    <a:pt x="10" y="6"/>
                  </a:cubicBezTo>
                  <a:cubicBezTo>
                    <a:pt x="14" y="6"/>
                    <a:pt x="16" y="10"/>
                    <a:pt x="18" y="12"/>
                  </a:cubicBezTo>
                  <a:cubicBezTo>
                    <a:pt x="21" y="16"/>
                    <a:pt x="22" y="12"/>
                    <a:pt x="25" y="14"/>
                  </a:cubicBezTo>
                  <a:cubicBezTo>
                    <a:pt x="32" y="17"/>
                    <a:pt x="32" y="8"/>
                    <a:pt x="28" y="6"/>
                  </a:cubicBezTo>
                  <a:cubicBezTo>
                    <a:pt x="23" y="3"/>
                    <a:pt x="1" y="0"/>
                    <a:pt x="0" y="8"/>
                  </a:cubicBezTo>
                  <a:cubicBezTo>
                    <a:pt x="6" y="5"/>
                    <a:pt x="3" y="11"/>
                    <a:pt x="0" y="10"/>
                  </a:cubicBezTo>
                  <a:cubicBezTo>
                    <a:pt x="2" y="13"/>
                    <a:pt x="9" y="11"/>
                    <a:pt x="7" y="17"/>
                  </a:cubicBezTo>
                  <a:cubicBezTo>
                    <a:pt x="8" y="15"/>
                    <a:pt x="9" y="13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478">
              <a:extLst>
                <a:ext uri="{FF2B5EF4-FFF2-40B4-BE49-F238E27FC236}">
                  <a16:creationId xmlns:a16="http://schemas.microsoft.com/office/drawing/2014/main" id="{87BFBB1C-2921-4627-8792-D0049A8FF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0558" y="5265119"/>
              <a:ext cx="71186" cy="44491"/>
            </a:xfrm>
            <a:custGeom>
              <a:avLst/>
              <a:gdLst>
                <a:gd name="T0" fmla="*/ 13 w 32"/>
                <a:gd name="T1" fmla="*/ 17 h 21"/>
                <a:gd name="T2" fmla="*/ 10 w 32"/>
                <a:gd name="T3" fmla="*/ 6 h 21"/>
                <a:gd name="T4" fmla="*/ 18 w 32"/>
                <a:gd name="T5" fmla="*/ 12 h 21"/>
                <a:gd name="T6" fmla="*/ 25 w 32"/>
                <a:gd name="T7" fmla="*/ 14 h 21"/>
                <a:gd name="T8" fmla="*/ 28 w 32"/>
                <a:gd name="T9" fmla="*/ 6 h 21"/>
                <a:gd name="T10" fmla="*/ 0 w 32"/>
                <a:gd name="T11" fmla="*/ 8 h 21"/>
                <a:gd name="T12" fmla="*/ 0 w 32"/>
                <a:gd name="T13" fmla="*/ 10 h 21"/>
                <a:gd name="T14" fmla="*/ 7 w 32"/>
                <a:gd name="T15" fmla="*/ 17 h 21"/>
                <a:gd name="T16" fmla="*/ 11 w 32"/>
                <a:gd name="T17" fmla="*/ 13 h 21"/>
                <a:gd name="T18" fmla="*/ 13 w 32"/>
                <a:gd name="T1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21">
                  <a:moveTo>
                    <a:pt x="13" y="17"/>
                  </a:moveTo>
                  <a:cubicBezTo>
                    <a:pt x="25" y="21"/>
                    <a:pt x="13" y="9"/>
                    <a:pt x="10" y="6"/>
                  </a:cubicBezTo>
                  <a:cubicBezTo>
                    <a:pt x="14" y="6"/>
                    <a:pt x="16" y="10"/>
                    <a:pt x="18" y="12"/>
                  </a:cubicBezTo>
                  <a:cubicBezTo>
                    <a:pt x="21" y="16"/>
                    <a:pt x="22" y="12"/>
                    <a:pt x="25" y="14"/>
                  </a:cubicBezTo>
                  <a:cubicBezTo>
                    <a:pt x="32" y="17"/>
                    <a:pt x="32" y="8"/>
                    <a:pt x="28" y="6"/>
                  </a:cubicBezTo>
                  <a:cubicBezTo>
                    <a:pt x="23" y="3"/>
                    <a:pt x="1" y="0"/>
                    <a:pt x="0" y="8"/>
                  </a:cubicBezTo>
                  <a:cubicBezTo>
                    <a:pt x="6" y="5"/>
                    <a:pt x="3" y="11"/>
                    <a:pt x="0" y="10"/>
                  </a:cubicBezTo>
                  <a:cubicBezTo>
                    <a:pt x="2" y="13"/>
                    <a:pt x="9" y="11"/>
                    <a:pt x="7" y="17"/>
                  </a:cubicBezTo>
                  <a:cubicBezTo>
                    <a:pt x="8" y="15"/>
                    <a:pt x="9" y="13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Freeform 479">
              <a:extLst>
                <a:ext uri="{FF2B5EF4-FFF2-40B4-BE49-F238E27FC236}">
                  <a16:creationId xmlns:a16="http://schemas.microsoft.com/office/drawing/2014/main" id="{644CEE1C-B113-4401-AC12-034666A2C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2804" y="5803459"/>
              <a:ext cx="53389" cy="84533"/>
            </a:xfrm>
            <a:custGeom>
              <a:avLst/>
              <a:gdLst>
                <a:gd name="T0" fmla="*/ 23 w 26"/>
                <a:gd name="T1" fmla="*/ 0 h 39"/>
                <a:gd name="T2" fmla="*/ 9 w 26"/>
                <a:gd name="T3" fmla="*/ 20 h 39"/>
                <a:gd name="T4" fmla="*/ 11 w 26"/>
                <a:gd name="T5" fmla="*/ 28 h 39"/>
                <a:gd name="T6" fmla="*/ 21 w 26"/>
                <a:gd name="T7" fmla="*/ 17 h 39"/>
                <a:gd name="T8" fmla="*/ 26 w 26"/>
                <a:gd name="T9" fmla="*/ 3 h 39"/>
                <a:gd name="T10" fmla="*/ 23 w 26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9">
                  <a:moveTo>
                    <a:pt x="23" y="0"/>
                  </a:moveTo>
                  <a:cubicBezTo>
                    <a:pt x="18" y="0"/>
                    <a:pt x="5" y="16"/>
                    <a:pt x="9" y="20"/>
                  </a:cubicBezTo>
                  <a:cubicBezTo>
                    <a:pt x="0" y="16"/>
                    <a:pt x="7" y="39"/>
                    <a:pt x="11" y="28"/>
                  </a:cubicBezTo>
                  <a:cubicBezTo>
                    <a:pt x="13" y="24"/>
                    <a:pt x="19" y="21"/>
                    <a:pt x="21" y="17"/>
                  </a:cubicBezTo>
                  <a:cubicBezTo>
                    <a:pt x="23" y="13"/>
                    <a:pt x="21" y="4"/>
                    <a:pt x="26" y="3"/>
                  </a:cubicBezTo>
                  <a:cubicBezTo>
                    <a:pt x="25" y="2"/>
                    <a:pt x="24" y="1"/>
                    <a:pt x="2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Freeform 480">
              <a:extLst>
                <a:ext uri="{FF2B5EF4-FFF2-40B4-BE49-F238E27FC236}">
                  <a16:creationId xmlns:a16="http://schemas.microsoft.com/office/drawing/2014/main" id="{09E53FBB-B118-45D1-A92E-DFEC77A6B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2804" y="5803459"/>
              <a:ext cx="53389" cy="84533"/>
            </a:xfrm>
            <a:custGeom>
              <a:avLst/>
              <a:gdLst>
                <a:gd name="T0" fmla="*/ 23 w 26"/>
                <a:gd name="T1" fmla="*/ 0 h 39"/>
                <a:gd name="T2" fmla="*/ 9 w 26"/>
                <a:gd name="T3" fmla="*/ 20 h 39"/>
                <a:gd name="T4" fmla="*/ 11 w 26"/>
                <a:gd name="T5" fmla="*/ 28 h 39"/>
                <a:gd name="T6" fmla="*/ 21 w 26"/>
                <a:gd name="T7" fmla="*/ 17 h 39"/>
                <a:gd name="T8" fmla="*/ 26 w 26"/>
                <a:gd name="T9" fmla="*/ 3 h 39"/>
                <a:gd name="T10" fmla="*/ 23 w 26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9">
                  <a:moveTo>
                    <a:pt x="23" y="0"/>
                  </a:moveTo>
                  <a:cubicBezTo>
                    <a:pt x="18" y="0"/>
                    <a:pt x="5" y="16"/>
                    <a:pt x="9" y="20"/>
                  </a:cubicBezTo>
                  <a:cubicBezTo>
                    <a:pt x="0" y="16"/>
                    <a:pt x="7" y="39"/>
                    <a:pt x="11" y="28"/>
                  </a:cubicBezTo>
                  <a:cubicBezTo>
                    <a:pt x="13" y="24"/>
                    <a:pt x="19" y="21"/>
                    <a:pt x="21" y="17"/>
                  </a:cubicBezTo>
                  <a:cubicBezTo>
                    <a:pt x="23" y="13"/>
                    <a:pt x="21" y="4"/>
                    <a:pt x="26" y="3"/>
                  </a:cubicBezTo>
                  <a:cubicBezTo>
                    <a:pt x="25" y="2"/>
                    <a:pt x="24" y="1"/>
                    <a:pt x="2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Freeform 481">
              <a:extLst>
                <a:ext uri="{FF2B5EF4-FFF2-40B4-BE49-F238E27FC236}">
                  <a16:creationId xmlns:a16="http://schemas.microsoft.com/office/drawing/2014/main" id="{8808BEF0-0C8A-49C0-BAD7-BC4BA252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6193" y="5803459"/>
              <a:ext cx="17796" cy="8898"/>
            </a:xfrm>
            <a:custGeom>
              <a:avLst/>
              <a:gdLst>
                <a:gd name="T0" fmla="*/ 0 w 7"/>
                <a:gd name="T1" fmla="*/ 1 h 5"/>
                <a:gd name="T2" fmla="*/ 7 w 7"/>
                <a:gd name="T3" fmla="*/ 5 h 5"/>
                <a:gd name="T4" fmla="*/ 0 w 7"/>
                <a:gd name="T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0" y="1"/>
                  </a:moveTo>
                  <a:cubicBezTo>
                    <a:pt x="2" y="3"/>
                    <a:pt x="5" y="2"/>
                    <a:pt x="7" y="5"/>
                  </a:cubicBezTo>
                  <a:cubicBezTo>
                    <a:pt x="7" y="1"/>
                    <a:pt x="3" y="0"/>
                    <a:pt x="0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Freeform 482">
              <a:extLst>
                <a:ext uri="{FF2B5EF4-FFF2-40B4-BE49-F238E27FC236}">
                  <a16:creationId xmlns:a16="http://schemas.microsoft.com/office/drawing/2014/main" id="{4ECD393B-FDCB-4918-AE59-17B7226AE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6193" y="5803459"/>
              <a:ext cx="17796" cy="8898"/>
            </a:xfrm>
            <a:custGeom>
              <a:avLst/>
              <a:gdLst>
                <a:gd name="T0" fmla="*/ 0 w 7"/>
                <a:gd name="T1" fmla="*/ 1 h 5"/>
                <a:gd name="T2" fmla="*/ 7 w 7"/>
                <a:gd name="T3" fmla="*/ 5 h 5"/>
                <a:gd name="T4" fmla="*/ 0 w 7"/>
                <a:gd name="T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0" y="1"/>
                  </a:moveTo>
                  <a:cubicBezTo>
                    <a:pt x="2" y="3"/>
                    <a:pt x="5" y="2"/>
                    <a:pt x="7" y="5"/>
                  </a:cubicBezTo>
                  <a:cubicBezTo>
                    <a:pt x="7" y="1"/>
                    <a:pt x="3" y="0"/>
                    <a:pt x="0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Freeform 483">
              <a:extLst>
                <a:ext uri="{FF2B5EF4-FFF2-40B4-BE49-F238E27FC236}">
                  <a16:creationId xmlns:a16="http://schemas.microsoft.com/office/drawing/2014/main" id="{A5BF587D-50C9-473F-8406-897FF7832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2929" y="5696681"/>
              <a:ext cx="13347" cy="22245"/>
            </a:xfrm>
            <a:custGeom>
              <a:avLst/>
              <a:gdLst>
                <a:gd name="T0" fmla="*/ 3 w 7"/>
                <a:gd name="T1" fmla="*/ 1 h 11"/>
                <a:gd name="T2" fmla="*/ 0 w 7"/>
                <a:gd name="T3" fmla="*/ 0 h 11"/>
                <a:gd name="T4" fmla="*/ 2 w 7"/>
                <a:gd name="T5" fmla="*/ 9 h 11"/>
                <a:gd name="T6" fmla="*/ 3 w 7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1">
                  <a:moveTo>
                    <a:pt x="3" y="1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2" y="2"/>
                    <a:pt x="0" y="8"/>
                    <a:pt x="2" y="9"/>
                  </a:cubicBezTo>
                  <a:cubicBezTo>
                    <a:pt x="7" y="11"/>
                    <a:pt x="4" y="2"/>
                    <a:pt x="3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Freeform 484">
              <a:extLst>
                <a:ext uri="{FF2B5EF4-FFF2-40B4-BE49-F238E27FC236}">
                  <a16:creationId xmlns:a16="http://schemas.microsoft.com/office/drawing/2014/main" id="{C8A7F3E2-86A7-4306-9F8F-BE02557AC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2929" y="5696681"/>
              <a:ext cx="13347" cy="22245"/>
            </a:xfrm>
            <a:custGeom>
              <a:avLst/>
              <a:gdLst>
                <a:gd name="T0" fmla="*/ 3 w 7"/>
                <a:gd name="T1" fmla="*/ 1 h 11"/>
                <a:gd name="T2" fmla="*/ 0 w 7"/>
                <a:gd name="T3" fmla="*/ 0 h 11"/>
                <a:gd name="T4" fmla="*/ 2 w 7"/>
                <a:gd name="T5" fmla="*/ 9 h 11"/>
                <a:gd name="T6" fmla="*/ 3 w 7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1">
                  <a:moveTo>
                    <a:pt x="3" y="1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2" y="2"/>
                    <a:pt x="0" y="8"/>
                    <a:pt x="2" y="9"/>
                  </a:cubicBezTo>
                  <a:cubicBezTo>
                    <a:pt x="7" y="11"/>
                    <a:pt x="4" y="2"/>
                    <a:pt x="3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Freeform 485">
              <a:extLst>
                <a:ext uri="{FF2B5EF4-FFF2-40B4-BE49-F238E27FC236}">
                  <a16:creationId xmlns:a16="http://schemas.microsoft.com/office/drawing/2014/main" id="{2E02906B-6859-48E0-9D72-A8A37546F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1827" y="5669987"/>
              <a:ext cx="31144" cy="48940"/>
            </a:xfrm>
            <a:custGeom>
              <a:avLst/>
              <a:gdLst>
                <a:gd name="T0" fmla="*/ 0 w 13"/>
                <a:gd name="T1" fmla="*/ 24 h 24"/>
                <a:gd name="T2" fmla="*/ 13 w 13"/>
                <a:gd name="T3" fmla="*/ 0 h 24"/>
                <a:gd name="T4" fmla="*/ 7 w 13"/>
                <a:gd name="T5" fmla="*/ 10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cubicBezTo>
                    <a:pt x="6" y="20"/>
                    <a:pt x="11" y="7"/>
                    <a:pt x="13" y="0"/>
                  </a:cubicBezTo>
                  <a:cubicBezTo>
                    <a:pt x="8" y="2"/>
                    <a:pt x="9" y="6"/>
                    <a:pt x="7" y="10"/>
                  </a:cubicBezTo>
                  <a:cubicBezTo>
                    <a:pt x="5" y="15"/>
                    <a:pt x="2" y="19"/>
                    <a:pt x="0" y="2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Freeform 486">
              <a:extLst>
                <a:ext uri="{FF2B5EF4-FFF2-40B4-BE49-F238E27FC236}">
                  <a16:creationId xmlns:a16="http://schemas.microsoft.com/office/drawing/2014/main" id="{B7E87448-0676-4A0D-8D62-DD3812C88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1827" y="5669987"/>
              <a:ext cx="31144" cy="48940"/>
            </a:xfrm>
            <a:custGeom>
              <a:avLst/>
              <a:gdLst>
                <a:gd name="T0" fmla="*/ 0 w 13"/>
                <a:gd name="T1" fmla="*/ 24 h 24"/>
                <a:gd name="T2" fmla="*/ 13 w 13"/>
                <a:gd name="T3" fmla="*/ 0 h 24"/>
                <a:gd name="T4" fmla="*/ 7 w 13"/>
                <a:gd name="T5" fmla="*/ 10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cubicBezTo>
                    <a:pt x="6" y="20"/>
                    <a:pt x="11" y="7"/>
                    <a:pt x="13" y="0"/>
                  </a:cubicBezTo>
                  <a:cubicBezTo>
                    <a:pt x="8" y="2"/>
                    <a:pt x="9" y="6"/>
                    <a:pt x="7" y="10"/>
                  </a:cubicBezTo>
                  <a:cubicBezTo>
                    <a:pt x="5" y="15"/>
                    <a:pt x="2" y="19"/>
                    <a:pt x="0" y="2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Freeform 487">
              <a:extLst>
                <a:ext uri="{FF2B5EF4-FFF2-40B4-BE49-F238E27FC236}">
                  <a16:creationId xmlns:a16="http://schemas.microsoft.com/office/drawing/2014/main" id="{18C32345-0D5A-4827-A481-A6B9434E0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1953" y="5763418"/>
              <a:ext cx="4449" cy="17796"/>
            </a:xfrm>
            <a:custGeom>
              <a:avLst/>
              <a:gdLst>
                <a:gd name="T0" fmla="*/ 2 w 3"/>
                <a:gd name="T1" fmla="*/ 0 h 7"/>
                <a:gd name="T2" fmla="*/ 1 w 3"/>
                <a:gd name="T3" fmla="*/ 7 h 7"/>
                <a:gd name="T4" fmla="*/ 2 w 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cubicBezTo>
                    <a:pt x="0" y="2"/>
                    <a:pt x="0" y="4"/>
                    <a:pt x="1" y="7"/>
                  </a:cubicBezTo>
                  <a:cubicBezTo>
                    <a:pt x="2" y="5"/>
                    <a:pt x="3" y="3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Freeform 488">
              <a:extLst>
                <a:ext uri="{FF2B5EF4-FFF2-40B4-BE49-F238E27FC236}">
                  <a16:creationId xmlns:a16="http://schemas.microsoft.com/office/drawing/2014/main" id="{762F4C5A-68C0-40DC-8A5B-0F5DD81B0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1953" y="5763418"/>
              <a:ext cx="4449" cy="17796"/>
            </a:xfrm>
            <a:custGeom>
              <a:avLst/>
              <a:gdLst>
                <a:gd name="T0" fmla="*/ 2 w 3"/>
                <a:gd name="T1" fmla="*/ 0 h 7"/>
                <a:gd name="T2" fmla="*/ 1 w 3"/>
                <a:gd name="T3" fmla="*/ 7 h 7"/>
                <a:gd name="T4" fmla="*/ 2 w 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cubicBezTo>
                    <a:pt x="0" y="2"/>
                    <a:pt x="0" y="4"/>
                    <a:pt x="1" y="7"/>
                  </a:cubicBezTo>
                  <a:cubicBezTo>
                    <a:pt x="2" y="5"/>
                    <a:pt x="3" y="3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Freeform 489">
              <a:extLst>
                <a:ext uri="{FF2B5EF4-FFF2-40B4-BE49-F238E27FC236}">
                  <a16:creationId xmlns:a16="http://schemas.microsoft.com/office/drawing/2014/main" id="{59EA74B5-403D-459D-9AE4-056BF1471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847" y="4940335"/>
              <a:ext cx="680712" cy="649568"/>
            </a:xfrm>
            <a:custGeom>
              <a:avLst/>
              <a:gdLst>
                <a:gd name="T0" fmla="*/ 5 w 313"/>
                <a:gd name="T1" fmla="*/ 114 h 300"/>
                <a:gd name="T2" fmla="*/ 8 w 313"/>
                <a:gd name="T3" fmla="*/ 110 h 300"/>
                <a:gd name="T4" fmla="*/ 16 w 313"/>
                <a:gd name="T5" fmla="*/ 88 h 300"/>
                <a:gd name="T6" fmla="*/ 25 w 313"/>
                <a:gd name="T7" fmla="*/ 90 h 300"/>
                <a:gd name="T8" fmla="*/ 45 w 313"/>
                <a:gd name="T9" fmla="*/ 116 h 300"/>
                <a:gd name="T10" fmla="*/ 67 w 313"/>
                <a:gd name="T11" fmla="*/ 117 h 300"/>
                <a:gd name="T12" fmla="*/ 99 w 313"/>
                <a:gd name="T13" fmla="*/ 113 h 300"/>
                <a:gd name="T14" fmla="*/ 128 w 313"/>
                <a:gd name="T15" fmla="*/ 100 h 300"/>
                <a:gd name="T16" fmla="*/ 162 w 313"/>
                <a:gd name="T17" fmla="*/ 103 h 300"/>
                <a:gd name="T18" fmla="*/ 177 w 313"/>
                <a:gd name="T19" fmla="*/ 102 h 300"/>
                <a:gd name="T20" fmla="*/ 196 w 313"/>
                <a:gd name="T21" fmla="*/ 65 h 300"/>
                <a:gd name="T22" fmla="*/ 205 w 313"/>
                <a:gd name="T23" fmla="*/ 35 h 300"/>
                <a:gd name="T24" fmla="*/ 208 w 313"/>
                <a:gd name="T25" fmla="*/ 8 h 300"/>
                <a:gd name="T26" fmla="*/ 226 w 313"/>
                <a:gd name="T27" fmla="*/ 1 h 300"/>
                <a:gd name="T28" fmla="*/ 249 w 313"/>
                <a:gd name="T29" fmla="*/ 2 h 300"/>
                <a:gd name="T30" fmla="*/ 259 w 313"/>
                <a:gd name="T31" fmla="*/ 10 h 300"/>
                <a:gd name="T32" fmla="*/ 270 w 313"/>
                <a:gd name="T33" fmla="*/ 20 h 300"/>
                <a:gd name="T34" fmla="*/ 262 w 313"/>
                <a:gd name="T35" fmla="*/ 21 h 300"/>
                <a:gd name="T36" fmla="*/ 251 w 313"/>
                <a:gd name="T37" fmla="*/ 27 h 300"/>
                <a:gd name="T38" fmla="*/ 257 w 313"/>
                <a:gd name="T39" fmla="*/ 40 h 300"/>
                <a:gd name="T40" fmla="*/ 266 w 313"/>
                <a:gd name="T41" fmla="*/ 51 h 300"/>
                <a:gd name="T42" fmla="*/ 275 w 313"/>
                <a:gd name="T43" fmla="*/ 60 h 300"/>
                <a:gd name="T44" fmla="*/ 274 w 313"/>
                <a:gd name="T45" fmla="*/ 82 h 300"/>
                <a:gd name="T46" fmla="*/ 289 w 313"/>
                <a:gd name="T47" fmla="*/ 98 h 300"/>
                <a:gd name="T48" fmla="*/ 308 w 313"/>
                <a:gd name="T49" fmla="*/ 116 h 300"/>
                <a:gd name="T50" fmla="*/ 299 w 313"/>
                <a:gd name="T51" fmla="*/ 124 h 300"/>
                <a:gd name="T52" fmla="*/ 277 w 313"/>
                <a:gd name="T53" fmla="*/ 124 h 300"/>
                <a:gd name="T54" fmla="*/ 264 w 313"/>
                <a:gd name="T55" fmla="*/ 171 h 300"/>
                <a:gd name="T56" fmla="*/ 268 w 313"/>
                <a:gd name="T57" fmla="*/ 174 h 300"/>
                <a:gd name="T58" fmla="*/ 259 w 313"/>
                <a:gd name="T59" fmla="*/ 180 h 300"/>
                <a:gd name="T60" fmla="*/ 238 w 313"/>
                <a:gd name="T61" fmla="*/ 202 h 300"/>
                <a:gd name="T62" fmla="*/ 227 w 313"/>
                <a:gd name="T63" fmla="*/ 215 h 300"/>
                <a:gd name="T64" fmla="*/ 237 w 313"/>
                <a:gd name="T65" fmla="*/ 228 h 300"/>
                <a:gd name="T66" fmla="*/ 228 w 313"/>
                <a:gd name="T67" fmla="*/ 240 h 300"/>
                <a:gd name="T68" fmla="*/ 226 w 313"/>
                <a:gd name="T69" fmla="*/ 261 h 300"/>
                <a:gd name="T70" fmla="*/ 192 w 313"/>
                <a:gd name="T71" fmla="*/ 289 h 300"/>
                <a:gd name="T72" fmla="*/ 175 w 313"/>
                <a:gd name="T73" fmla="*/ 283 h 300"/>
                <a:gd name="T74" fmla="*/ 168 w 313"/>
                <a:gd name="T75" fmla="*/ 264 h 300"/>
                <a:gd name="T76" fmla="*/ 145 w 313"/>
                <a:gd name="T77" fmla="*/ 271 h 300"/>
                <a:gd name="T78" fmla="*/ 136 w 313"/>
                <a:gd name="T79" fmla="*/ 262 h 300"/>
                <a:gd name="T80" fmla="*/ 116 w 313"/>
                <a:gd name="T81" fmla="*/ 269 h 300"/>
                <a:gd name="T82" fmla="*/ 91 w 313"/>
                <a:gd name="T83" fmla="*/ 273 h 300"/>
                <a:gd name="T84" fmla="*/ 76 w 313"/>
                <a:gd name="T85" fmla="*/ 254 h 300"/>
                <a:gd name="T86" fmla="*/ 58 w 313"/>
                <a:gd name="T87" fmla="*/ 257 h 300"/>
                <a:gd name="T88" fmla="*/ 54 w 313"/>
                <a:gd name="T89" fmla="*/ 257 h 300"/>
                <a:gd name="T90" fmla="*/ 41 w 313"/>
                <a:gd name="T91" fmla="*/ 236 h 300"/>
                <a:gd name="T92" fmla="*/ 33 w 313"/>
                <a:gd name="T93" fmla="*/ 214 h 300"/>
                <a:gd name="T94" fmla="*/ 37 w 313"/>
                <a:gd name="T95" fmla="*/ 198 h 300"/>
                <a:gd name="T96" fmla="*/ 28 w 313"/>
                <a:gd name="T97" fmla="*/ 183 h 300"/>
                <a:gd name="T98" fmla="*/ 15 w 313"/>
                <a:gd name="T99" fmla="*/ 183 h 300"/>
                <a:gd name="T100" fmla="*/ 22 w 313"/>
                <a:gd name="T101" fmla="*/ 177 h 300"/>
                <a:gd name="T102" fmla="*/ 10 w 313"/>
                <a:gd name="T103" fmla="*/ 171 h 300"/>
                <a:gd name="T104" fmla="*/ 14 w 313"/>
                <a:gd name="T105" fmla="*/ 152 h 300"/>
                <a:gd name="T106" fmla="*/ 3 w 313"/>
                <a:gd name="T107" fmla="*/ 12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3" h="300">
                  <a:moveTo>
                    <a:pt x="3" y="122"/>
                  </a:moveTo>
                  <a:cubicBezTo>
                    <a:pt x="6" y="120"/>
                    <a:pt x="4" y="117"/>
                    <a:pt x="5" y="114"/>
                  </a:cubicBezTo>
                  <a:cubicBezTo>
                    <a:pt x="6" y="109"/>
                    <a:pt x="12" y="109"/>
                    <a:pt x="13" y="104"/>
                  </a:cubicBezTo>
                  <a:cubicBezTo>
                    <a:pt x="11" y="106"/>
                    <a:pt x="10" y="108"/>
                    <a:pt x="8" y="110"/>
                  </a:cubicBezTo>
                  <a:cubicBezTo>
                    <a:pt x="4" y="105"/>
                    <a:pt x="9" y="100"/>
                    <a:pt x="12" y="96"/>
                  </a:cubicBezTo>
                  <a:cubicBezTo>
                    <a:pt x="14" y="93"/>
                    <a:pt x="15" y="91"/>
                    <a:pt x="16" y="88"/>
                  </a:cubicBezTo>
                  <a:cubicBezTo>
                    <a:pt x="17" y="84"/>
                    <a:pt x="22" y="83"/>
                    <a:pt x="25" y="80"/>
                  </a:cubicBezTo>
                  <a:cubicBezTo>
                    <a:pt x="25" y="84"/>
                    <a:pt x="20" y="88"/>
                    <a:pt x="25" y="90"/>
                  </a:cubicBezTo>
                  <a:cubicBezTo>
                    <a:pt x="26" y="91"/>
                    <a:pt x="28" y="99"/>
                    <a:pt x="29" y="101"/>
                  </a:cubicBezTo>
                  <a:cubicBezTo>
                    <a:pt x="34" y="106"/>
                    <a:pt x="42" y="109"/>
                    <a:pt x="45" y="116"/>
                  </a:cubicBezTo>
                  <a:cubicBezTo>
                    <a:pt x="46" y="118"/>
                    <a:pt x="51" y="120"/>
                    <a:pt x="53" y="121"/>
                  </a:cubicBezTo>
                  <a:cubicBezTo>
                    <a:pt x="57" y="123"/>
                    <a:pt x="64" y="119"/>
                    <a:pt x="67" y="117"/>
                  </a:cubicBezTo>
                  <a:cubicBezTo>
                    <a:pt x="75" y="114"/>
                    <a:pt x="82" y="118"/>
                    <a:pt x="90" y="118"/>
                  </a:cubicBezTo>
                  <a:cubicBezTo>
                    <a:pt x="93" y="117"/>
                    <a:pt x="96" y="115"/>
                    <a:pt x="99" y="113"/>
                  </a:cubicBezTo>
                  <a:cubicBezTo>
                    <a:pt x="103" y="111"/>
                    <a:pt x="102" y="105"/>
                    <a:pt x="105" y="102"/>
                  </a:cubicBezTo>
                  <a:cubicBezTo>
                    <a:pt x="109" y="98"/>
                    <a:pt x="126" y="95"/>
                    <a:pt x="128" y="100"/>
                  </a:cubicBezTo>
                  <a:cubicBezTo>
                    <a:pt x="131" y="105"/>
                    <a:pt x="146" y="111"/>
                    <a:pt x="151" y="107"/>
                  </a:cubicBezTo>
                  <a:cubicBezTo>
                    <a:pt x="156" y="105"/>
                    <a:pt x="157" y="101"/>
                    <a:pt x="162" y="103"/>
                  </a:cubicBezTo>
                  <a:cubicBezTo>
                    <a:pt x="165" y="104"/>
                    <a:pt x="168" y="101"/>
                    <a:pt x="170" y="100"/>
                  </a:cubicBezTo>
                  <a:cubicBezTo>
                    <a:pt x="172" y="99"/>
                    <a:pt x="174" y="102"/>
                    <a:pt x="177" y="102"/>
                  </a:cubicBezTo>
                  <a:cubicBezTo>
                    <a:pt x="175" y="96"/>
                    <a:pt x="187" y="84"/>
                    <a:pt x="184" y="81"/>
                  </a:cubicBezTo>
                  <a:cubicBezTo>
                    <a:pt x="178" y="75"/>
                    <a:pt x="191" y="67"/>
                    <a:pt x="196" y="65"/>
                  </a:cubicBezTo>
                  <a:cubicBezTo>
                    <a:pt x="193" y="62"/>
                    <a:pt x="188" y="49"/>
                    <a:pt x="196" y="48"/>
                  </a:cubicBezTo>
                  <a:cubicBezTo>
                    <a:pt x="207" y="47"/>
                    <a:pt x="199" y="40"/>
                    <a:pt x="205" y="35"/>
                  </a:cubicBezTo>
                  <a:cubicBezTo>
                    <a:pt x="207" y="32"/>
                    <a:pt x="204" y="23"/>
                    <a:pt x="205" y="19"/>
                  </a:cubicBezTo>
                  <a:cubicBezTo>
                    <a:pt x="205" y="16"/>
                    <a:pt x="206" y="11"/>
                    <a:pt x="208" y="8"/>
                  </a:cubicBezTo>
                  <a:cubicBezTo>
                    <a:pt x="209" y="5"/>
                    <a:pt x="212" y="4"/>
                    <a:pt x="213" y="0"/>
                  </a:cubicBezTo>
                  <a:cubicBezTo>
                    <a:pt x="218" y="2"/>
                    <a:pt x="220" y="4"/>
                    <a:pt x="226" y="1"/>
                  </a:cubicBezTo>
                  <a:cubicBezTo>
                    <a:pt x="228" y="0"/>
                    <a:pt x="233" y="8"/>
                    <a:pt x="233" y="0"/>
                  </a:cubicBezTo>
                  <a:cubicBezTo>
                    <a:pt x="237" y="4"/>
                    <a:pt x="245" y="3"/>
                    <a:pt x="249" y="2"/>
                  </a:cubicBezTo>
                  <a:cubicBezTo>
                    <a:pt x="256" y="2"/>
                    <a:pt x="259" y="8"/>
                    <a:pt x="266" y="8"/>
                  </a:cubicBezTo>
                  <a:cubicBezTo>
                    <a:pt x="264" y="9"/>
                    <a:pt x="262" y="10"/>
                    <a:pt x="259" y="10"/>
                  </a:cubicBezTo>
                  <a:cubicBezTo>
                    <a:pt x="261" y="11"/>
                    <a:pt x="271" y="20"/>
                    <a:pt x="264" y="16"/>
                  </a:cubicBezTo>
                  <a:cubicBezTo>
                    <a:pt x="266" y="18"/>
                    <a:pt x="269" y="18"/>
                    <a:pt x="270" y="20"/>
                  </a:cubicBezTo>
                  <a:cubicBezTo>
                    <a:pt x="271" y="22"/>
                    <a:pt x="271" y="23"/>
                    <a:pt x="273" y="24"/>
                  </a:cubicBezTo>
                  <a:cubicBezTo>
                    <a:pt x="270" y="29"/>
                    <a:pt x="264" y="26"/>
                    <a:pt x="262" y="21"/>
                  </a:cubicBezTo>
                  <a:cubicBezTo>
                    <a:pt x="263" y="23"/>
                    <a:pt x="263" y="25"/>
                    <a:pt x="263" y="27"/>
                  </a:cubicBezTo>
                  <a:cubicBezTo>
                    <a:pt x="260" y="25"/>
                    <a:pt x="255" y="26"/>
                    <a:pt x="251" y="27"/>
                  </a:cubicBezTo>
                  <a:cubicBezTo>
                    <a:pt x="256" y="29"/>
                    <a:pt x="258" y="33"/>
                    <a:pt x="262" y="34"/>
                  </a:cubicBezTo>
                  <a:cubicBezTo>
                    <a:pt x="261" y="36"/>
                    <a:pt x="260" y="41"/>
                    <a:pt x="257" y="40"/>
                  </a:cubicBezTo>
                  <a:cubicBezTo>
                    <a:pt x="259" y="43"/>
                    <a:pt x="264" y="45"/>
                    <a:pt x="268" y="46"/>
                  </a:cubicBezTo>
                  <a:cubicBezTo>
                    <a:pt x="264" y="50"/>
                    <a:pt x="271" y="51"/>
                    <a:pt x="266" y="51"/>
                  </a:cubicBezTo>
                  <a:cubicBezTo>
                    <a:pt x="267" y="51"/>
                    <a:pt x="269" y="52"/>
                    <a:pt x="271" y="53"/>
                  </a:cubicBezTo>
                  <a:cubicBezTo>
                    <a:pt x="265" y="54"/>
                    <a:pt x="272" y="58"/>
                    <a:pt x="275" y="60"/>
                  </a:cubicBezTo>
                  <a:cubicBezTo>
                    <a:pt x="277" y="63"/>
                    <a:pt x="279" y="67"/>
                    <a:pt x="281" y="70"/>
                  </a:cubicBezTo>
                  <a:cubicBezTo>
                    <a:pt x="284" y="74"/>
                    <a:pt x="279" y="83"/>
                    <a:pt x="274" y="82"/>
                  </a:cubicBezTo>
                  <a:cubicBezTo>
                    <a:pt x="277" y="84"/>
                    <a:pt x="275" y="87"/>
                    <a:pt x="278" y="89"/>
                  </a:cubicBezTo>
                  <a:cubicBezTo>
                    <a:pt x="281" y="92"/>
                    <a:pt x="285" y="95"/>
                    <a:pt x="289" y="98"/>
                  </a:cubicBezTo>
                  <a:cubicBezTo>
                    <a:pt x="292" y="100"/>
                    <a:pt x="294" y="104"/>
                    <a:pt x="297" y="105"/>
                  </a:cubicBezTo>
                  <a:cubicBezTo>
                    <a:pt x="302" y="107"/>
                    <a:pt x="305" y="112"/>
                    <a:pt x="308" y="116"/>
                  </a:cubicBezTo>
                  <a:cubicBezTo>
                    <a:pt x="310" y="117"/>
                    <a:pt x="313" y="116"/>
                    <a:pt x="311" y="120"/>
                  </a:cubicBezTo>
                  <a:cubicBezTo>
                    <a:pt x="308" y="124"/>
                    <a:pt x="303" y="122"/>
                    <a:pt x="299" y="124"/>
                  </a:cubicBezTo>
                  <a:cubicBezTo>
                    <a:pt x="292" y="128"/>
                    <a:pt x="284" y="118"/>
                    <a:pt x="278" y="116"/>
                  </a:cubicBezTo>
                  <a:cubicBezTo>
                    <a:pt x="281" y="119"/>
                    <a:pt x="283" y="124"/>
                    <a:pt x="277" y="124"/>
                  </a:cubicBezTo>
                  <a:cubicBezTo>
                    <a:pt x="272" y="125"/>
                    <a:pt x="270" y="133"/>
                    <a:pt x="269" y="137"/>
                  </a:cubicBezTo>
                  <a:cubicBezTo>
                    <a:pt x="265" y="147"/>
                    <a:pt x="263" y="159"/>
                    <a:pt x="264" y="171"/>
                  </a:cubicBezTo>
                  <a:cubicBezTo>
                    <a:pt x="266" y="169"/>
                    <a:pt x="268" y="168"/>
                    <a:pt x="270" y="168"/>
                  </a:cubicBezTo>
                  <a:cubicBezTo>
                    <a:pt x="269" y="170"/>
                    <a:pt x="265" y="173"/>
                    <a:pt x="268" y="174"/>
                  </a:cubicBezTo>
                  <a:cubicBezTo>
                    <a:pt x="265" y="176"/>
                    <a:pt x="265" y="178"/>
                    <a:pt x="268" y="180"/>
                  </a:cubicBezTo>
                  <a:cubicBezTo>
                    <a:pt x="264" y="181"/>
                    <a:pt x="260" y="185"/>
                    <a:pt x="259" y="180"/>
                  </a:cubicBezTo>
                  <a:cubicBezTo>
                    <a:pt x="258" y="187"/>
                    <a:pt x="244" y="203"/>
                    <a:pt x="242" y="188"/>
                  </a:cubicBezTo>
                  <a:cubicBezTo>
                    <a:pt x="239" y="193"/>
                    <a:pt x="244" y="197"/>
                    <a:pt x="238" y="202"/>
                  </a:cubicBezTo>
                  <a:cubicBezTo>
                    <a:pt x="236" y="203"/>
                    <a:pt x="237" y="206"/>
                    <a:pt x="235" y="209"/>
                  </a:cubicBezTo>
                  <a:cubicBezTo>
                    <a:pt x="233" y="212"/>
                    <a:pt x="229" y="212"/>
                    <a:pt x="227" y="215"/>
                  </a:cubicBezTo>
                  <a:cubicBezTo>
                    <a:pt x="236" y="211"/>
                    <a:pt x="233" y="224"/>
                    <a:pt x="228" y="227"/>
                  </a:cubicBezTo>
                  <a:cubicBezTo>
                    <a:pt x="231" y="229"/>
                    <a:pt x="235" y="226"/>
                    <a:pt x="237" y="228"/>
                  </a:cubicBezTo>
                  <a:cubicBezTo>
                    <a:pt x="239" y="231"/>
                    <a:pt x="235" y="239"/>
                    <a:pt x="234" y="241"/>
                  </a:cubicBezTo>
                  <a:cubicBezTo>
                    <a:pt x="232" y="239"/>
                    <a:pt x="230" y="239"/>
                    <a:pt x="228" y="240"/>
                  </a:cubicBezTo>
                  <a:cubicBezTo>
                    <a:pt x="234" y="245"/>
                    <a:pt x="226" y="260"/>
                    <a:pt x="222" y="252"/>
                  </a:cubicBezTo>
                  <a:cubicBezTo>
                    <a:pt x="221" y="256"/>
                    <a:pt x="224" y="259"/>
                    <a:pt x="226" y="261"/>
                  </a:cubicBezTo>
                  <a:cubicBezTo>
                    <a:pt x="218" y="263"/>
                    <a:pt x="221" y="275"/>
                    <a:pt x="214" y="277"/>
                  </a:cubicBezTo>
                  <a:cubicBezTo>
                    <a:pt x="207" y="280"/>
                    <a:pt x="199" y="285"/>
                    <a:pt x="192" y="289"/>
                  </a:cubicBezTo>
                  <a:cubicBezTo>
                    <a:pt x="190" y="289"/>
                    <a:pt x="174" y="300"/>
                    <a:pt x="175" y="294"/>
                  </a:cubicBezTo>
                  <a:cubicBezTo>
                    <a:pt x="175" y="290"/>
                    <a:pt x="175" y="287"/>
                    <a:pt x="175" y="283"/>
                  </a:cubicBezTo>
                  <a:cubicBezTo>
                    <a:pt x="175" y="278"/>
                    <a:pt x="172" y="273"/>
                    <a:pt x="173" y="268"/>
                  </a:cubicBezTo>
                  <a:cubicBezTo>
                    <a:pt x="168" y="274"/>
                    <a:pt x="164" y="272"/>
                    <a:pt x="168" y="264"/>
                  </a:cubicBezTo>
                  <a:cubicBezTo>
                    <a:pt x="165" y="268"/>
                    <a:pt x="159" y="271"/>
                    <a:pt x="160" y="263"/>
                  </a:cubicBezTo>
                  <a:cubicBezTo>
                    <a:pt x="160" y="267"/>
                    <a:pt x="149" y="277"/>
                    <a:pt x="145" y="271"/>
                  </a:cubicBezTo>
                  <a:cubicBezTo>
                    <a:pt x="144" y="269"/>
                    <a:pt x="147" y="267"/>
                    <a:pt x="145" y="264"/>
                  </a:cubicBezTo>
                  <a:cubicBezTo>
                    <a:pt x="141" y="260"/>
                    <a:pt x="137" y="268"/>
                    <a:pt x="136" y="262"/>
                  </a:cubicBezTo>
                  <a:cubicBezTo>
                    <a:pt x="137" y="269"/>
                    <a:pt x="129" y="257"/>
                    <a:pt x="128" y="254"/>
                  </a:cubicBezTo>
                  <a:cubicBezTo>
                    <a:pt x="128" y="260"/>
                    <a:pt x="121" y="267"/>
                    <a:pt x="116" y="269"/>
                  </a:cubicBezTo>
                  <a:cubicBezTo>
                    <a:pt x="111" y="272"/>
                    <a:pt x="106" y="264"/>
                    <a:pt x="101" y="268"/>
                  </a:cubicBezTo>
                  <a:cubicBezTo>
                    <a:pt x="99" y="270"/>
                    <a:pt x="92" y="280"/>
                    <a:pt x="91" y="273"/>
                  </a:cubicBezTo>
                  <a:cubicBezTo>
                    <a:pt x="89" y="265"/>
                    <a:pt x="92" y="258"/>
                    <a:pt x="87" y="249"/>
                  </a:cubicBezTo>
                  <a:cubicBezTo>
                    <a:pt x="84" y="258"/>
                    <a:pt x="83" y="254"/>
                    <a:pt x="76" y="254"/>
                  </a:cubicBezTo>
                  <a:cubicBezTo>
                    <a:pt x="73" y="254"/>
                    <a:pt x="71" y="256"/>
                    <a:pt x="69" y="258"/>
                  </a:cubicBezTo>
                  <a:cubicBezTo>
                    <a:pt x="65" y="260"/>
                    <a:pt x="62" y="258"/>
                    <a:pt x="58" y="257"/>
                  </a:cubicBezTo>
                  <a:cubicBezTo>
                    <a:pt x="59" y="256"/>
                    <a:pt x="61" y="254"/>
                    <a:pt x="62" y="253"/>
                  </a:cubicBezTo>
                  <a:cubicBezTo>
                    <a:pt x="59" y="254"/>
                    <a:pt x="58" y="258"/>
                    <a:pt x="54" y="257"/>
                  </a:cubicBezTo>
                  <a:cubicBezTo>
                    <a:pt x="56" y="249"/>
                    <a:pt x="47" y="254"/>
                    <a:pt x="43" y="256"/>
                  </a:cubicBezTo>
                  <a:cubicBezTo>
                    <a:pt x="39" y="251"/>
                    <a:pt x="42" y="242"/>
                    <a:pt x="41" y="236"/>
                  </a:cubicBezTo>
                  <a:cubicBezTo>
                    <a:pt x="39" y="232"/>
                    <a:pt x="40" y="228"/>
                    <a:pt x="39" y="224"/>
                  </a:cubicBezTo>
                  <a:cubicBezTo>
                    <a:pt x="39" y="220"/>
                    <a:pt x="33" y="217"/>
                    <a:pt x="33" y="214"/>
                  </a:cubicBezTo>
                  <a:cubicBezTo>
                    <a:pt x="34" y="214"/>
                    <a:pt x="37" y="210"/>
                    <a:pt x="37" y="209"/>
                  </a:cubicBezTo>
                  <a:cubicBezTo>
                    <a:pt x="38" y="205"/>
                    <a:pt x="39" y="202"/>
                    <a:pt x="37" y="198"/>
                  </a:cubicBezTo>
                  <a:cubicBezTo>
                    <a:pt x="35" y="196"/>
                    <a:pt x="35" y="193"/>
                    <a:pt x="33" y="191"/>
                  </a:cubicBezTo>
                  <a:cubicBezTo>
                    <a:pt x="32" y="188"/>
                    <a:pt x="28" y="187"/>
                    <a:pt x="28" y="183"/>
                  </a:cubicBezTo>
                  <a:cubicBezTo>
                    <a:pt x="27" y="184"/>
                    <a:pt x="27" y="185"/>
                    <a:pt x="26" y="186"/>
                  </a:cubicBezTo>
                  <a:cubicBezTo>
                    <a:pt x="23" y="180"/>
                    <a:pt x="19" y="185"/>
                    <a:pt x="15" y="183"/>
                  </a:cubicBezTo>
                  <a:cubicBezTo>
                    <a:pt x="13" y="181"/>
                    <a:pt x="14" y="179"/>
                    <a:pt x="15" y="177"/>
                  </a:cubicBezTo>
                  <a:cubicBezTo>
                    <a:pt x="16" y="175"/>
                    <a:pt x="20" y="177"/>
                    <a:pt x="22" y="177"/>
                  </a:cubicBezTo>
                  <a:cubicBezTo>
                    <a:pt x="19" y="176"/>
                    <a:pt x="18" y="173"/>
                    <a:pt x="15" y="172"/>
                  </a:cubicBezTo>
                  <a:cubicBezTo>
                    <a:pt x="14" y="172"/>
                    <a:pt x="11" y="172"/>
                    <a:pt x="10" y="171"/>
                  </a:cubicBezTo>
                  <a:cubicBezTo>
                    <a:pt x="8" y="168"/>
                    <a:pt x="7" y="157"/>
                    <a:pt x="13" y="160"/>
                  </a:cubicBezTo>
                  <a:cubicBezTo>
                    <a:pt x="11" y="157"/>
                    <a:pt x="9" y="152"/>
                    <a:pt x="14" y="152"/>
                  </a:cubicBezTo>
                  <a:cubicBezTo>
                    <a:pt x="10" y="147"/>
                    <a:pt x="5" y="142"/>
                    <a:pt x="3" y="136"/>
                  </a:cubicBezTo>
                  <a:cubicBezTo>
                    <a:pt x="3" y="133"/>
                    <a:pt x="0" y="124"/>
                    <a:pt x="3" y="12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Freeform 490">
              <a:extLst>
                <a:ext uri="{FF2B5EF4-FFF2-40B4-BE49-F238E27FC236}">
                  <a16:creationId xmlns:a16="http://schemas.microsoft.com/office/drawing/2014/main" id="{BE7EEB62-8172-46C1-BA29-C90EF73CE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6847" y="4940335"/>
              <a:ext cx="680712" cy="649568"/>
            </a:xfrm>
            <a:custGeom>
              <a:avLst/>
              <a:gdLst>
                <a:gd name="T0" fmla="*/ 5 w 313"/>
                <a:gd name="T1" fmla="*/ 114 h 300"/>
                <a:gd name="T2" fmla="*/ 8 w 313"/>
                <a:gd name="T3" fmla="*/ 110 h 300"/>
                <a:gd name="T4" fmla="*/ 16 w 313"/>
                <a:gd name="T5" fmla="*/ 88 h 300"/>
                <a:gd name="T6" fmla="*/ 25 w 313"/>
                <a:gd name="T7" fmla="*/ 90 h 300"/>
                <a:gd name="T8" fmla="*/ 45 w 313"/>
                <a:gd name="T9" fmla="*/ 116 h 300"/>
                <a:gd name="T10" fmla="*/ 67 w 313"/>
                <a:gd name="T11" fmla="*/ 117 h 300"/>
                <a:gd name="T12" fmla="*/ 99 w 313"/>
                <a:gd name="T13" fmla="*/ 113 h 300"/>
                <a:gd name="T14" fmla="*/ 128 w 313"/>
                <a:gd name="T15" fmla="*/ 100 h 300"/>
                <a:gd name="T16" fmla="*/ 162 w 313"/>
                <a:gd name="T17" fmla="*/ 103 h 300"/>
                <a:gd name="T18" fmla="*/ 177 w 313"/>
                <a:gd name="T19" fmla="*/ 102 h 300"/>
                <a:gd name="T20" fmla="*/ 196 w 313"/>
                <a:gd name="T21" fmla="*/ 65 h 300"/>
                <a:gd name="T22" fmla="*/ 205 w 313"/>
                <a:gd name="T23" fmla="*/ 35 h 300"/>
                <a:gd name="T24" fmla="*/ 208 w 313"/>
                <a:gd name="T25" fmla="*/ 8 h 300"/>
                <a:gd name="T26" fmla="*/ 226 w 313"/>
                <a:gd name="T27" fmla="*/ 1 h 300"/>
                <a:gd name="T28" fmla="*/ 249 w 313"/>
                <a:gd name="T29" fmla="*/ 2 h 300"/>
                <a:gd name="T30" fmla="*/ 259 w 313"/>
                <a:gd name="T31" fmla="*/ 10 h 300"/>
                <a:gd name="T32" fmla="*/ 270 w 313"/>
                <a:gd name="T33" fmla="*/ 20 h 300"/>
                <a:gd name="T34" fmla="*/ 262 w 313"/>
                <a:gd name="T35" fmla="*/ 21 h 300"/>
                <a:gd name="T36" fmla="*/ 251 w 313"/>
                <a:gd name="T37" fmla="*/ 27 h 300"/>
                <a:gd name="T38" fmla="*/ 257 w 313"/>
                <a:gd name="T39" fmla="*/ 40 h 300"/>
                <a:gd name="T40" fmla="*/ 266 w 313"/>
                <a:gd name="T41" fmla="*/ 51 h 300"/>
                <a:gd name="T42" fmla="*/ 275 w 313"/>
                <a:gd name="T43" fmla="*/ 60 h 300"/>
                <a:gd name="T44" fmla="*/ 274 w 313"/>
                <a:gd name="T45" fmla="*/ 82 h 300"/>
                <a:gd name="T46" fmla="*/ 289 w 313"/>
                <a:gd name="T47" fmla="*/ 98 h 300"/>
                <a:gd name="T48" fmla="*/ 308 w 313"/>
                <a:gd name="T49" fmla="*/ 116 h 300"/>
                <a:gd name="T50" fmla="*/ 299 w 313"/>
                <a:gd name="T51" fmla="*/ 124 h 300"/>
                <a:gd name="T52" fmla="*/ 277 w 313"/>
                <a:gd name="T53" fmla="*/ 124 h 300"/>
                <a:gd name="T54" fmla="*/ 264 w 313"/>
                <a:gd name="T55" fmla="*/ 171 h 300"/>
                <a:gd name="T56" fmla="*/ 268 w 313"/>
                <a:gd name="T57" fmla="*/ 174 h 300"/>
                <a:gd name="T58" fmla="*/ 259 w 313"/>
                <a:gd name="T59" fmla="*/ 180 h 300"/>
                <a:gd name="T60" fmla="*/ 238 w 313"/>
                <a:gd name="T61" fmla="*/ 202 h 300"/>
                <a:gd name="T62" fmla="*/ 227 w 313"/>
                <a:gd name="T63" fmla="*/ 215 h 300"/>
                <a:gd name="T64" fmla="*/ 237 w 313"/>
                <a:gd name="T65" fmla="*/ 228 h 300"/>
                <a:gd name="T66" fmla="*/ 228 w 313"/>
                <a:gd name="T67" fmla="*/ 240 h 300"/>
                <a:gd name="T68" fmla="*/ 226 w 313"/>
                <a:gd name="T69" fmla="*/ 261 h 300"/>
                <a:gd name="T70" fmla="*/ 192 w 313"/>
                <a:gd name="T71" fmla="*/ 289 h 300"/>
                <a:gd name="T72" fmla="*/ 175 w 313"/>
                <a:gd name="T73" fmla="*/ 283 h 300"/>
                <a:gd name="T74" fmla="*/ 168 w 313"/>
                <a:gd name="T75" fmla="*/ 264 h 300"/>
                <a:gd name="T76" fmla="*/ 145 w 313"/>
                <a:gd name="T77" fmla="*/ 271 h 300"/>
                <a:gd name="T78" fmla="*/ 136 w 313"/>
                <a:gd name="T79" fmla="*/ 262 h 300"/>
                <a:gd name="T80" fmla="*/ 116 w 313"/>
                <a:gd name="T81" fmla="*/ 269 h 300"/>
                <a:gd name="T82" fmla="*/ 91 w 313"/>
                <a:gd name="T83" fmla="*/ 273 h 300"/>
                <a:gd name="T84" fmla="*/ 76 w 313"/>
                <a:gd name="T85" fmla="*/ 254 h 300"/>
                <a:gd name="T86" fmla="*/ 58 w 313"/>
                <a:gd name="T87" fmla="*/ 257 h 300"/>
                <a:gd name="T88" fmla="*/ 54 w 313"/>
                <a:gd name="T89" fmla="*/ 257 h 300"/>
                <a:gd name="T90" fmla="*/ 41 w 313"/>
                <a:gd name="T91" fmla="*/ 236 h 300"/>
                <a:gd name="T92" fmla="*/ 33 w 313"/>
                <a:gd name="T93" fmla="*/ 214 h 300"/>
                <a:gd name="T94" fmla="*/ 37 w 313"/>
                <a:gd name="T95" fmla="*/ 198 h 300"/>
                <a:gd name="T96" fmla="*/ 28 w 313"/>
                <a:gd name="T97" fmla="*/ 183 h 300"/>
                <a:gd name="T98" fmla="*/ 15 w 313"/>
                <a:gd name="T99" fmla="*/ 183 h 300"/>
                <a:gd name="T100" fmla="*/ 22 w 313"/>
                <a:gd name="T101" fmla="*/ 177 h 300"/>
                <a:gd name="T102" fmla="*/ 10 w 313"/>
                <a:gd name="T103" fmla="*/ 171 h 300"/>
                <a:gd name="T104" fmla="*/ 14 w 313"/>
                <a:gd name="T105" fmla="*/ 152 h 300"/>
                <a:gd name="T106" fmla="*/ 3 w 313"/>
                <a:gd name="T107" fmla="*/ 12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3" h="300">
                  <a:moveTo>
                    <a:pt x="3" y="122"/>
                  </a:moveTo>
                  <a:cubicBezTo>
                    <a:pt x="6" y="120"/>
                    <a:pt x="4" y="117"/>
                    <a:pt x="5" y="114"/>
                  </a:cubicBezTo>
                  <a:cubicBezTo>
                    <a:pt x="6" y="109"/>
                    <a:pt x="12" y="109"/>
                    <a:pt x="13" y="104"/>
                  </a:cubicBezTo>
                  <a:cubicBezTo>
                    <a:pt x="11" y="106"/>
                    <a:pt x="10" y="108"/>
                    <a:pt x="8" y="110"/>
                  </a:cubicBezTo>
                  <a:cubicBezTo>
                    <a:pt x="4" y="105"/>
                    <a:pt x="9" y="100"/>
                    <a:pt x="12" y="96"/>
                  </a:cubicBezTo>
                  <a:cubicBezTo>
                    <a:pt x="14" y="93"/>
                    <a:pt x="15" y="91"/>
                    <a:pt x="16" y="88"/>
                  </a:cubicBezTo>
                  <a:cubicBezTo>
                    <a:pt x="17" y="84"/>
                    <a:pt x="22" y="83"/>
                    <a:pt x="25" y="80"/>
                  </a:cubicBezTo>
                  <a:cubicBezTo>
                    <a:pt x="25" y="84"/>
                    <a:pt x="20" y="88"/>
                    <a:pt x="25" y="90"/>
                  </a:cubicBezTo>
                  <a:cubicBezTo>
                    <a:pt x="26" y="91"/>
                    <a:pt x="28" y="99"/>
                    <a:pt x="29" y="101"/>
                  </a:cubicBezTo>
                  <a:cubicBezTo>
                    <a:pt x="34" y="106"/>
                    <a:pt x="42" y="109"/>
                    <a:pt x="45" y="116"/>
                  </a:cubicBezTo>
                  <a:cubicBezTo>
                    <a:pt x="46" y="118"/>
                    <a:pt x="51" y="120"/>
                    <a:pt x="53" y="121"/>
                  </a:cubicBezTo>
                  <a:cubicBezTo>
                    <a:pt x="57" y="123"/>
                    <a:pt x="64" y="119"/>
                    <a:pt x="67" y="117"/>
                  </a:cubicBezTo>
                  <a:cubicBezTo>
                    <a:pt x="75" y="114"/>
                    <a:pt x="82" y="118"/>
                    <a:pt x="90" y="118"/>
                  </a:cubicBezTo>
                  <a:cubicBezTo>
                    <a:pt x="93" y="117"/>
                    <a:pt x="96" y="115"/>
                    <a:pt x="99" y="113"/>
                  </a:cubicBezTo>
                  <a:cubicBezTo>
                    <a:pt x="103" y="111"/>
                    <a:pt x="102" y="105"/>
                    <a:pt x="105" y="102"/>
                  </a:cubicBezTo>
                  <a:cubicBezTo>
                    <a:pt x="109" y="98"/>
                    <a:pt x="126" y="95"/>
                    <a:pt x="128" y="100"/>
                  </a:cubicBezTo>
                  <a:cubicBezTo>
                    <a:pt x="131" y="105"/>
                    <a:pt x="146" y="111"/>
                    <a:pt x="151" y="107"/>
                  </a:cubicBezTo>
                  <a:cubicBezTo>
                    <a:pt x="156" y="105"/>
                    <a:pt x="157" y="101"/>
                    <a:pt x="162" y="103"/>
                  </a:cubicBezTo>
                  <a:cubicBezTo>
                    <a:pt x="165" y="104"/>
                    <a:pt x="168" y="101"/>
                    <a:pt x="170" y="100"/>
                  </a:cubicBezTo>
                  <a:cubicBezTo>
                    <a:pt x="172" y="99"/>
                    <a:pt x="174" y="102"/>
                    <a:pt x="177" y="102"/>
                  </a:cubicBezTo>
                  <a:cubicBezTo>
                    <a:pt x="175" y="96"/>
                    <a:pt x="187" y="84"/>
                    <a:pt x="184" y="81"/>
                  </a:cubicBezTo>
                  <a:cubicBezTo>
                    <a:pt x="178" y="75"/>
                    <a:pt x="191" y="67"/>
                    <a:pt x="196" y="65"/>
                  </a:cubicBezTo>
                  <a:cubicBezTo>
                    <a:pt x="193" y="62"/>
                    <a:pt x="188" y="49"/>
                    <a:pt x="196" y="48"/>
                  </a:cubicBezTo>
                  <a:cubicBezTo>
                    <a:pt x="207" y="47"/>
                    <a:pt x="199" y="40"/>
                    <a:pt x="205" y="35"/>
                  </a:cubicBezTo>
                  <a:cubicBezTo>
                    <a:pt x="207" y="32"/>
                    <a:pt x="204" y="23"/>
                    <a:pt x="205" y="19"/>
                  </a:cubicBezTo>
                  <a:cubicBezTo>
                    <a:pt x="205" y="16"/>
                    <a:pt x="206" y="11"/>
                    <a:pt x="208" y="8"/>
                  </a:cubicBezTo>
                  <a:cubicBezTo>
                    <a:pt x="209" y="5"/>
                    <a:pt x="212" y="4"/>
                    <a:pt x="213" y="0"/>
                  </a:cubicBezTo>
                  <a:cubicBezTo>
                    <a:pt x="218" y="2"/>
                    <a:pt x="220" y="4"/>
                    <a:pt x="226" y="1"/>
                  </a:cubicBezTo>
                  <a:cubicBezTo>
                    <a:pt x="228" y="0"/>
                    <a:pt x="233" y="8"/>
                    <a:pt x="233" y="0"/>
                  </a:cubicBezTo>
                  <a:cubicBezTo>
                    <a:pt x="237" y="4"/>
                    <a:pt x="245" y="3"/>
                    <a:pt x="249" y="2"/>
                  </a:cubicBezTo>
                  <a:cubicBezTo>
                    <a:pt x="256" y="2"/>
                    <a:pt x="259" y="8"/>
                    <a:pt x="266" y="8"/>
                  </a:cubicBezTo>
                  <a:cubicBezTo>
                    <a:pt x="264" y="9"/>
                    <a:pt x="262" y="10"/>
                    <a:pt x="259" y="10"/>
                  </a:cubicBezTo>
                  <a:cubicBezTo>
                    <a:pt x="261" y="11"/>
                    <a:pt x="271" y="20"/>
                    <a:pt x="264" y="16"/>
                  </a:cubicBezTo>
                  <a:cubicBezTo>
                    <a:pt x="266" y="18"/>
                    <a:pt x="269" y="18"/>
                    <a:pt x="270" y="20"/>
                  </a:cubicBezTo>
                  <a:cubicBezTo>
                    <a:pt x="271" y="22"/>
                    <a:pt x="271" y="23"/>
                    <a:pt x="273" y="24"/>
                  </a:cubicBezTo>
                  <a:cubicBezTo>
                    <a:pt x="270" y="29"/>
                    <a:pt x="264" y="26"/>
                    <a:pt x="262" y="21"/>
                  </a:cubicBezTo>
                  <a:cubicBezTo>
                    <a:pt x="263" y="23"/>
                    <a:pt x="263" y="25"/>
                    <a:pt x="263" y="27"/>
                  </a:cubicBezTo>
                  <a:cubicBezTo>
                    <a:pt x="260" y="25"/>
                    <a:pt x="255" y="26"/>
                    <a:pt x="251" y="27"/>
                  </a:cubicBezTo>
                  <a:cubicBezTo>
                    <a:pt x="256" y="29"/>
                    <a:pt x="258" y="33"/>
                    <a:pt x="262" y="34"/>
                  </a:cubicBezTo>
                  <a:cubicBezTo>
                    <a:pt x="261" y="36"/>
                    <a:pt x="260" y="41"/>
                    <a:pt x="257" y="40"/>
                  </a:cubicBezTo>
                  <a:cubicBezTo>
                    <a:pt x="259" y="43"/>
                    <a:pt x="264" y="45"/>
                    <a:pt x="268" y="46"/>
                  </a:cubicBezTo>
                  <a:cubicBezTo>
                    <a:pt x="264" y="50"/>
                    <a:pt x="271" y="51"/>
                    <a:pt x="266" y="51"/>
                  </a:cubicBezTo>
                  <a:cubicBezTo>
                    <a:pt x="267" y="51"/>
                    <a:pt x="269" y="52"/>
                    <a:pt x="271" y="53"/>
                  </a:cubicBezTo>
                  <a:cubicBezTo>
                    <a:pt x="265" y="54"/>
                    <a:pt x="272" y="58"/>
                    <a:pt x="275" y="60"/>
                  </a:cubicBezTo>
                  <a:cubicBezTo>
                    <a:pt x="277" y="63"/>
                    <a:pt x="279" y="67"/>
                    <a:pt x="281" y="70"/>
                  </a:cubicBezTo>
                  <a:cubicBezTo>
                    <a:pt x="284" y="74"/>
                    <a:pt x="279" y="83"/>
                    <a:pt x="274" y="82"/>
                  </a:cubicBezTo>
                  <a:cubicBezTo>
                    <a:pt x="277" y="84"/>
                    <a:pt x="275" y="87"/>
                    <a:pt x="278" y="89"/>
                  </a:cubicBezTo>
                  <a:cubicBezTo>
                    <a:pt x="281" y="92"/>
                    <a:pt x="285" y="95"/>
                    <a:pt x="289" y="98"/>
                  </a:cubicBezTo>
                  <a:cubicBezTo>
                    <a:pt x="292" y="100"/>
                    <a:pt x="294" y="104"/>
                    <a:pt x="297" y="105"/>
                  </a:cubicBezTo>
                  <a:cubicBezTo>
                    <a:pt x="302" y="107"/>
                    <a:pt x="305" y="112"/>
                    <a:pt x="308" y="116"/>
                  </a:cubicBezTo>
                  <a:cubicBezTo>
                    <a:pt x="310" y="117"/>
                    <a:pt x="313" y="116"/>
                    <a:pt x="311" y="120"/>
                  </a:cubicBezTo>
                  <a:cubicBezTo>
                    <a:pt x="308" y="124"/>
                    <a:pt x="303" y="122"/>
                    <a:pt x="299" y="124"/>
                  </a:cubicBezTo>
                  <a:cubicBezTo>
                    <a:pt x="292" y="128"/>
                    <a:pt x="284" y="118"/>
                    <a:pt x="278" y="116"/>
                  </a:cubicBezTo>
                  <a:cubicBezTo>
                    <a:pt x="281" y="119"/>
                    <a:pt x="283" y="124"/>
                    <a:pt x="277" y="124"/>
                  </a:cubicBezTo>
                  <a:cubicBezTo>
                    <a:pt x="272" y="125"/>
                    <a:pt x="270" y="133"/>
                    <a:pt x="269" y="137"/>
                  </a:cubicBezTo>
                  <a:cubicBezTo>
                    <a:pt x="265" y="147"/>
                    <a:pt x="263" y="159"/>
                    <a:pt x="264" y="171"/>
                  </a:cubicBezTo>
                  <a:cubicBezTo>
                    <a:pt x="266" y="169"/>
                    <a:pt x="268" y="168"/>
                    <a:pt x="270" y="168"/>
                  </a:cubicBezTo>
                  <a:cubicBezTo>
                    <a:pt x="269" y="170"/>
                    <a:pt x="265" y="173"/>
                    <a:pt x="268" y="174"/>
                  </a:cubicBezTo>
                  <a:cubicBezTo>
                    <a:pt x="265" y="176"/>
                    <a:pt x="265" y="178"/>
                    <a:pt x="268" y="180"/>
                  </a:cubicBezTo>
                  <a:cubicBezTo>
                    <a:pt x="264" y="181"/>
                    <a:pt x="260" y="185"/>
                    <a:pt x="259" y="180"/>
                  </a:cubicBezTo>
                  <a:cubicBezTo>
                    <a:pt x="258" y="187"/>
                    <a:pt x="244" y="203"/>
                    <a:pt x="242" y="188"/>
                  </a:cubicBezTo>
                  <a:cubicBezTo>
                    <a:pt x="239" y="193"/>
                    <a:pt x="244" y="197"/>
                    <a:pt x="238" y="202"/>
                  </a:cubicBezTo>
                  <a:cubicBezTo>
                    <a:pt x="236" y="203"/>
                    <a:pt x="237" y="206"/>
                    <a:pt x="235" y="209"/>
                  </a:cubicBezTo>
                  <a:cubicBezTo>
                    <a:pt x="233" y="212"/>
                    <a:pt x="229" y="212"/>
                    <a:pt x="227" y="215"/>
                  </a:cubicBezTo>
                  <a:cubicBezTo>
                    <a:pt x="236" y="211"/>
                    <a:pt x="233" y="224"/>
                    <a:pt x="228" y="227"/>
                  </a:cubicBezTo>
                  <a:cubicBezTo>
                    <a:pt x="231" y="229"/>
                    <a:pt x="235" y="226"/>
                    <a:pt x="237" y="228"/>
                  </a:cubicBezTo>
                  <a:cubicBezTo>
                    <a:pt x="239" y="231"/>
                    <a:pt x="235" y="239"/>
                    <a:pt x="234" y="241"/>
                  </a:cubicBezTo>
                  <a:cubicBezTo>
                    <a:pt x="232" y="239"/>
                    <a:pt x="230" y="239"/>
                    <a:pt x="228" y="240"/>
                  </a:cubicBezTo>
                  <a:cubicBezTo>
                    <a:pt x="234" y="245"/>
                    <a:pt x="226" y="260"/>
                    <a:pt x="222" y="252"/>
                  </a:cubicBezTo>
                  <a:cubicBezTo>
                    <a:pt x="221" y="256"/>
                    <a:pt x="224" y="259"/>
                    <a:pt x="226" y="261"/>
                  </a:cubicBezTo>
                  <a:cubicBezTo>
                    <a:pt x="218" y="263"/>
                    <a:pt x="221" y="275"/>
                    <a:pt x="214" y="277"/>
                  </a:cubicBezTo>
                  <a:cubicBezTo>
                    <a:pt x="207" y="280"/>
                    <a:pt x="199" y="285"/>
                    <a:pt x="192" y="289"/>
                  </a:cubicBezTo>
                  <a:cubicBezTo>
                    <a:pt x="190" y="289"/>
                    <a:pt x="174" y="300"/>
                    <a:pt x="175" y="294"/>
                  </a:cubicBezTo>
                  <a:cubicBezTo>
                    <a:pt x="175" y="290"/>
                    <a:pt x="175" y="287"/>
                    <a:pt x="175" y="283"/>
                  </a:cubicBezTo>
                  <a:cubicBezTo>
                    <a:pt x="175" y="278"/>
                    <a:pt x="172" y="273"/>
                    <a:pt x="173" y="268"/>
                  </a:cubicBezTo>
                  <a:cubicBezTo>
                    <a:pt x="168" y="274"/>
                    <a:pt x="164" y="272"/>
                    <a:pt x="168" y="264"/>
                  </a:cubicBezTo>
                  <a:cubicBezTo>
                    <a:pt x="165" y="268"/>
                    <a:pt x="159" y="271"/>
                    <a:pt x="160" y="263"/>
                  </a:cubicBezTo>
                  <a:cubicBezTo>
                    <a:pt x="160" y="267"/>
                    <a:pt x="149" y="277"/>
                    <a:pt x="145" y="271"/>
                  </a:cubicBezTo>
                  <a:cubicBezTo>
                    <a:pt x="144" y="269"/>
                    <a:pt x="147" y="267"/>
                    <a:pt x="145" y="264"/>
                  </a:cubicBezTo>
                  <a:cubicBezTo>
                    <a:pt x="141" y="260"/>
                    <a:pt x="137" y="268"/>
                    <a:pt x="136" y="262"/>
                  </a:cubicBezTo>
                  <a:cubicBezTo>
                    <a:pt x="137" y="269"/>
                    <a:pt x="129" y="257"/>
                    <a:pt x="128" y="254"/>
                  </a:cubicBezTo>
                  <a:cubicBezTo>
                    <a:pt x="128" y="260"/>
                    <a:pt x="121" y="267"/>
                    <a:pt x="116" y="269"/>
                  </a:cubicBezTo>
                  <a:cubicBezTo>
                    <a:pt x="111" y="272"/>
                    <a:pt x="106" y="264"/>
                    <a:pt x="101" y="268"/>
                  </a:cubicBezTo>
                  <a:cubicBezTo>
                    <a:pt x="99" y="270"/>
                    <a:pt x="92" y="280"/>
                    <a:pt x="91" y="273"/>
                  </a:cubicBezTo>
                  <a:cubicBezTo>
                    <a:pt x="89" y="265"/>
                    <a:pt x="92" y="258"/>
                    <a:pt x="87" y="249"/>
                  </a:cubicBezTo>
                  <a:cubicBezTo>
                    <a:pt x="84" y="258"/>
                    <a:pt x="83" y="254"/>
                    <a:pt x="76" y="254"/>
                  </a:cubicBezTo>
                  <a:cubicBezTo>
                    <a:pt x="73" y="254"/>
                    <a:pt x="71" y="256"/>
                    <a:pt x="69" y="258"/>
                  </a:cubicBezTo>
                  <a:cubicBezTo>
                    <a:pt x="65" y="260"/>
                    <a:pt x="62" y="258"/>
                    <a:pt x="58" y="257"/>
                  </a:cubicBezTo>
                  <a:cubicBezTo>
                    <a:pt x="59" y="256"/>
                    <a:pt x="61" y="254"/>
                    <a:pt x="62" y="253"/>
                  </a:cubicBezTo>
                  <a:cubicBezTo>
                    <a:pt x="59" y="254"/>
                    <a:pt x="58" y="258"/>
                    <a:pt x="54" y="257"/>
                  </a:cubicBezTo>
                  <a:cubicBezTo>
                    <a:pt x="56" y="249"/>
                    <a:pt x="47" y="254"/>
                    <a:pt x="43" y="256"/>
                  </a:cubicBezTo>
                  <a:cubicBezTo>
                    <a:pt x="39" y="251"/>
                    <a:pt x="42" y="242"/>
                    <a:pt x="41" y="236"/>
                  </a:cubicBezTo>
                  <a:cubicBezTo>
                    <a:pt x="39" y="232"/>
                    <a:pt x="40" y="228"/>
                    <a:pt x="39" y="224"/>
                  </a:cubicBezTo>
                  <a:cubicBezTo>
                    <a:pt x="39" y="220"/>
                    <a:pt x="33" y="217"/>
                    <a:pt x="33" y="214"/>
                  </a:cubicBezTo>
                  <a:cubicBezTo>
                    <a:pt x="34" y="214"/>
                    <a:pt x="37" y="210"/>
                    <a:pt x="37" y="209"/>
                  </a:cubicBezTo>
                  <a:cubicBezTo>
                    <a:pt x="38" y="205"/>
                    <a:pt x="39" y="202"/>
                    <a:pt x="37" y="198"/>
                  </a:cubicBezTo>
                  <a:cubicBezTo>
                    <a:pt x="35" y="196"/>
                    <a:pt x="35" y="193"/>
                    <a:pt x="33" y="191"/>
                  </a:cubicBezTo>
                  <a:cubicBezTo>
                    <a:pt x="32" y="188"/>
                    <a:pt x="28" y="187"/>
                    <a:pt x="28" y="183"/>
                  </a:cubicBezTo>
                  <a:cubicBezTo>
                    <a:pt x="27" y="184"/>
                    <a:pt x="27" y="185"/>
                    <a:pt x="26" y="186"/>
                  </a:cubicBezTo>
                  <a:cubicBezTo>
                    <a:pt x="23" y="180"/>
                    <a:pt x="19" y="185"/>
                    <a:pt x="15" y="183"/>
                  </a:cubicBezTo>
                  <a:cubicBezTo>
                    <a:pt x="13" y="181"/>
                    <a:pt x="14" y="179"/>
                    <a:pt x="15" y="177"/>
                  </a:cubicBezTo>
                  <a:cubicBezTo>
                    <a:pt x="16" y="175"/>
                    <a:pt x="20" y="177"/>
                    <a:pt x="22" y="177"/>
                  </a:cubicBezTo>
                  <a:cubicBezTo>
                    <a:pt x="19" y="176"/>
                    <a:pt x="18" y="173"/>
                    <a:pt x="15" y="172"/>
                  </a:cubicBezTo>
                  <a:cubicBezTo>
                    <a:pt x="14" y="172"/>
                    <a:pt x="11" y="172"/>
                    <a:pt x="10" y="171"/>
                  </a:cubicBezTo>
                  <a:cubicBezTo>
                    <a:pt x="8" y="168"/>
                    <a:pt x="7" y="157"/>
                    <a:pt x="13" y="160"/>
                  </a:cubicBezTo>
                  <a:cubicBezTo>
                    <a:pt x="11" y="157"/>
                    <a:pt x="9" y="152"/>
                    <a:pt x="14" y="152"/>
                  </a:cubicBezTo>
                  <a:cubicBezTo>
                    <a:pt x="10" y="147"/>
                    <a:pt x="5" y="142"/>
                    <a:pt x="3" y="136"/>
                  </a:cubicBezTo>
                  <a:cubicBezTo>
                    <a:pt x="3" y="133"/>
                    <a:pt x="0" y="124"/>
                    <a:pt x="3" y="12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Freeform 491">
              <a:extLst>
                <a:ext uri="{FF2B5EF4-FFF2-40B4-BE49-F238E27FC236}">
                  <a16:creationId xmlns:a16="http://schemas.microsoft.com/office/drawing/2014/main" id="{C75792D7-A055-4E79-825E-BE5921133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679" y="4953682"/>
              <a:ext cx="17796" cy="13347"/>
            </a:xfrm>
            <a:custGeom>
              <a:avLst/>
              <a:gdLst>
                <a:gd name="T0" fmla="*/ 0 w 8"/>
                <a:gd name="T1" fmla="*/ 1 h 6"/>
                <a:gd name="T2" fmla="*/ 8 w 8"/>
                <a:gd name="T3" fmla="*/ 5 h 6"/>
                <a:gd name="T4" fmla="*/ 0 w 8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4" y="1"/>
                    <a:pt x="8" y="0"/>
                    <a:pt x="8" y="5"/>
                  </a:cubicBezTo>
                  <a:cubicBezTo>
                    <a:pt x="4" y="6"/>
                    <a:pt x="3" y="3"/>
                    <a:pt x="0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Freeform 492">
              <a:extLst>
                <a:ext uri="{FF2B5EF4-FFF2-40B4-BE49-F238E27FC236}">
                  <a16:creationId xmlns:a16="http://schemas.microsoft.com/office/drawing/2014/main" id="{20F4A406-31A3-4BA6-A008-85828CF9E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679" y="4953682"/>
              <a:ext cx="17796" cy="13347"/>
            </a:xfrm>
            <a:custGeom>
              <a:avLst/>
              <a:gdLst>
                <a:gd name="T0" fmla="*/ 0 w 8"/>
                <a:gd name="T1" fmla="*/ 1 h 6"/>
                <a:gd name="T2" fmla="*/ 8 w 8"/>
                <a:gd name="T3" fmla="*/ 5 h 6"/>
                <a:gd name="T4" fmla="*/ 0 w 8"/>
                <a:gd name="T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0" y="1"/>
                  </a:moveTo>
                  <a:cubicBezTo>
                    <a:pt x="4" y="1"/>
                    <a:pt x="8" y="0"/>
                    <a:pt x="8" y="5"/>
                  </a:cubicBezTo>
                  <a:cubicBezTo>
                    <a:pt x="4" y="6"/>
                    <a:pt x="3" y="3"/>
                    <a:pt x="0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Freeform 493">
              <a:extLst>
                <a:ext uri="{FF2B5EF4-FFF2-40B4-BE49-F238E27FC236}">
                  <a16:creationId xmlns:a16="http://schemas.microsoft.com/office/drawing/2014/main" id="{124A6FD7-823F-4C05-B824-FF07F1C23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679" y="4949233"/>
              <a:ext cx="13347" cy="8898"/>
            </a:xfrm>
            <a:custGeom>
              <a:avLst/>
              <a:gdLst>
                <a:gd name="T0" fmla="*/ 0 w 7"/>
                <a:gd name="T1" fmla="*/ 3 h 3"/>
                <a:gd name="T2" fmla="*/ 0 w 7"/>
                <a:gd name="T3" fmla="*/ 0 h 3"/>
                <a:gd name="T4" fmla="*/ 7 w 7"/>
                <a:gd name="T5" fmla="*/ 3 h 3"/>
                <a:gd name="T6" fmla="*/ 0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3" y="0"/>
                    <a:pt x="5" y="1"/>
                    <a:pt x="7" y="3"/>
                  </a:cubicBezTo>
                  <a:cubicBezTo>
                    <a:pt x="5" y="3"/>
                    <a:pt x="3" y="3"/>
                    <a:pt x="0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Freeform 494">
              <a:extLst>
                <a:ext uri="{FF2B5EF4-FFF2-40B4-BE49-F238E27FC236}">
                  <a16:creationId xmlns:a16="http://schemas.microsoft.com/office/drawing/2014/main" id="{3BA7795C-B50F-43E3-9B89-681A57A35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679" y="4949233"/>
              <a:ext cx="13347" cy="8898"/>
            </a:xfrm>
            <a:custGeom>
              <a:avLst/>
              <a:gdLst>
                <a:gd name="T0" fmla="*/ 0 w 7"/>
                <a:gd name="T1" fmla="*/ 3 h 3"/>
                <a:gd name="T2" fmla="*/ 0 w 7"/>
                <a:gd name="T3" fmla="*/ 0 h 3"/>
                <a:gd name="T4" fmla="*/ 7 w 7"/>
                <a:gd name="T5" fmla="*/ 3 h 3"/>
                <a:gd name="T6" fmla="*/ 0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3" y="0"/>
                    <a:pt x="5" y="1"/>
                    <a:pt x="7" y="3"/>
                  </a:cubicBezTo>
                  <a:cubicBezTo>
                    <a:pt x="5" y="3"/>
                    <a:pt x="3" y="3"/>
                    <a:pt x="0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Freeform 495">
              <a:extLst>
                <a:ext uri="{FF2B5EF4-FFF2-40B4-BE49-F238E27FC236}">
                  <a16:creationId xmlns:a16="http://schemas.microsoft.com/office/drawing/2014/main" id="{80FFA2CF-AAA4-4977-A0DF-B6D00F227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9707" y="5741172"/>
              <a:ext cx="22245" cy="22245"/>
            </a:xfrm>
            <a:custGeom>
              <a:avLst/>
              <a:gdLst>
                <a:gd name="T0" fmla="*/ 4 w 9"/>
                <a:gd name="T1" fmla="*/ 0 h 9"/>
                <a:gd name="T2" fmla="*/ 7 w 9"/>
                <a:gd name="T3" fmla="*/ 7 h 9"/>
                <a:gd name="T4" fmla="*/ 4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4" y="0"/>
                  </a:moveTo>
                  <a:cubicBezTo>
                    <a:pt x="6" y="1"/>
                    <a:pt x="9" y="6"/>
                    <a:pt x="7" y="7"/>
                  </a:cubicBezTo>
                  <a:cubicBezTo>
                    <a:pt x="3" y="9"/>
                    <a:pt x="0" y="1"/>
                    <a:pt x="4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Freeform 496">
              <a:extLst>
                <a:ext uri="{FF2B5EF4-FFF2-40B4-BE49-F238E27FC236}">
                  <a16:creationId xmlns:a16="http://schemas.microsoft.com/office/drawing/2014/main" id="{25D588ED-3A01-43C6-8DCD-A60A39857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9707" y="5741172"/>
              <a:ext cx="22245" cy="22245"/>
            </a:xfrm>
            <a:custGeom>
              <a:avLst/>
              <a:gdLst>
                <a:gd name="T0" fmla="*/ 4 w 9"/>
                <a:gd name="T1" fmla="*/ 0 h 9"/>
                <a:gd name="T2" fmla="*/ 7 w 9"/>
                <a:gd name="T3" fmla="*/ 7 h 9"/>
                <a:gd name="T4" fmla="*/ 4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4" y="0"/>
                  </a:moveTo>
                  <a:cubicBezTo>
                    <a:pt x="6" y="1"/>
                    <a:pt x="9" y="6"/>
                    <a:pt x="7" y="7"/>
                  </a:cubicBezTo>
                  <a:cubicBezTo>
                    <a:pt x="3" y="9"/>
                    <a:pt x="0" y="1"/>
                    <a:pt x="4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Freeform 497">
              <a:extLst>
                <a:ext uri="{FF2B5EF4-FFF2-40B4-BE49-F238E27FC236}">
                  <a16:creationId xmlns:a16="http://schemas.microsoft.com/office/drawing/2014/main" id="{D6D1C3DA-BDC5-46EE-A229-C48E5617F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635" y="1274279"/>
              <a:ext cx="3412457" cy="2478147"/>
            </a:xfrm>
            <a:custGeom>
              <a:avLst/>
              <a:gdLst>
                <a:gd name="T0" fmla="*/ 64 w 1574"/>
                <a:gd name="T1" fmla="*/ 446 h 1143"/>
                <a:gd name="T2" fmla="*/ 159 w 1574"/>
                <a:gd name="T3" fmla="*/ 360 h 1143"/>
                <a:gd name="T4" fmla="*/ 170 w 1574"/>
                <a:gd name="T5" fmla="*/ 281 h 1143"/>
                <a:gd name="T6" fmla="*/ 232 w 1574"/>
                <a:gd name="T7" fmla="*/ 223 h 1143"/>
                <a:gd name="T8" fmla="*/ 292 w 1574"/>
                <a:gd name="T9" fmla="*/ 167 h 1143"/>
                <a:gd name="T10" fmla="*/ 407 w 1574"/>
                <a:gd name="T11" fmla="*/ 272 h 1143"/>
                <a:gd name="T12" fmla="*/ 577 w 1574"/>
                <a:gd name="T13" fmla="*/ 345 h 1143"/>
                <a:gd name="T14" fmla="*/ 791 w 1574"/>
                <a:gd name="T15" fmla="*/ 388 h 1143"/>
                <a:gd name="T16" fmla="*/ 1007 w 1574"/>
                <a:gd name="T17" fmla="*/ 339 h 1143"/>
                <a:gd name="T18" fmla="*/ 1099 w 1574"/>
                <a:gd name="T19" fmla="*/ 262 h 1143"/>
                <a:gd name="T20" fmla="*/ 1173 w 1574"/>
                <a:gd name="T21" fmla="*/ 232 h 1143"/>
                <a:gd name="T22" fmla="*/ 1036 w 1574"/>
                <a:gd name="T23" fmla="*/ 124 h 1143"/>
                <a:gd name="T24" fmla="*/ 1086 w 1574"/>
                <a:gd name="T25" fmla="*/ 38 h 1143"/>
                <a:gd name="T26" fmla="*/ 1220 w 1574"/>
                <a:gd name="T27" fmla="*/ 32 h 1143"/>
                <a:gd name="T28" fmla="*/ 1349 w 1574"/>
                <a:gd name="T29" fmla="*/ 134 h 1143"/>
                <a:gd name="T30" fmla="*/ 1472 w 1574"/>
                <a:gd name="T31" fmla="*/ 195 h 1143"/>
                <a:gd name="T32" fmla="*/ 1557 w 1574"/>
                <a:gd name="T33" fmla="*/ 207 h 1143"/>
                <a:gd name="T34" fmla="*/ 1534 w 1574"/>
                <a:gd name="T35" fmla="*/ 278 h 1143"/>
                <a:gd name="T36" fmla="*/ 1525 w 1574"/>
                <a:gd name="T37" fmla="*/ 357 h 1143"/>
                <a:gd name="T38" fmla="*/ 1457 w 1574"/>
                <a:gd name="T39" fmla="*/ 418 h 1143"/>
                <a:gd name="T40" fmla="*/ 1380 w 1574"/>
                <a:gd name="T41" fmla="*/ 478 h 1143"/>
                <a:gd name="T42" fmla="*/ 1353 w 1574"/>
                <a:gd name="T43" fmla="*/ 459 h 1143"/>
                <a:gd name="T44" fmla="*/ 1254 w 1574"/>
                <a:gd name="T45" fmla="*/ 486 h 1143"/>
                <a:gd name="T46" fmla="*/ 1341 w 1574"/>
                <a:gd name="T47" fmla="*/ 538 h 1143"/>
                <a:gd name="T48" fmla="*/ 1415 w 1574"/>
                <a:gd name="T49" fmla="*/ 567 h 1143"/>
                <a:gd name="T50" fmla="*/ 1369 w 1574"/>
                <a:gd name="T51" fmla="*/ 595 h 1143"/>
                <a:gd name="T52" fmla="*/ 1415 w 1574"/>
                <a:gd name="T53" fmla="*/ 693 h 1143"/>
                <a:gd name="T54" fmla="*/ 1393 w 1574"/>
                <a:gd name="T55" fmla="*/ 723 h 1143"/>
                <a:gd name="T56" fmla="*/ 1464 w 1574"/>
                <a:gd name="T57" fmla="*/ 758 h 1143"/>
                <a:gd name="T58" fmla="*/ 1449 w 1574"/>
                <a:gd name="T59" fmla="*/ 800 h 1143"/>
                <a:gd name="T60" fmla="*/ 1492 w 1574"/>
                <a:gd name="T61" fmla="*/ 825 h 1143"/>
                <a:gd name="T62" fmla="*/ 1475 w 1574"/>
                <a:gd name="T63" fmla="*/ 844 h 1143"/>
                <a:gd name="T64" fmla="*/ 1471 w 1574"/>
                <a:gd name="T65" fmla="*/ 898 h 1143"/>
                <a:gd name="T66" fmla="*/ 1448 w 1574"/>
                <a:gd name="T67" fmla="*/ 922 h 1143"/>
                <a:gd name="T68" fmla="*/ 1455 w 1574"/>
                <a:gd name="T69" fmla="*/ 964 h 1143"/>
                <a:gd name="T70" fmla="*/ 1430 w 1574"/>
                <a:gd name="T71" fmla="*/ 988 h 1143"/>
                <a:gd name="T72" fmla="*/ 1401 w 1574"/>
                <a:gd name="T73" fmla="*/ 1019 h 1143"/>
                <a:gd name="T74" fmla="*/ 1356 w 1574"/>
                <a:gd name="T75" fmla="*/ 1057 h 1143"/>
                <a:gd name="T76" fmla="*/ 1296 w 1574"/>
                <a:gd name="T77" fmla="*/ 1045 h 1143"/>
                <a:gd name="T78" fmla="*/ 1289 w 1574"/>
                <a:gd name="T79" fmla="*/ 1079 h 1143"/>
                <a:gd name="T80" fmla="*/ 1234 w 1574"/>
                <a:gd name="T81" fmla="*/ 1101 h 1143"/>
                <a:gd name="T82" fmla="*/ 1217 w 1574"/>
                <a:gd name="T83" fmla="*/ 1135 h 1143"/>
                <a:gd name="T84" fmla="*/ 1183 w 1574"/>
                <a:gd name="T85" fmla="*/ 1096 h 1143"/>
                <a:gd name="T86" fmla="*/ 1145 w 1574"/>
                <a:gd name="T87" fmla="*/ 1092 h 1143"/>
                <a:gd name="T88" fmla="*/ 1073 w 1574"/>
                <a:gd name="T89" fmla="*/ 1047 h 1143"/>
                <a:gd name="T90" fmla="*/ 972 w 1574"/>
                <a:gd name="T91" fmla="*/ 1057 h 1143"/>
                <a:gd name="T92" fmla="*/ 942 w 1574"/>
                <a:gd name="T93" fmla="*/ 1107 h 1143"/>
                <a:gd name="T94" fmla="*/ 864 w 1574"/>
                <a:gd name="T95" fmla="*/ 1043 h 1143"/>
                <a:gd name="T96" fmla="*/ 813 w 1574"/>
                <a:gd name="T97" fmla="*/ 983 h 1143"/>
                <a:gd name="T98" fmla="*/ 812 w 1574"/>
                <a:gd name="T99" fmla="*/ 889 h 1143"/>
                <a:gd name="T100" fmla="*/ 747 w 1574"/>
                <a:gd name="T101" fmla="*/ 836 h 1143"/>
                <a:gd name="T102" fmla="*/ 674 w 1574"/>
                <a:gd name="T103" fmla="*/ 844 h 1143"/>
                <a:gd name="T104" fmla="*/ 570 w 1574"/>
                <a:gd name="T105" fmla="*/ 864 h 1143"/>
                <a:gd name="T106" fmla="*/ 460 w 1574"/>
                <a:gd name="T107" fmla="*/ 876 h 1143"/>
                <a:gd name="T108" fmla="*/ 339 w 1574"/>
                <a:gd name="T109" fmla="*/ 812 h 1143"/>
                <a:gd name="T110" fmla="*/ 223 w 1574"/>
                <a:gd name="T111" fmla="*/ 757 h 1143"/>
                <a:gd name="T112" fmla="*/ 215 w 1574"/>
                <a:gd name="T113" fmla="*/ 694 h 1143"/>
                <a:gd name="T114" fmla="*/ 205 w 1574"/>
                <a:gd name="T115" fmla="*/ 608 h 1143"/>
                <a:gd name="T116" fmla="*/ 57 w 1574"/>
                <a:gd name="T117" fmla="*/ 565 h 1143"/>
                <a:gd name="T118" fmla="*/ 10 w 1574"/>
                <a:gd name="T119" fmla="*/ 495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74" h="1143">
                  <a:moveTo>
                    <a:pt x="0" y="477"/>
                  </a:moveTo>
                  <a:cubicBezTo>
                    <a:pt x="4" y="477"/>
                    <a:pt x="7" y="475"/>
                    <a:pt x="6" y="471"/>
                  </a:cubicBezTo>
                  <a:cubicBezTo>
                    <a:pt x="5" y="465"/>
                    <a:pt x="2" y="466"/>
                    <a:pt x="4" y="460"/>
                  </a:cubicBezTo>
                  <a:cubicBezTo>
                    <a:pt x="5" y="455"/>
                    <a:pt x="9" y="457"/>
                    <a:pt x="13" y="455"/>
                  </a:cubicBezTo>
                  <a:cubicBezTo>
                    <a:pt x="17" y="453"/>
                    <a:pt x="19" y="447"/>
                    <a:pt x="24" y="447"/>
                  </a:cubicBezTo>
                  <a:cubicBezTo>
                    <a:pt x="23" y="445"/>
                    <a:pt x="23" y="443"/>
                    <a:pt x="24" y="441"/>
                  </a:cubicBezTo>
                  <a:cubicBezTo>
                    <a:pt x="27" y="442"/>
                    <a:pt x="33" y="445"/>
                    <a:pt x="35" y="442"/>
                  </a:cubicBezTo>
                  <a:cubicBezTo>
                    <a:pt x="37" y="440"/>
                    <a:pt x="40" y="437"/>
                    <a:pt x="43" y="437"/>
                  </a:cubicBezTo>
                  <a:cubicBezTo>
                    <a:pt x="46" y="437"/>
                    <a:pt x="47" y="445"/>
                    <a:pt x="49" y="446"/>
                  </a:cubicBezTo>
                  <a:cubicBezTo>
                    <a:pt x="53" y="449"/>
                    <a:pt x="60" y="445"/>
                    <a:pt x="64" y="446"/>
                  </a:cubicBezTo>
                  <a:cubicBezTo>
                    <a:pt x="72" y="446"/>
                    <a:pt x="73" y="435"/>
                    <a:pt x="74" y="429"/>
                  </a:cubicBezTo>
                  <a:cubicBezTo>
                    <a:pt x="75" y="424"/>
                    <a:pt x="77" y="422"/>
                    <a:pt x="82" y="423"/>
                  </a:cubicBezTo>
                  <a:cubicBezTo>
                    <a:pt x="88" y="424"/>
                    <a:pt x="95" y="424"/>
                    <a:pt x="101" y="423"/>
                  </a:cubicBezTo>
                  <a:cubicBezTo>
                    <a:pt x="104" y="422"/>
                    <a:pt x="109" y="423"/>
                    <a:pt x="111" y="421"/>
                  </a:cubicBezTo>
                  <a:cubicBezTo>
                    <a:pt x="114" y="418"/>
                    <a:pt x="114" y="412"/>
                    <a:pt x="117" y="409"/>
                  </a:cubicBezTo>
                  <a:cubicBezTo>
                    <a:pt x="124" y="401"/>
                    <a:pt x="138" y="400"/>
                    <a:pt x="146" y="393"/>
                  </a:cubicBezTo>
                  <a:cubicBezTo>
                    <a:pt x="149" y="390"/>
                    <a:pt x="151" y="389"/>
                    <a:pt x="155" y="389"/>
                  </a:cubicBezTo>
                  <a:cubicBezTo>
                    <a:pt x="161" y="389"/>
                    <a:pt x="159" y="387"/>
                    <a:pt x="157" y="383"/>
                  </a:cubicBezTo>
                  <a:cubicBezTo>
                    <a:pt x="155" y="378"/>
                    <a:pt x="153" y="373"/>
                    <a:pt x="151" y="369"/>
                  </a:cubicBezTo>
                  <a:cubicBezTo>
                    <a:pt x="148" y="362"/>
                    <a:pt x="155" y="361"/>
                    <a:pt x="159" y="360"/>
                  </a:cubicBezTo>
                  <a:cubicBezTo>
                    <a:pt x="157" y="358"/>
                    <a:pt x="155" y="357"/>
                    <a:pt x="153" y="356"/>
                  </a:cubicBezTo>
                  <a:cubicBezTo>
                    <a:pt x="155" y="353"/>
                    <a:pt x="158" y="349"/>
                    <a:pt x="162" y="352"/>
                  </a:cubicBezTo>
                  <a:cubicBezTo>
                    <a:pt x="164" y="347"/>
                    <a:pt x="158" y="346"/>
                    <a:pt x="157" y="342"/>
                  </a:cubicBezTo>
                  <a:cubicBezTo>
                    <a:pt x="157" y="336"/>
                    <a:pt x="151" y="332"/>
                    <a:pt x="148" y="328"/>
                  </a:cubicBezTo>
                  <a:cubicBezTo>
                    <a:pt x="144" y="322"/>
                    <a:pt x="139" y="316"/>
                    <a:pt x="137" y="309"/>
                  </a:cubicBezTo>
                  <a:cubicBezTo>
                    <a:pt x="135" y="305"/>
                    <a:pt x="138" y="297"/>
                    <a:pt x="133" y="295"/>
                  </a:cubicBezTo>
                  <a:cubicBezTo>
                    <a:pt x="130" y="293"/>
                    <a:pt x="115" y="295"/>
                    <a:pt x="119" y="289"/>
                  </a:cubicBezTo>
                  <a:cubicBezTo>
                    <a:pt x="121" y="285"/>
                    <a:pt x="130" y="284"/>
                    <a:pt x="134" y="283"/>
                  </a:cubicBezTo>
                  <a:cubicBezTo>
                    <a:pt x="141" y="281"/>
                    <a:pt x="148" y="280"/>
                    <a:pt x="156" y="278"/>
                  </a:cubicBezTo>
                  <a:cubicBezTo>
                    <a:pt x="163" y="275"/>
                    <a:pt x="164" y="279"/>
                    <a:pt x="170" y="281"/>
                  </a:cubicBezTo>
                  <a:cubicBezTo>
                    <a:pt x="175" y="283"/>
                    <a:pt x="179" y="278"/>
                    <a:pt x="183" y="281"/>
                  </a:cubicBezTo>
                  <a:cubicBezTo>
                    <a:pt x="189" y="285"/>
                    <a:pt x="189" y="279"/>
                    <a:pt x="188" y="275"/>
                  </a:cubicBezTo>
                  <a:cubicBezTo>
                    <a:pt x="186" y="270"/>
                    <a:pt x="179" y="273"/>
                    <a:pt x="176" y="269"/>
                  </a:cubicBezTo>
                  <a:cubicBezTo>
                    <a:pt x="174" y="265"/>
                    <a:pt x="176" y="258"/>
                    <a:pt x="177" y="255"/>
                  </a:cubicBezTo>
                  <a:cubicBezTo>
                    <a:pt x="177" y="249"/>
                    <a:pt x="176" y="243"/>
                    <a:pt x="176" y="237"/>
                  </a:cubicBezTo>
                  <a:cubicBezTo>
                    <a:pt x="176" y="231"/>
                    <a:pt x="178" y="225"/>
                    <a:pt x="177" y="219"/>
                  </a:cubicBezTo>
                  <a:cubicBezTo>
                    <a:pt x="176" y="213"/>
                    <a:pt x="179" y="211"/>
                    <a:pt x="185" y="214"/>
                  </a:cubicBezTo>
                  <a:cubicBezTo>
                    <a:pt x="190" y="216"/>
                    <a:pt x="194" y="218"/>
                    <a:pt x="199" y="220"/>
                  </a:cubicBezTo>
                  <a:cubicBezTo>
                    <a:pt x="206" y="221"/>
                    <a:pt x="213" y="219"/>
                    <a:pt x="220" y="219"/>
                  </a:cubicBezTo>
                  <a:cubicBezTo>
                    <a:pt x="226" y="220"/>
                    <a:pt x="227" y="227"/>
                    <a:pt x="232" y="223"/>
                  </a:cubicBezTo>
                  <a:cubicBezTo>
                    <a:pt x="236" y="220"/>
                    <a:pt x="241" y="219"/>
                    <a:pt x="245" y="216"/>
                  </a:cubicBezTo>
                  <a:cubicBezTo>
                    <a:pt x="252" y="210"/>
                    <a:pt x="235" y="194"/>
                    <a:pt x="233" y="188"/>
                  </a:cubicBezTo>
                  <a:cubicBezTo>
                    <a:pt x="232" y="184"/>
                    <a:pt x="232" y="175"/>
                    <a:pt x="235" y="172"/>
                  </a:cubicBezTo>
                  <a:cubicBezTo>
                    <a:pt x="238" y="170"/>
                    <a:pt x="243" y="172"/>
                    <a:pt x="247" y="171"/>
                  </a:cubicBezTo>
                  <a:cubicBezTo>
                    <a:pt x="256" y="167"/>
                    <a:pt x="255" y="162"/>
                    <a:pt x="252" y="154"/>
                  </a:cubicBezTo>
                  <a:cubicBezTo>
                    <a:pt x="251" y="148"/>
                    <a:pt x="257" y="148"/>
                    <a:pt x="261" y="148"/>
                  </a:cubicBezTo>
                  <a:cubicBezTo>
                    <a:pt x="267" y="149"/>
                    <a:pt x="269" y="149"/>
                    <a:pt x="275" y="147"/>
                  </a:cubicBezTo>
                  <a:cubicBezTo>
                    <a:pt x="277" y="146"/>
                    <a:pt x="284" y="151"/>
                    <a:pt x="282" y="153"/>
                  </a:cubicBezTo>
                  <a:cubicBezTo>
                    <a:pt x="279" y="156"/>
                    <a:pt x="283" y="159"/>
                    <a:pt x="287" y="160"/>
                  </a:cubicBezTo>
                  <a:cubicBezTo>
                    <a:pt x="294" y="162"/>
                    <a:pt x="288" y="165"/>
                    <a:pt x="292" y="167"/>
                  </a:cubicBezTo>
                  <a:cubicBezTo>
                    <a:pt x="298" y="170"/>
                    <a:pt x="305" y="169"/>
                    <a:pt x="310" y="175"/>
                  </a:cubicBezTo>
                  <a:cubicBezTo>
                    <a:pt x="314" y="180"/>
                    <a:pt x="328" y="188"/>
                    <a:pt x="335" y="185"/>
                  </a:cubicBezTo>
                  <a:cubicBezTo>
                    <a:pt x="340" y="184"/>
                    <a:pt x="353" y="195"/>
                    <a:pt x="354" y="189"/>
                  </a:cubicBezTo>
                  <a:cubicBezTo>
                    <a:pt x="357" y="190"/>
                    <a:pt x="357" y="192"/>
                    <a:pt x="359" y="194"/>
                  </a:cubicBezTo>
                  <a:cubicBezTo>
                    <a:pt x="362" y="196"/>
                    <a:pt x="365" y="196"/>
                    <a:pt x="368" y="198"/>
                  </a:cubicBezTo>
                  <a:cubicBezTo>
                    <a:pt x="373" y="203"/>
                    <a:pt x="375" y="209"/>
                    <a:pt x="380" y="214"/>
                  </a:cubicBezTo>
                  <a:cubicBezTo>
                    <a:pt x="384" y="217"/>
                    <a:pt x="389" y="220"/>
                    <a:pt x="394" y="224"/>
                  </a:cubicBezTo>
                  <a:cubicBezTo>
                    <a:pt x="401" y="230"/>
                    <a:pt x="399" y="235"/>
                    <a:pt x="401" y="243"/>
                  </a:cubicBezTo>
                  <a:cubicBezTo>
                    <a:pt x="403" y="248"/>
                    <a:pt x="409" y="249"/>
                    <a:pt x="406" y="256"/>
                  </a:cubicBezTo>
                  <a:cubicBezTo>
                    <a:pt x="404" y="261"/>
                    <a:pt x="402" y="267"/>
                    <a:pt x="407" y="272"/>
                  </a:cubicBezTo>
                  <a:cubicBezTo>
                    <a:pt x="410" y="275"/>
                    <a:pt x="415" y="281"/>
                    <a:pt x="420" y="281"/>
                  </a:cubicBezTo>
                  <a:cubicBezTo>
                    <a:pt x="427" y="280"/>
                    <a:pt x="433" y="284"/>
                    <a:pt x="440" y="285"/>
                  </a:cubicBezTo>
                  <a:cubicBezTo>
                    <a:pt x="446" y="285"/>
                    <a:pt x="453" y="287"/>
                    <a:pt x="460" y="287"/>
                  </a:cubicBezTo>
                  <a:cubicBezTo>
                    <a:pt x="466" y="286"/>
                    <a:pt x="472" y="286"/>
                    <a:pt x="478" y="286"/>
                  </a:cubicBezTo>
                  <a:cubicBezTo>
                    <a:pt x="493" y="288"/>
                    <a:pt x="503" y="296"/>
                    <a:pt x="517" y="302"/>
                  </a:cubicBezTo>
                  <a:cubicBezTo>
                    <a:pt x="523" y="304"/>
                    <a:pt x="528" y="308"/>
                    <a:pt x="535" y="310"/>
                  </a:cubicBezTo>
                  <a:cubicBezTo>
                    <a:pt x="539" y="312"/>
                    <a:pt x="544" y="311"/>
                    <a:pt x="548" y="312"/>
                  </a:cubicBezTo>
                  <a:cubicBezTo>
                    <a:pt x="554" y="313"/>
                    <a:pt x="549" y="317"/>
                    <a:pt x="554" y="320"/>
                  </a:cubicBezTo>
                  <a:cubicBezTo>
                    <a:pt x="560" y="323"/>
                    <a:pt x="563" y="324"/>
                    <a:pt x="567" y="330"/>
                  </a:cubicBezTo>
                  <a:cubicBezTo>
                    <a:pt x="570" y="335"/>
                    <a:pt x="574" y="340"/>
                    <a:pt x="577" y="345"/>
                  </a:cubicBezTo>
                  <a:cubicBezTo>
                    <a:pt x="582" y="350"/>
                    <a:pt x="588" y="352"/>
                    <a:pt x="593" y="357"/>
                  </a:cubicBezTo>
                  <a:cubicBezTo>
                    <a:pt x="597" y="360"/>
                    <a:pt x="598" y="364"/>
                    <a:pt x="603" y="365"/>
                  </a:cubicBezTo>
                  <a:cubicBezTo>
                    <a:pt x="610" y="366"/>
                    <a:pt x="616" y="363"/>
                    <a:pt x="622" y="363"/>
                  </a:cubicBezTo>
                  <a:cubicBezTo>
                    <a:pt x="636" y="361"/>
                    <a:pt x="651" y="368"/>
                    <a:pt x="664" y="369"/>
                  </a:cubicBezTo>
                  <a:cubicBezTo>
                    <a:pt x="672" y="369"/>
                    <a:pt x="679" y="370"/>
                    <a:pt x="686" y="370"/>
                  </a:cubicBezTo>
                  <a:cubicBezTo>
                    <a:pt x="693" y="370"/>
                    <a:pt x="699" y="366"/>
                    <a:pt x="706" y="367"/>
                  </a:cubicBezTo>
                  <a:cubicBezTo>
                    <a:pt x="714" y="368"/>
                    <a:pt x="722" y="369"/>
                    <a:pt x="729" y="370"/>
                  </a:cubicBezTo>
                  <a:cubicBezTo>
                    <a:pt x="736" y="371"/>
                    <a:pt x="743" y="370"/>
                    <a:pt x="749" y="372"/>
                  </a:cubicBezTo>
                  <a:cubicBezTo>
                    <a:pt x="755" y="374"/>
                    <a:pt x="759" y="380"/>
                    <a:pt x="764" y="382"/>
                  </a:cubicBezTo>
                  <a:cubicBezTo>
                    <a:pt x="772" y="387"/>
                    <a:pt x="783" y="386"/>
                    <a:pt x="791" y="388"/>
                  </a:cubicBezTo>
                  <a:cubicBezTo>
                    <a:pt x="805" y="391"/>
                    <a:pt x="817" y="399"/>
                    <a:pt x="830" y="396"/>
                  </a:cubicBezTo>
                  <a:cubicBezTo>
                    <a:pt x="837" y="394"/>
                    <a:pt x="837" y="395"/>
                    <a:pt x="841" y="399"/>
                  </a:cubicBezTo>
                  <a:cubicBezTo>
                    <a:pt x="845" y="404"/>
                    <a:pt x="852" y="399"/>
                    <a:pt x="856" y="403"/>
                  </a:cubicBezTo>
                  <a:cubicBezTo>
                    <a:pt x="855" y="402"/>
                    <a:pt x="886" y="384"/>
                    <a:pt x="889" y="383"/>
                  </a:cubicBezTo>
                  <a:cubicBezTo>
                    <a:pt x="895" y="380"/>
                    <a:pt x="903" y="378"/>
                    <a:pt x="910" y="377"/>
                  </a:cubicBezTo>
                  <a:cubicBezTo>
                    <a:pt x="918" y="376"/>
                    <a:pt x="926" y="374"/>
                    <a:pt x="934" y="374"/>
                  </a:cubicBezTo>
                  <a:cubicBezTo>
                    <a:pt x="946" y="374"/>
                    <a:pt x="960" y="378"/>
                    <a:pt x="971" y="372"/>
                  </a:cubicBezTo>
                  <a:cubicBezTo>
                    <a:pt x="976" y="369"/>
                    <a:pt x="985" y="368"/>
                    <a:pt x="989" y="363"/>
                  </a:cubicBezTo>
                  <a:cubicBezTo>
                    <a:pt x="992" y="359"/>
                    <a:pt x="993" y="353"/>
                    <a:pt x="995" y="348"/>
                  </a:cubicBezTo>
                  <a:cubicBezTo>
                    <a:pt x="998" y="343"/>
                    <a:pt x="1002" y="342"/>
                    <a:pt x="1007" y="339"/>
                  </a:cubicBezTo>
                  <a:cubicBezTo>
                    <a:pt x="1009" y="338"/>
                    <a:pt x="1011" y="336"/>
                    <a:pt x="1012" y="334"/>
                  </a:cubicBezTo>
                  <a:cubicBezTo>
                    <a:pt x="1013" y="332"/>
                    <a:pt x="1016" y="333"/>
                    <a:pt x="1016" y="332"/>
                  </a:cubicBezTo>
                  <a:cubicBezTo>
                    <a:pt x="1018" y="324"/>
                    <a:pt x="996" y="316"/>
                    <a:pt x="993" y="310"/>
                  </a:cubicBezTo>
                  <a:cubicBezTo>
                    <a:pt x="989" y="304"/>
                    <a:pt x="987" y="287"/>
                    <a:pt x="996" y="285"/>
                  </a:cubicBezTo>
                  <a:cubicBezTo>
                    <a:pt x="1008" y="283"/>
                    <a:pt x="1022" y="293"/>
                    <a:pt x="1034" y="295"/>
                  </a:cubicBezTo>
                  <a:cubicBezTo>
                    <a:pt x="1036" y="295"/>
                    <a:pt x="1043" y="297"/>
                    <a:pt x="1046" y="295"/>
                  </a:cubicBezTo>
                  <a:cubicBezTo>
                    <a:pt x="1049" y="292"/>
                    <a:pt x="1054" y="289"/>
                    <a:pt x="1056" y="285"/>
                  </a:cubicBezTo>
                  <a:cubicBezTo>
                    <a:pt x="1058" y="281"/>
                    <a:pt x="1059" y="277"/>
                    <a:pt x="1062" y="274"/>
                  </a:cubicBezTo>
                  <a:cubicBezTo>
                    <a:pt x="1064" y="271"/>
                    <a:pt x="1073" y="273"/>
                    <a:pt x="1076" y="274"/>
                  </a:cubicBezTo>
                  <a:cubicBezTo>
                    <a:pt x="1085" y="274"/>
                    <a:pt x="1094" y="270"/>
                    <a:pt x="1099" y="262"/>
                  </a:cubicBezTo>
                  <a:cubicBezTo>
                    <a:pt x="1101" y="259"/>
                    <a:pt x="1095" y="253"/>
                    <a:pt x="1098" y="248"/>
                  </a:cubicBezTo>
                  <a:cubicBezTo>
                    <a:pt x="1101" y="242"/>
                    <a:pt x="1104" y="241"/>
                    <a:pt x="1110" y="241"/>
                  </a:cubicBezTo>
                  <a:cubicBezTo>
                    <a:pt x="1114" y="241"/>
                    <a:pt x="1118" y="243"/>
                    <a:pt x="1117" y="236"/>
                  </a:cubicBezTo>
                  <a:cubicBezTo>
                    <a:pt x="1116" y="232"/>
                    <a:pt x="1123" y="235"/>
                    <a:pt x="1125" y="235"/>
                  </a:cubicBezTo>
                  <a:cubicBezTo>
                    <a:pt x="1127" y="236"/>
                    <a:pt x="1134" y="231"/>
                    <a:pt x="1137" y="230"/>
                  </a:cubicBezTo>
                  <a:cubicBezTo>
                    <a:pt x="1140" y="229"/>
                    <a:pt x="1142" y="230"/>
                    <a:pt x="1145" y="230"/>
                  </a:cubicBezTo>
                  <a:cubicBezTo>
                    <a:pt x="1146" y="230"/>
                    <a:pt x="1148" y="230"/>
                    <a:pt x="1150" y="230"/>
                  </a:cubicBezTo>
                  <a:cubicBezTo>
                    <a:pt x="1150" y="229"/>
                    <a:pt x="1151" y="228"/>
                    <a:pt x="1152" y="227"/>
                  </a:cubicBezTo>
                  <a:cubicBezTo>
                    <a:pt x="1154" y="227"/>
                    <a:pt x="1158" y="230"/>
                    <a:pt x="1160" y="230"/>
                  </a:cubicBezTo>
                  <a:cubicBezTo>
                    <a:pt x="1165" y="231"/>
                    <a:pt x="1169" y="232"/>
                    <a:pt x="1173" y="232"/>
                  </a:cubicBezTo>
                  <a:cubicBezTo>
                    <a:pt x="1189" y="233"/>
                    <a:pt x="1175" y="220"/>
                    <a:pt x="1169" y="215"/>
                  </a:cubicBezTo>
                  <a:cubicBezTo>
                    <a:pt x="1154" y="204"/>
                    <a:pt x="1138" y="195"/>
                    <a:pt x="1121" y="188"/>
                  </a:cubicBezTo>
                  <a:cubicBezTo>
                    <a:pt x="1114" y="184"/>
                    <a:pt x="1103" y="182"/>
                    <a:pt x="1098" y="190"/>
                  </a:cubicBezTo>
                  <a:cubicBezTo>
                    <a:pt x="1092" y="201"/>
                    <a:pt x="1084" y="190"/>
                    <a:pt x="1074" y="190"/>
                  </a:cubicBezTo>
                  <a:cubicBezTo>
                    <a:pt x="1071" y="190"/>
                    <a:pt x="1063" y="189"/>
                    <a:pt x="1061" y="191"/>
                  </a:cubicBezTo>
                  <a:cubicBezTo>
                    <a:pt x="1057" y="192"/>
                    <a:pt x="1057" y="197"/>
                    <a:pt x="1051" y="194"/>
                  </a:cubicBezTo>
                  <a:cubicBezTo>
                    <a:pt x="1048" y="192"/>
                    <a:pt x="1035" y="186"/>
                    <a:pt x="1039" y="180"/>
                  </a:cubicBezTo>
                  <a:cubicBezTo>
                    <a:pt x="1040" y="177"/>
                    <a:pt x="1043" y="177"/>
                    <a:pt x="1040" y="174"/>
                  </a:cubicBezTo>
                  <a:cubicBezTo>
                    <a:pt x="1038" y="170"/>
                    <a:pt x="1038" y="167"/>
                    <a:pt x="1038" y="163"/>
                  </a:cubicBezTo>
                  <a:cubicBezTo>
                    <a:pt x="1038" y="150"/>
                    <a:pt x="1037" y="137"/>
                    <a:pt x="1036" y="124"/>
                  </a:cubicBezTo>
                  <a:cubicBezTo>
                    <a:pt x="1045" y="129"/>
                    <a:pt x="1056" y="129"/>
                    <a:pt x="1065" y="133"/>
                  </a:cubicBezTo>
                  <a:cubicBezTo>
                    <a:pt x="1075" y="137"/>
                    <a:pt x="1077" y="128"/>
                    <a:pt x="1083" y="122"/>
                  </a:cubicBezTo>
                  <a:cubicBezTo>
                    <a:pt x="1088" y="118"/>
                    <a:pt x="1100" y="122"/>
                    <a:pt x="1099" y="113"/>
                  </a:cubicBezTo>
                  <a:cubicBezTo>
                    <a:pt x="1099" y="109"/>
                    <a:pt x="1096" y="108"/>
                    <a:pt x="1092" y="107"/>
                  </a:cubicBezTo>
                  <a:cubicBezTo>
                    <a:pt x="1089" y="106"/>
                    <a:pt x="1090" y="102"/>
                    <a:pt x="1090" y="100"/>
                  </a:cubicBezTo>
                  <a:cubicBezTo>
                    <a:pt x="1089" y="97"/>
                    <a:pt x="1092" y="95"/>
                    <a:pt x="1090" y="91"/>
                  </a:cubicBezTo>
                  <a:cubicBezTo>
                    <a:pt x="1089" y="90"/>
                    <a:pt x="1089" y="88"/>
                    <a:pt x="1090" y="86"/>
                  </a:cubicBezTo>
                  <a:cubicBezTo>
                    <a:pt x="1091" y="82"/>
                    <a:pt x="1089" y="80"/>
                    <a:pt x="1089" y="77"/>
                  </a:cubicBezTo>
                  <a:cubicBezTo>
                    <a:pt x="1089" y="69"/>
                    <a:pt x="1086" y="63"/>
                    <a:pt x="1094" y="57"/>
                  </a:cubicBezTo>
                  <a:cubicBezTo>
                    <a:pt x="1102" y="51"/>
                    <a:pt x="1089" y="44"/>
                    <a:pt x="1086" y="38"/>
                  </a:cubicBezTo>
                  <a:cubicBezTo>
                    <a:pt x="1084" y="33"/>
                    <a:pt x="1077" y="30"/>
                    <a:pt x="1072" y="32"/>
                  </a:cubicBezTo>
                  <a:cubicBezTo>
                    <a:pt x="1067" y="34"/>
                    <a:pt x="1064" y="30"/>
                    <a:pt x="1061" y="27"/>
                  </a:cubicBezTo>
                  <a:cubicBezTo>
                    <a:pt x="1069" y="24"/>
                    <a:pt x="1068" y="11"/>
                    <a:pt x="1077" y="10"/>
                  </a:cubicBezTo>
                  <a:cubicBezTo>
                    <a:pt x="1089" y="7"/>
                    <a:pt x="1099" y="3"/>
                    <a:pt x="1111" y="4"/>
                  </a:cubicBezTo>
                  <a:cubicBezTo>
                    <a:pt x="1123" y="4"/>
                    <a:pt x="1133" y="0"/>
                    <a:pt x="1145" y="3"/>
                  </a:cubicBezTo>
                  <a:cubicBezTo>
                    <a:pt x="1150" y="5"/>
                    <a:pt x="1155" y="7"/>
                    <a:pt x="1160" y="9"/>
                  </a:cubicBezTo>
                  <a:cubicBezTo>
                    <a:pt x="1166" y="12"/>
                    <a:pt x="1174" y="12"/>
                    <a:pt x="1180" y="16"/>
                  </a:cubicBezTo>
                  <a:cubicBezTo>
                    <a:pt x="1180" y="9"/>
                    <a:pt x="1201" y="17"/>
                    <a:pt x="1203" y="20"/>
                  </a:cubicBezTo>
                  <a:cubicBezTo>
                    <a:pt x="1204" y="22"/>
                    <a:pt x="1214" y="25"/>
                    <a:pt x="1217" y="27"/>
                  </a:cubicBezTo>
                  <a:cubicBezTo>
                    <a:pt x="1219" y="28"/>
                    <a:pt x="1218" y="31"/>
                    <a:pt x="1220" y="32"/>
                  </a:cubicBezTo>
                  <a:cubicBezTo>
                    <a:pt x="1223" y="34"/>
                    <a:pt x="1227" y="34"/>
                    <a:pt x="1229" y="37"/>
                  </a:cubicBezTo>
                  <a:cubicBezTo>
                    <a:pt x="1233" y="39"/>
                    <a:pt x="1238" y="41"/>
                    <a:pt x="1240" y="45"/>
                  </a:cubicBezTo>
                  <a:cubicBezTo>
                    <a:pt x="1241" y="47"/>
                    <a:pt x="1247" y="46"/>
                    <a:pt x="1247" y="50"/>
                  </a:cubicBezTo>
                  <a:cubicBezTo>
                    <a:pt x="1247" y="55"/>
                    <a:pt x="1253" y="58"/>
                    <a:pt x="1257" y="61"/>
                  </a:cubicBezTo>
                  <a:cubicBezTo>
                    <a:pt x="1261" y="63"/>
                    <a:pt x="1265" y="70"/>
                    <a:pt x="1269" y="71"/>
                  </a:cubicBezTo>
                  <a:cubicBezTo>
                    <a:pt x="1275" y="73"/>
                    <a:pt x="1277" y="80"/>
                    <a:pt x="1281" y="84"/>
                  </a:cubicBezTo>
                  <a:cubicBezTo>
                    <a:pt x="1287" y="88"/>
                    <a:pt x="1293" y="90"/>
                    <a:pt x="1298" y="95"/>
                  </a:cubicBezTo>
                  <a:cubicBezTo>
                    <a:pt x="1302" y="98"/>
                    <a:pt x="1303" y="104"/>
                    <a:pt x="1308" y="107"/>
                  </a:cubicBezTo>
                  <a:cubicBezTo>
                    <a:pt x="1312" y="111"/>
                    <a:pt x="1316" y="110"/>
                    <a:pt x="1318" y="116"/>
                  </a:cubicBezTo>
                  <a:cubicBezTo>
                    <a:pt x="1321" y="127"/>
                    <a:pt x="1339" y="135"/>
                    <a:pt x="1349" y="134"/>
                  </a:cubicBezTo>
                  <a:cubicBezTo>
                    <a:pt x="1354" y="133"/>
                    <a:pt x="1359" y="131"/>
                    <a:pt x="1363" y="133"/>
                  </a:cubicBezTo>
                  <a:cubicBezTo>
                    <a:pt x="1369" y="137"/>
                    <a:pt x="1376" y="138"/>
                    <a:pt x="1382" y="141"/>
                  </a:cubicBezTo>
                  <a:cubicBezTo>
                    <a:pt x="1379" y="134"/>
                    <a:pt x="1390" y="143"/>
                    <a:pt x="1393" y="143"/>
                  </a:cubicBezTo>
                  <a:cubicBezTo>
                    <a:pt x="1397" y="143"/>
                    <a:pt x="1403" y="151"/>
                    <a:pt x="1408" y="153"/>
                  </a:cubicBezTo>
                  <a:cubicBezTo>
                    <a:pt x="1415" y="157"/>
                    <a:pt x="1421" y="154"/>
                    <a:pt x="1427" y="156"/>
                  </a:cubicBezTo>
                  <a:cubicBezTo>
                    <a:pt x="1429" y="157"/>
                    <a:pt x="1428" y="163"/>
                    <a:pt x="1430" y="165"/>
                  </a:cubicBezTo>
                  <a:cubicBezTo>
                    <a:pt x="1432" y="167"/>
                    <a:pt x="1435" y="168"/>
                    <a:pt x="1437" y="170"/>
                  </a:cubicBezTo>
                  <a:cubicBezTo>
                    <a:pt x="1444" y="173"/>
                    <a:pt x="1443" y="177"/>
                    <a:pt x="1445" y="183"/>
                  </a:cubicBezTo>
                  <a:cubicBezTo>
                    <a:pt x="1447" y="187"/>
                    <a:pt x="1460" y="197"/>
                    <a:pt x="1464" y="196"/>
                  </a:cubicBezTo>
                  <a:cubicBezTo>
                    <a:pt x="1467" y="196"/>
                    <a:pt x="1469" y="195"/>
                    <a:pt x="1472" y="195"/>
                  </a:cubicBezTo>
                  <a:cubicBezTo>
                    <a:pt x="1476" y="195"/>
                    <a:pt x="1480" y="197"/>
                    <a:pt x="1484" y="197"/>
                  </a:cubicBezTo>
                  <a:cubicBezTo>
                    <a:pt x="1488" y="196"/>
                    <a:pt x="1502" y="197"/>
                    <a:pt x="1503" y="191"/>
                  </a:cubicBezTo>
                  <a:cubicBezTo>
                    <a:pt x="1503" y="186"/>
                    <a:pt x="1510" y="181"/>
                    <a:pt x="1515" y="182"/>
                  </a:cubicBezTo>
                  <a:cubicBezTo>
                    <a:pt x="1516" y="182"/>
                    <a:pt x="1521" y="184"/>
                    <a:pt x="1521" y="183"/>
                  </a:cubicBezTo>
                  <a:cubicBezTo>
                    <a:pt x="1522" y="179"/>
                    <a:pt x="1522" y="178"/>
                    <a:pt x="1525" y="177"/>
                  </a:cubicBezTo>
                  <a:cubicBezTo>
                    <a:pt x="1529" y="177"/>
                    <a:pt x="1535" y="171"/>
                    <a:pt x="1539" y="173"/>
                  </a:cubicBezTo>
                  <a:cubicBezTo>
                    <a:pt x="1541" y="174"/>
                    <a:pt x="1548" y="177"/>
                    <a:pt x="1550" y="177"/>
                  </a:cubicBezTo>
                  <a:cubicBezTo>
                    <a:pt x="1549" y="181"/>
                    <a:pt x="1550" y="184"/>
                    <a:pt x="1553" y="187"/>
                  </a:cubicBezTo>
                  <a:cubicBezTo>
                    <a:pt x="1557" y="191"/>
                    <a:pt x="1566" y="197"/>
                    <a:pt x="1562" y="204"/>
                  </a:cubicBezTo>
                  <a:cubicBezTo>
                    <a:pt x="1561" y="205"/>
                    <a:pt x="1558" y="206"/>
                    <a:pt x="1557" y="207"/>
                  </a:cubicBezTo>
                  <a:cubicBezTo>
                    <a:pt x="1554" y="210"/>
                    <a:pt x="1558" y="212"/>
                    <a:pt x="1560" y="215"/>
                  </a:cubicBezTo>
                  <a:cubicBezTo>
                    <a:pt x="1561" y="217"/>
                    <a:pt x="1560" y="219"/>
                    <a:pt x="1560" y="222"/>
                  </a:cubicBezTo>
                  <a:cubicBezTo>
                    <a:pt x="1561" y="226"/>
                    <a:pt x="1565" y="229"/>
                    <a:pt x="1565" y="233"/>
                  </a:cubicBezTo>
                  <a:cubicBezTo>
                    <a:pt x="1564" y="238"/>
                    <a:pt x="1574" y="245"/>
                    <a:pt x="1567" y="249"/>
                  </a:cubicBezTo>
                  <a:cubicBezTo>
                    <a:pt x="1572" y="252"/>
                    <a:pt x="1567" y="253"/>
                    <a:pt x="1568" y="258"/>
                  </a:cubicBezTo>
                  <a:cubicBezTo>
                    <a:pt x="1568" y="261"/>
                    <a:pt x="1572" y="264"/>
                    <a:pt x="1571" y="267"/>
                  </a:cubicBezTo>
                  <a:cubicBezTo>
                    <a:pt x="1570" y="272"/>
                    <a:pt x="1565" y="270"/>
                    <a:pt x="1568" y="277"/>
                  </a:cubicBezTo>
                  <a:cubicBezTo>
                    <a:pt x="1569" y="279"/>
                    <a:pt x="1571" y="281"/>
                    <a:pt x="1571" y="284"/>
                  </a:cubicBezTo>
                  <a:cubicBezTo>
                    <a:pt x="1572" y="288"/>
                    <a:pt x="1549" y="282"/>
                    <a:pt x="1545" y="281"/>
                  </a:cubicBezTo>
                  <a:cubicBezTo>
                    <a:pt x="1544" y="280"/>
                    <a:pt x="1534" y="276"/>
                    <a:pt x="1534" y="278"/>
                  </a:cubicBezTo>
                  <a:cubicBezTo>
                    <a:pt x="1532" y="281"/>
                    <a:pt x="1532" y="286"/>
                    <a:pt x="1529" y="288"/>
                  </a:cubicBezTo>
                  <a:cubicBezTo>
                    <a:pt x="1527" y="289"/>
                    <a:pt x="1521" y="290"/>
                    <a:pt x="1520" y="292"/>
                  </a:cubicBezTo>
                  <a:cubicBezTo>
                    <a:pt x="1518" y="293"/>
                    <a:pt x="1526" y="298"/>
                    <a:pt x="1527" y="299"/>
                  </a:cubicBezTo>
                  <a:cubicBezTo>
                    <a:pt x="1535" y="308"/>
                    <a:pt x="1541" y="318"/>
                    <a:pt x="1547" y="329"/>
                  </a:cubicBezTo>
                  <a:cubicBezTo>
                    <a:pt x="1551" y="338"/>
                    <a:pt x="1560" y="344"/>
                    <a:pt x="1559" y="354"/>
                  </a:cubicBezTo>
                  <a:cubicBezTo>
                    <a:pt x="1559" y="359"/>
                    <a:pt x="1562" y="358"/>
                    <a:pt x="1556" y="360"/>
                  </a:cubicBezTo>
                  <a:cubicBezTo>
                    <a:pt x="1552" y="362"/>
                    <a:pt x="1548" y="361"/>
                    <a:pt x="1545" y="366"/>
                  </a:cubicBezTo>
                  <a:cubicBezTo>
                    <a:pt x="1552" y="368"/>
                    <a:pt x="1551" y="371"/>
                    <a:pt x="1556" y="375"/>
                  </a:cubicBezTo>
                  <a:cubicBezTo>
                    <a:pt x="1551" y="371"/>
                    <a:pt x="1543" y="369"/>
                    <a:pt x="1539" y="363"/>
                  </a:cubicBezTo>
                  <a:cubicBezTo>
                    <a:pt x="1535" y="358"/>
                    <a:pt x="1531" y="357"/>
                    <a:pt x="1525" y="357"/>
                  </a:cubicBezTo>
                  <a:cubicBezTo>
                    <a:pt x="1526" y="361"/>
                    <a:pt x="1532" y="371"/>
                    <a:pt x="1530" y="375"/>
                  </a:cubicBezTo>
                  <a:cubicBezTo>
                    <a:pt x="1528" y="377"/>
                    <a:pt x="1522" y="375"/>
                    <a:pt x="1520" y="377"/>
                  </a:cubicBezTo>
                  <a:cubicBezTo>
                    <a:pt x="1516" y="380"/>
                    <a:pt x="1523" y="386"/>
                    <a:pt x="1515" y="388"/>
                  </a:cubicBezTo>
                  <a:cubicBezTo>
                    <a:pt x="1508" y="390"/>
                    <a:pt x="1500" y="388"/>
                    <a:pt x="1493" y="390"/>
                  </a:cubicBezTo>
                  <a:cubicBezTo>
                    <a:pt x="1497" y="395"/>
                    <a:pt x="1509" y="402"/>
                    <a:pt x="1507" y="409"/>
                  </a:cubicBezTo>
                  <a:cubicBezTo>
                    <a:pt x="1506" y="412"/>
                    <a:pt x="1491" y="410"/>
                    <a:pt x="1488" y="409"/>
                  </a:cubicBezTo>
                  <a:cubicBezTo>
                    <a:pt x="1484" y="409"/>
                    <a:pt x="1480" y="408"/>
                    <a:pt x="1477" y="406"/>
                  </a:cubicBezTo>
                  <a:cubicBezTo>
                    <a:pt x="1473" y="404"/>
                    <a:pt x="1470" y="397"/>
                    <a:pt x="1465" y="398"/>
                  </a:cubicBezTo>
                  <a:cubicBezTo>
                    <a:pt x="1462" y="398"/>
                    <a:pt x="1462" y="401"/>
                    <a:pt x="1459" y="401"/>
                  </a:cubicBezTo>
                  <a:cubicBezTo>
                    <a:pt x="1459" y="408"/>
                    <a:pt x="1460" y="411"/>
                    <a:pt x="1457" y="418"/>
                  </a:cubicBezTo>
                  <a:cubicBezTo>
                    <a:pt x="1456" y="420"/>
                    <a:pt x="1456" y="425"/>
                    <a:pt x="1453" y="427"/>
                  </a:cubicBezTo>
                  <a:cubicBezTo>
                    <a:pt x="1452" y="428"/>
                    <a:pt x="1446" y="428"/>
                    <a:pt x="1446" y="430"/>
                  </a:cubicBezTo>
                  <a:cubicBezTo>
                    <a:pt x="1447" y="433"/>
                    <a:pt x="1444" y="433"/>
                    <a:pt x="1443" y="435"/>
                  </a:cubicBezTo>
                  <a:cubicBezTo>
                    <a:pt x="1442" y="436"/>
                    <a:pt x="1440" y="437"/>
                    <a:pt x="1438" y="437"/>
                  </a:cubicBezTo>
                  <a:cubicBezTo>
                    <a:pt x="1436" y="438"/>
                    <a:pt x="1434" y="443"/>
                    <a:pt x="1433" y="443"/>
                  </a:cubicBezTo>
                  <a:cubicBezTo>
                    <a:pt x="1427" y="445"/>
                    <a:pt x="1422" y="452"/>
                    <a:pt x="1422" y="459"/>
                  </a:cubicBezTo>
                  <a:cubicBezTo>
                    <a:pt x="1422" y="467"/>
                    <a:pt x="1410" y="467"/>
                    <a:pt x="1405" y="462"/>
                  </a:cubicBezTo>
                  <a:cubicBezTo>
                    <a:pt x="1406" y="467"/>
                    <a:pt x="1400" y="466"/>
                    <a:pt x="1397" y="466"/>
                  </a:cubicBezTo>
                  <a:cubicBezTo>
                    <a:pt x="1398" y="469"/>
                    <a:pt x="1395" y="470"/>
                    <a:pt x="1393" y="470"/>
                  </a:cubicBezTo>
                  <a:cubicBezTo>
                    <a:pt x="1388" y="471"/>
                    <a:pt x="1384" y="475"/>
                    <a:pt x="1380" y="478"/>
                  </a:cubicBezTo>
                  <a:cubicBezTo>
                    <a:pt x="1377" y="481"/>
                    <a:pt x="1374" y="482"/>
                    <a:pt x="1373" y="487"/>
                  </a:cubicBezTo>
                  <a:cubicBezTo>
                    <a:pt x="1373" y="491"/>
                    <a:pt x="1369" y="491"/>
                    <a:pt x="1370" y="495"/>
                  </a:cubicBezTo>
                  <a:cubicBezTo>
                    <a:pt x="1368" y="493"/>
                    <a:pt x="1366" y="493"/>
                    <a:pt x="1363" y="493"/>
                  </a:cubicBezTo>
                  <a:cubicBezTo>
                    <a:pt x="1367" y="497"/>
                    <a:pt x="1353" y="507"/>
                    <a:pt x="1350" y="497"/>
                  </a:cubicBezTo>
                  <a:cubicBezTo>
                    <a:pt x="1349" y="492"/>
                    <a:pt x="1358" y="492"/>
                    <a:pt x="1360" y="491"/>
                  </a:cubicBezTo>
                  <a:cubicBezTo>
                    <a:pt x="1362" y="489"/>
                    <a:pt x="1359" y="487"/>
                    <a:pt x="1359" y="485"/>
                  </a:cubicBezTo>
                  <a:cubicBezTo>
                    <a:pt x="1359" y="482"/>
                    <a:pt x="1363" y="481"/>
                    <a:pt x="1364" y="479"/>
                  </a:cubicBezTo>
                  <a:cubicBezTo>
                    <a:pt x="1355" y="483"/>
                    <a:pt x="1351" y="477"/>
                    <a:pt x="1343" y="475"/>
                  </a:cubicBezTo>
                  <a:cubicBezTo>
                    <a:pt x="1344" y="473"/>
                    <a:pt x="1346" y="472"/>
                    <a:pt x="1349" y="471"/>
                  </a:cubicBezTo>
                  <a:cubicBezTo>
                    <a:pt x="1344" y="464"/>
                    <a:pt x="1347" y="465"/>
                    <a:pt x="1353" y="459"/>
                  </a:cubicBezTo>
                  <a:cubicBezTo>
                    <a:pt x="1355" y="457"/>
                    <a:pt x="1356" y="449"/>
                    <a:pt x="1357" y="446"/>
                  </a:cubicBezTo>
                  <a:cubicBezTo>
                    <a:pt x="1358" y="433"/>
                    <a:pt x="1338" y="436"/>
                    <a:pt x="1337" y="425"/>
                  </a:cubicBezTo>
                  <a:cubicBezTo>
                    <a:pt x="1338" y="432"/>
                    <a:pt x="1330" y="429"/>
                    <a:pt x="1326" y="427"/>
                  </a:cubicBezTo>
                  <a:cubicBezTo>
                    <a:pt x="1322" y="426"/>
                    <a:pt x="1311" y="431"/>
                    <a:pt x="1319" y="434"/>
                  </a:cubicBezTo>
                  <a:cubicBezTo>
                    <a:pt x="1313" y="435"/>
                    <a:pt x="1309" y="444"/>
                    <a:pt x="1310" y="449"/>
                  </a:cubicBezTo>
                  <a:cubicBezTo>
                    <a:pt x="1310" y="454"/>
                    <a:pt x="1297" y="459"/>
                    <a:pt x="1294" y="461"/>
                  </a:cubicBezTo>
                  <a:cubicBezTo>
                    <a:pt x="1291" y="463"/>
                    <a:pt x="1289" y="464"/>
                    <a:pt x="1287" y="467"/>
                  </a:cubicBezTo>
                  <a:cubicBezTo>
                    <a:pt x="1284" y="473"/>
                    <a:pt x="1290" y="475"/>
                    <a:pt x="1288" y="479"/>
                  </a:cubicBezTo>
                  <a:cubicBezTo>
                    <a:pt x="1285" y="489"/>
                    <a:pt x="1277" y="486"/>
                    <a:pt x="1270" y="490"/>
                  </a:cubicBezTo>
                  <a:cubicBezTo>
                    <a:pt x="1265" y="493"/>
                    <a:pt x="1260" y="485"/>
                    <a:pt x="1254" y="486"/>
                  </a:cubicBezTo>
                  <a:cubicBezTo>
                    <a:pt x="1247" y="488"/>
                    <a:pt x="1250" y="501"/>
                    <a:pt x="1252" y="505"/>
                  </a:cubicBezTo>
                  <a:cubicBezTo>
                    <a:pt x="1255" y="514"/>
                    <a:pt x="1265" y="517"/>
                    <a:pt x="1272" y="522"/>
                  </a:cubicBezTo>
                  <a:cubicBezTo>
                    <a:pt x="1274" y="523"/>
                    <a:pt x="1279" y="524"/>
                    <a:pt x="1282" y="523"/>
                  </a:cubicBezTo>
                  <a:cubicBezTo>
                    <a:pt x="1286" y="521"/>
                    <a:pt x="1287" y="527"/>
                    <a:pt x="1290" y="528"/>
                  </a:cubicBezTo>
                  <a:cubicBezTo>
                    <a:pt x="1291" y="526"/>
                    <a:pt x="1291" y="524"/>
                    <a:pt x="1290" y="522"/>
                  </a:cubicBezTo>
                  <a:cubicBezTo>
                    <a:pt x="1296" y="522"/>
                    <a:pt x="1304" y="528"/>
                    <a:pt x="1307" y="533"/>
                  </a:cubicBezTo>
                  <a:cubicBezTo>
                    <a:pt x="1311" y="540"/>
                    <a:pt x="1305" y="547"/>
                    <a:pt x="1313" y="553"/>
                  </a:cubicBezTo>
                  <a:cubicBezTo>
                    <a:pt x="1318" y="557"/>
                    <a:pt x="1325" y="558"/>
                    <a:pt x="1331" y="557"/>
                  </a:cubicBezTo>
                  <a:cubicBezTo>
                    <a:pt x="1335" y="556"/>
                    <a:pt x="1341" y="554"/>
                    <a:pt x="1336" y="549"/>
                  </a:cubicBezTo>
                  <a:cubicBezTo>
                    <a:pt x="1338" y="548"/>
                    <a:pt x="1350" y="538"/>
                    <a:pt x="1341" y="538"/>
                  </a:cubicBezTo>
                  <a:cubicBezTo>
                    <a:pt x="1346" y="539"/>
                    <a:pt x="1351" y="535"/>
                    <a:pt x="1355" y="534"/>
                  </a:cubicBezTo>
                  <a:cubicBezTo>
                    <a:pt x="1359" y="532"/>
                    <a:pt x="1366" y="537"/>
                    <a:pt x="1368" y="540"/>
                  </a:cubicBezTo>
                  <a:cubicBezTo>
                    <a:pt x="1370" y="542"/>
                    <a:pt x="1372" y="542"/>
                    <a:pt x="1375" y="541"/>
                  </a:cubicBezTo>
                  <a:cubicBezTo>
                    <a:pt x="1377" y="541"/>
                    <a:pt x="1379" y="544"/>
                    <a:pt x="1380" y="545"/>
                  </a:cubicBezTo>
                  <a:cubicBezTo>
                    <a:pt x="1384" y="549"/>
                    <a:pt x="1390" y="543"/>
                    <a:pt x="1395" y="547"/>
                  </a:cubicBezTo>
                  <a:cubicBezTo>
                    <a:pt x="1395" y="546"/>
                    <a:pt x="1395" y="545"/>
                    <a:pt x="1396" y="544"/>
                  </a:cubicBezTo>
                  <a:cubicBezTo>
                    <a:pt x="1402" y="548"/>
                    <a:pt x="1410" y="545"/>
                    <a:pt x="1416" y="549"/>
                  </a:cubicBezTo>
                  <a:cubicBezTo>
                    <a:pt x="1415" y="550"/>
                    <a:pt x="1414" y="550"/>
                    <a:pt x="1413" y="551"/>
                  </a:cubicBezTo>
                  <a:cubicBezTo>
                    <a:pt x="1419" y="556"/>
                    <a:pt x="1410" y="557"/>
                    <a:pt x="1416" y="562"/>
                  </a:cubicBezTo>
                  <a:cubicBezTo>
                    <a:pt x="1418" y="563"/>
                    <a:pt x="1418" y="566"/>
                    <a:pt x="1415" y="567"/>
                  </a:cubicBezTo>
                  <a:cubicBezTo>
                    <a:pt x="1409" y="569"/>
                    <a:pt x="1409" y="565"/>
                    <a:pt x="1407" y="561"/>
                  </a:cubicBezTo>
                  <a:cubicBezTo>
                    <a:pt x="1406" y="563"/>
                    <a:pt x="1405" y="564"/>
                    <a:pt x="1404" y="566"/>
                  </a:cubicBezTo>
                  <a:cubicBezTo>
                    <a:pt x="1404" y="561"/>
                    <a:pt x="1401" y="563"/>
                    <a:pt x="1399" y="565"/>
                  </a:cubicBezTo>
                  <a:cubicBezTo>
                    <a:pt x="1397" y="566"/>
                    <a:pt x="1387" y="573"/>
                    <a:pt x="1393" y="567"/>
                  </a:cubicBezTo>
                  <a:cubicBezTo>
                    <a:pt x="1390" y="569"/>
                    <a:pt x="1384" y="575"/>
                    <a:pt x="1380" y="576"/>
                  </a:cubicBezTo>
                  <a:cubicBezTo>
                    <a:pt x="1377" y="576"/>
                    <a:pt x="1371" y="573"/>
                    <a:pt x="1373" y="578"/>
                  </a:cubicBezTo>
                  <a:cubicBezTo>
                    <a:pt x="1377" y="574"/>
                    <a:pt x="1381" y="580"/>
                    <a:pt x="1378" y="584"/>
                  </a:cubicBezTo>
                  <a:cubicBezTo>
                    <a:pt x="1377" y="581"/>
                    <a:pt x="1373" y="580"/>
                    <a:pt x="1373" y="584"/>
                  </a:cubicBezTo>
                  <a:cubicBezTo>
                    <a:pt x="1372" y="587"/>
                    <a:pt x="1375" y="589"/>
                    <a:pt x="1375" y="592"/>
                  </a:cubicBezTo>
                  <a:cubicBezTo>
                    <a:pt x="1375" y="593"/>
                    <a:pt x="1370" y="595"/>
                    <a:pt x="1369" y="595"/>
                  </a:cubicBezTo>
                  <a:cubicBezTo>
                    <a:pt x="1365" y="594"/>
                    <a:pt x="1367" y="589"/>
                    <a:pt x="1363" y="587"/>
                  </a:cubicBezTo>
                  <a:cubicBezTo>
                    <a:pt x="1367" y="593"/>
                    <a:pt x="1362" y="588"/>
                    <a:pt x="1359" y="589"/>
                  </a:cubicBezTo>
                  <a:cubicBezTo>
                    <a:pt x="1359" y="592"/>
                    <a:pt x="1363" y="598"/>
                    <a:pt x="1367" y="598"/>
                  </a:cubicBezTo>
                  <a:cubicBezTo>
                    <a:pt x="1359" y="599"/>
                    <a:pt x="1364" y="613"/>
                    <a:pt x="1354" y="611"/>
                  </a:cubicBezTo>
                  <a:cubicBezTo>
                    <a:pt x="1354" y="615"/>
                    <a:pt x="1353" y="623"/>
                    <a:pt x="1351" y="626"/>
                  </a:cubicBezTo>
                  <a:cubicBezTo>
                    <a:pt x="1348" y="632"/>
                    <a:pt x="1351" y="636"/>
                    <a:pt x="1352" y="641"/>
                  </a:cubicBezTo>
                  <a:cubicBezTo>
                    <a:pt x="1356" y="637"/>
                    <a:pt x="1363" y="643"/>
                    <a:pt x="1366" y="645"/>
                  </a:cubicBezTo>
                  <a:cubicBezTo>
                    <a:pt x="1373" y="650"/>
                    <a:pt x="1380" y="652"/>
                    <a:pt x="1388" y="655"/>
                  </a:cubicBezTo>
                  <a:cubicBezTo>
                    <a:pt x="1393" y="658"/>
                    <a:pt x="1395" y="666"/>
                    <a:pt x="1399" y="671"/>
                  </a:cubicBezTo>
                  <a:cubicBezTo>
                    <a:pt x="1404" y="678"/>
                    <a:pt x="1409" y="687"/>
                    <a:pt x="1415" y="693"/>
                  </a:cubicBezTo>
                  <a:cubicBezTo>
                    <a:pt x="1420" y="697"/>
                    <a:pt x="1424" y="703"/>
                    <a:pt x="1425" y="709"/>
                  </a:cubicBezTo>
                  <a:cubicBezTo>
                    <a:pt x="1425" y="716"/>
                    <a:pt x="1436" y="717"/>
                    <a:pt x="1442" y="720"/>
                  </a:cubicBezTo>
                  <a:cubicBezTo>
                    <a:pt x="1446" y="722"/>
                    <a:pt x="1444" y="724"/>
                    <a:pt x="1446" y="728"/>
                  </a:cubicBezTo>
                  <a:cubicBezTo>
                    <a:pt x="1448" y="731"/>
                    <a:pt x="1451" y="731"/>
                    <a:pt x="1454" y="732"/>
                  </a:cubicBezTo>
                  <a:cubicBezTo>
                    <a:pt x="1458" y="734"/>
                    <a:pt x="1468" y="739"/>
                    <a:pt x="1465" y="745"/>
                  </a:cubicBezTo>
                  <a:cubicBezTo>
                    <a:pt x="1459" y="744"/>
                    <a:pt x="1452" y="737"/>
                    <a:pt x="1445" y="739"/>
                  </a:cubicBezTo>
                  <a:cubicBezTo>
                    <a:pt x="1436" y="742"/>
                    <a:pt x="1436" y="735"/>
                    <a:pt x="1428" y="733"/>
                  </a:cubicBezTo>
                  <a:cubicBezTo>
                    <a:pt x="1420" y="730"/>
                    <a:pt x="1417" y="740"/>
                    <a:pt x="1410" y="736"/>
                  </a:cubicBezTo>
                  <a:cubicBezTo>
                    <a:pt x="1407" y="734"/>
                    <a:pt x="1405" y="731"/>
                    <a:pt x="1403" y="728"/>
                  </a:cubicBezTo>
                  <a:cubicBezTo>
                    <a:pt x="1401" y="725"/>
                    <a:pt x="1397" y="725"/>
                    <a:pt x="1393" y="723"/>
                  </a:cubicBezTo>
                  <a:cubicBezTo>
                    <a:pt x="1395" y="724"/>
                    <a:pt x="1396" y="726"/>
                    <a:pt x="1395" y="728"/>
                  </a:cubicBezTo>
                  <a:cubicBezTo>
                    <a:pt x="1396" y="727"/>
                    <a:pt x="1398" y="726"/>
                    <a:pt x="1400" y="728"/>
                  </a:cubicBezTo>
                  <a:cubicBezTo>
                    <a:pt x="1399" y="727"/>
                    <a:pt x="1398" y="726"/>
                    <a:pt x="1397" y="726"/>
                  </a:cubicBezTo>
                  <a:cubicBezTo>
                    <a:pt x="1400" y="724"/>
                    <a:pt x="1407" y="733"/>
                    <a:pt x="1401" y="730"/>
                  </a:cubicBezTo>
                  <a:cubicBezTo>
                    <a:pt x="1405" y="734"/>
                    <a:pt x="1411" y="741"/>
                    <a:pt x="1417" y="738"/>
                  </a:cubicBezTo>
                  <a:cubicBezTo>
                    <a:pt x="1420" y="736"/>
                    <a:pt x="1420" y="734"/>
                    <a:pt x="1423" y="734"/>
                  </a:cubicBezTo>
                  <a:cubicBezTo>
                    <a:pt x="1426" y="734"/>
                    <a:pt x="1430" y="735"/>
                    <a:pt x="1431" y="738"/>
                  </a:cubicBezTo>
                  <a:cubicBezTo>
                    <a:pt x="1433" y="739"/>
                    <a:pt x="1431" y="741"/>
                    <a:pt x="1433" y="742"/>
                  </a:cubicBezTo>
                  <a:cubicBezTo>
                    <a:pt x="1436" y="744"/>
                    <a:pt x="1440" y="744"/>
                    <a:pt x="1443" y="745"/>
                  </a:cubicBezTo>
                  <a:cubicBezTo>
                    <a:pt x="1451" y="748"/>
                    <a:pt x="1457" y="755"/>
                    <a:pt x="1464" y="758"/>
                  </a:cubicBezTo>
                  <a:cubicBezTo>
                    <a:pt x="1467" y="760"/>
                    <a:pt x="1476" y="768"/>
                    <a:pt x="1475" y="773"/>
                  </a:cubicBezTo>
                  <a:cubicBezTo>
                    <a:pt x="1475" y="775"/>
                    <a:pt x="1471" y="774"/>
                    <a:pt x="1469" y="774"/>
                  </a:cubicBezTo>
                  <a:cubicBezTo>
                    <a:pt x="1464" y="775"/>
                    <a:pt x="1462" y="779"/>
                    <a:pt x="1458" y="782"/>
                  </a:cubicBezTo>
                  <a:cubicBezTo>
                    <a:pt x="1456" y="783"/>
                    <a:pt x="1453" y="784"/>
                    <a:pt x="1452" y="787"/>
                  </a:cubicBezTo>
                  <a:cubicBezTo>
                    <a:pt x="1452" y="789"/>
                    <a:pt x="1452" y="792"/>
                    <a:pt x="1450" y="792"/>
                  </a:cubicBezTo>
                  <a:cubicBezTo>
                    <a:pt x="1446" y="793"/>
                    <a:pt x="1444" y="789"/>
                    <a:pt x="1440" y="791"/>
                  </a:cubicBezTo>
                  <a:cubicBezTo>
                    <a:pt x="1437" y="792"/>
                    <a:pt x="1435" y="795"/>
                    <a:pt x="1432" y="797"/>
                  </a:cubicBezTo>
                  <a:cubicBezTo>
                    <a:pt x="1434" y="796"/>
                    <a:pt x="1441" y="791"/>
                    <a:pt x="1443" y="792"/>
                  </a:cubicBezTo>
                  <a:cubicBezTo>
                    <a:pt x="1447" y="795"/>
                    <a:pt x="1447" y="802"/>
                    <a:pt x="1452" y="802"/>
                  </a:cubicBezTo>
                  <a:cubicBezTo>
                    <a:pt x="1451" y="801"/>
                    <a:pt x="1450" y="800"/>
                    <a:pt x="1449" y="800"/>
                  </a:cubicBezTo>
                  <a:cubicBezTo>
                    <a:pt x="1456" y="801"/>
                    <a:pt x="1460" y="793"/>
                    <a:pt x="1466" y="795"/>
                  </a:cubicBezTo>
                  <a:cubicBezTo>
                    <a:pt x="1471" y="796"/>
                    <a:pt x="1473" y="800"/>
                    <a:pt x="1476" y="803"/>
                  </a:cubicBezTo>
                  <a:cubicBezTo>
                    <a:pt x="1480" y="806"/>
                    <a:pt x="1488" y="807"/>
                    <a:pt x="1493" y="808"/>
                  </a:cubicBezTo>
                  <a:cubicBezTo>
                    <a:pt x="1490" y="810"/>
                    <a:pt x="1488" y="813"/>
                    <a:pt x="1486" y="815"/>
                  </a:cubicBezTo>
                  <a:cubicBezTo>
                    <a:pt x="1485" y="817"/>
                    <a:pt x="1484" y="818"/>
                    <a:pt x="1483" y="819"/>
                  </a:cubicBezTo>
                  <a:cubicBezTo>
                    <a:pt x="1481" y="821"/>
                    <a:pt x="1479" y="820"/>
                    <a:pt x="1477" y="822"/>
                  </a:cubicBezTo>
                  <a:cubicBezTo>
                    <a:pt x="1478" y="823"/>
                    <a:pt x="1479" y="824"/>
                    <a:pt x="1479" y="825"/>
                  </a:cubicBezTo>
                  <a:cubicBezTo>
                    <a:pt x="1481" y="822"/>
                    <a:pt x="1485" y="819"/>
                    <a:pt x="1488" y="821"/>
                  </a:cubicBezTo>
                  <a:cubicBezTo>
                    <a:pt x="1486" y="820"/>
                    <a:pt x="1486" y="815"/>
                    <a:pt x="1490" y="817"/>
                  </a:cubicBezTo>
                  <a:cubicBezTo>
                    <a:pt x="1493" y="819"/>
                    <a:pt x="1490" y="822"/>
                    <a:pt x="1492" y="825"/>
                  </a:cubicBezTo>
                  <a:cubicBezTo>
                    <a:pt x="1492" y="825"/>
                    <a:pt x="1496" y="835"/>
                    <a:pt x="1492" y="832"/>
                  </a:cubicBezTo>
                  <a:cubicBezTo>
                    <a:pt x="1490" y="831"/>
                    <a:pt x="1490" y="828"/>
                    <a:pt x="1488" y="826"/>
                  </a:cubicBezTo>
                  <a:cubicBezTo>
                    <a:pt x="1489" y="828"/>
                    <a:pt x="1489" y="830"/>
                    <a:pt x="1489" y="832"/>
                  </a:cubicBezTo>
                  <a:cubicBezTo>
                    <a:pt x="1487" y="832"/>
                    <a:pt x="1485" y="831"/>
                    <a:pt x="1484" y="829"/>
                  </a:cubicBezTo>
                  <a:cubicBezTo>
                    <a:pt x="1485" y="834"/>
                    <a:pt x="1484" y="831"/>
                    <a:pt x="1483" y="829"/>
                  </a:cubicBezTo>
                  <a:cubicBezTo>
                    <a:pt x="1482" y="831"/>
                    <a:pt x="1481" y="833"/>
                    <a:pt x="1480" y="835"/>
                  </a:cubicBezTo>
                  <a:cubicBezTo>
                    <a:pt x="1483" y="834"/>
                    <a:pt x="1489" y="838"/>
                    <a:pt x="1490" y="842"/>
                  </a:cubicBezTo>
                  <a:cubicBezTo>
                    <a:pt x="1488" y="840"/>
                    <a:pt x="1487" y="840"/>
                    <a:pt x="1486" y="842"/>
                  </a:cubicBezTo>
                  <a:cubicBezTo>
                    <a:pt x="1489" y="842"/>
                    <a:pt x="1492" y="846"/>
                    <a:pt x="1489" y="848"/>
                  </a:cubicBezTo>
                  <a:cubicBezTo>
                    <a:pt x="1484" y="851"/>
                    <a:pt x="1478" y="846"/>
                    <a:pt x="1475" y="844"/>
                  </a:cubicBezTo>
                  <a:cubicBezTo>
                    <a:pt x="1477" y="846"/>
                    <a:pt x="1478" y="849"/>
                    <a:pt x="1480" y="850"/>
                  </a:cubicBezTo>
                  <a:cubicBezTo>
                    <a:pt x="1483" y="851"/>
                    <a:pt x="1486" y="849"/>
                    <a:pt x="1488" y="853"/>
                  </a:cubicBezTo>
                  <a:cubicBezTo>
                    <a:pt x="1489" y="855"/>
                    <a:pt x="1494" y="860"/>
                    <a:pt x="1491" y="862"/>
                  </a:cubicBezTo>
                  <a:cubicBezTo>
                    <a:pt x="1489" y="864"/>
                    <a:pt x="1486" y="864"/>
                    <a:pt x="1487" y="868"/>
                  </a:cubicBezTo>
                  <a:cubicBezTo>
                    <a:pt x="1484" y="867"/>
                    <a:pt x="1483" y="862"/>
                    <a:pt x="1479" y="860"/>
                  </a:cubicBezTo>
                  <a:cubicBezTo>
                    <a:pt x="1478" y="862"/>
                    <a:pt x="1478" y="862"/>
                    <a:pt x="1476" y="863"/>
                  </a:cubicBezTo>
                  <a:cubicBezTo>
                    <a:pt x="1482" y="864"/>
                    <a:pt x="1474" y="881"/>
                    <a:pt x="1464" y="870"/>
                  </a:cubicBezTo>
                  <a:cubicBezTo>
                    <a:pt x="1465" y="874"/>
                    <a:pt x="1475" y="873"/>
                    <a:pt x="1474" y="878"/>
                  </a:cubicBezTo>
                  <a:cubicBezTo>
                    <a:pt x="1473" y="882"/>
                    <a:pt x="1468" y="890"/>
                    <a:pt x="1473" y="892"/>
                  </a:cubicBezTo>
                  <a:cubicBezTo>
                    <a:pt x="1471" y="894"/>
                    <a:pt x="1471" y="896"/>
                    <a:pt x="1471" y="898"/>
                  </a:cubicBezTo>
                  <a:cubicBezTo>
                    <a:pt x="1472" y="904"/>
                    <a:pt x="1467" y="898"/>
                    <a:pt x="1469" y="902"/>
                  </a:cubicBezTo>
                  <a:cubicBezTo>
                    <a:pt x="1467" y="900"/>
                    <a:pt x="1465" y="899"/>
                    <a:pt x="1463" y="897"/>
                  </a:cubicBezTo>
                  <a:cubicBezTo>
                    <a:pt x="1463" y="899"/>
                    <a:pt x="1473" y="906"/>
                    <a:pt x="1465" y="904"/>
                  </a:cubicBezTo>
                  <a:cubicBezTo>
                    <a:pt x="1466" y="908"/>
                    <a:pt x="1463" y="911"/>
                    <a:pt x="1460" y="912"/>
                  </a:cubicBezTo>
                  <a:cubicBezTo>
                    <a:pt x="1464" y="917"/>
                    <a:pt x="1466" y="925"/>
                    <a:pt x="1456" y="923"/>
                  </a:cubicBezTo>
                  <a:cubicBezTo>
                    <a:pt x="1459" y="922"/>
                    <a:pt x="1461" y="918"/>
                    <a:pt x="1459" y="915"/>
                  </a:cubicBezTo>
                  <a:cubicBezTo>
                    <a:pt x="1458" y="916"/>
                    <a:pt x="1457" y="918"/>
                    <a:pt x="1456" y="919"/>
                  </a:cubicBezTo>
                  <a:cubicBezTo>
                    <a:pt x="1454" y="918"/>
                    <a:pt x="1453" y="916"/>
                    <a:pt x="1452" y="914"/>
                  </a:cubicBezTo>
                  <a:cubicBezTo>
                    <a:pt x="1451" y="916"/>
                    <a:pt x="1449" y="917"/>
                    <a:pt x="1446" y="916"/>
                  </a:cubicBezTo>
                  <a:cubicBezTo>
                    <a:pt x="1448" y="918"/>
                    <a:pt x="1448" y="919"/>
                    <a:pt x="1448" y="922"/>
                  </a:cubicBezTo>
                  <a:cubicBezTo>
                    <a:pt x="1453" y="920"/>
                    <a:pt x="1458" y="928"/>
                    <a:pt x="1452" y="927"/>
                  </a:cubicBezTo>
                  <a:cubicBezTo>
                    <a:pt x="1452" y="931"/>
                    <a:pt x="1456" y="933"/>
                    <a:pt x="1457" y="928"/>
                  </a:cubicBezTo>
                  <a:cubicBezTo>
                    <a:pt x="1461" y="932"/>
                    <a:pt x="1457" y="932"/>
                    <a:pt x="1455" y="934"/>
                  </a:cubicBezTo>
                  <a:cubicBezTo>
                    <a:pt x="1452" y="937"/>
                    <a:pt x="1451" y="940"/>
                    <a:pt x="1450" y="943"/>
                  </a:cubicBezTo>
                  <a:cubicBezTo>
                    <a:pt x="1446" y="940"/>
                    <a:pt x="1442" y="939"/>
                    <a:pt x="1438" y="937"/>
                  </a:cubicBezTo>
                  <a:cubicBezTo>
                    <a:pt x="1441" y="939"/>
                    <a:pt x="1443" y="945"/>
                    <a:pt x="1447" y="944"/>
                  </a:cubicBezTo>
                  <a:cubicBezTo>
                    <a:pt x="1452" y="943"/>
                    <a:pt x="1453" y="939"/>
                    <a:pt x="1457" y="944"/>
                  </a:cubicBezTo>
                  <a:cubicBezTo>
                    <a:pt x="1454" y="946"/>
                    <a:pt x="1455" y="950"/>
                    <a:pt x="1454" y="954"/>
                  </a:cubicBezTo>
                  <a:cubicBezTo>
                    <a:pt x="1452" y="959"/>
                    <a:pt x="1460" y="959"/>
                    <a:pt x="1458" y="964"/>
                  </a:cubicBezTo>
                  <a:cubicBezTo>
                    <a:pt x="1458" y="960"/>
                    <a:pt x="1457" y="960"/>
                    <a:pt x="1455" y="964"/>
                  </a:cubicBezTo>
                  <a:cubicBezTo>
                    <a:pt x="1453" y="961"/>
                    <a:pt x="1451" y="959"/>
                    <a:pt x="1448" y="958"/>
                  </a:cubicBezTo>
                  <a:cubicBezTo>
                    <a:pt x="1448" y="960"/>
                    <a:pt x="1446" y="962"/>
                    <a:pt x="1444" y="963"/>
                  </a:cubicBezTo>
                  <a:cubicBezTo>
                    <a:pt x="1446" y="965"/>
                    <a:pt x="1451" y="965"/>
                    <a:pt x="1451" y="969"/>
                  </a:cubicBezTo>
                  <a:cubicBezTo>
                    <a:pt x="1449" y="974"/>
                    <a:pt x="1445" y="967"/>
                    <a:pt x="1445" y="973"/>
                  </a:cubicBezTo>
                  <a:cubicBezTo>
                    <a:pt x="1445" y="970"/>
                    <a:pt x="1442" y="965"/>
                    <a:pt x="1439" y="969"/>
                  </a:cubicBezTo>
                  <a:cubicBezTo>
                    <a:pt x="1443" y="971"/>
                    <a:pt x="1439" y="977"/>
                    <a:pt x="1444" y="977"/>
                  </a:cubicBezTo>
                  <a:cubicBezTo>
                    <a:pt x="1443" y="980"/>
                    <a:pt x="1436" y="985"/>
                    <a:pt x="1436" y="980"/>
                  </a:cubicBezTo>
                  <a:cubicBezTo>
                    <a:pt x="1433" y="982"/>
                    <a:pt x="1434" y="983"/>
                    <a:pt x="1436" y="984"/>
                  </a:cubicBezTo>
                  <a:cubicBezTo>
                    <a:pt x="1440" y="987"/>
                    <a:pt x="1437" y="992"/>
                    <a:pt x="1435" y="994"/>
                  </a:cubicBezTo>
                  <a:cubicBezTo>
                    <a:pt x="1433" y="992"/>
                    <a:pt x="1432" y="990"/>
                    <a:pt x="1430" y="988"/>
                  </a:cubicBezTo>
                  <a:cubicBezTo>
                    <a:pt x="1429" y="992"/>
                    <a:pt x="1424" y="995"/>
                    <a:pt x="1422" y="990"/>
                  </a:cubicBezTo>
                  <a:cubicBezTo>
                    <a:pt x="1420" y="993"/>
                    <a:pt x="1415" y="991"/>
                    <a:pt x="1418" y="996"/>
                  </a:cubicBezTo>
                  <a:cubicBezTo>
                    <a:pt x="1416" y="995"/>
                    <a:pt x="1413" y="995"/>
                    <a:pt x="1411" y="996"/>
                  </a:cubicBezTo>
                  <a:cubicBezTo>
                    <a:pt x="1413" y="998"/>
                    <a:pt x="1416" y="999"/>
                    <a:pt x="1419" y="998"/>
                  </a:cubicBezTo>
                  <a:cubicBezTo>
                    <a:pt x="1418" y="1000"/>
                    <a:pt x="1420" y="1001"/>
                    <a:pt x="1422" y="1001"/>
                  </a:cubicBezTo>
                  <a:cubicBezTo>
                    <a:pt x="1421" y="1004"/>
                    <a:pt x="1419" y="1004"/>
                    <a:pt x="1418" y="1005"/>
                  </a:cubicBezTo>
                  <a:cubicBezTo>
                    <a:pt x="1415" y="1007"/>
                    <a:pt x="1417" y="1011"/>
                    <a:pt x="1413" y="1013"/>
                  </a:cubicBezTo>
                  <a:cubicBezTo>
                    <a:pt x="1415" y="1010"/>
                    <a:pt x="1414" y="1009"/>
                    <a:pt x="1411" y="1010"/>
                  </a:cubicBezTo>
                  <a:cubicBezTo>
                    <a:pt x="1412" y="1013"/>
                    <a:pt x="1410" y="1016"/>
                    <a:pt x="1410" y="1019"/>
                  </a:cubicBezTo>
                  <a:cubicBezTo>
                    <a:pt x="1409" y="1013"/>
                    <a:pt x="1404" y="1019"/>
                    <a:pt x="1401" y="1019"/>
                  </a:cubicBezTo>
                  <a:cubicBezTo>
                    <a:pt x="1400" y="1020"/>
                    <a:pt x="1398" y="1030"/>
                    <a:pt x="1395" y="1027"/>
                  </a:cubicBezTo>
                  <a:cubicBezTo>
                    <a:pt x="1392" y="1024"/>
                    <a:pt x="1390" y="1023"/>
                    <a:pt x="1389" y="1028"/>
                  </a:cubicBezTo>
                  <a:cubicBezTo>
                    <a:pt x="1389" y="1033"/>
                    <a:pt x="1386" y="1034"/>
                    <a:pt x="1381" y="1034"/>
                  </a:cubicBezTo>
                  <a:cubicBezTo>
                    <a:pt x="1384" y="1035"/>
                    <a:pt x="1388" y="1035"/>
                    <a:pt x="1389" y="1039"/>
                  </a:cubicBezTo>
                  <a:cubicBezTo>
                    <a:pt x="1385" y="1035"/>
                    <a:pt x="1386" y="1042"/>
                    <a:pt x="1383" y="1039"/>
                  </a:cubicBezTo>
                  <a:cubicBezTo>
                    <a:pt x="1382" y="1042"/>
                    <a:pt x="1384" y="1047"/>
                    <a:pt x="1379" y="1048"/>
                  </a:cubicBezTo>
                  <a:cubicBezTo>
                    <a:pt x="1376" y="1049"/>
                    <a:pt x="1371" y="1050"/>
                    <a:pt x="1368" y="1049"/>
                  </a:cubicBezTo>
                  <a:cubicBezTo>
                    <a:pt x="1372" y="1053"/>
                    <a:pt x="1356" y="1056"/>
                    <a:pt x="1359" y="1048"/>
                  </a:cubicBezTo>
                  <a:cubicBezTo>
                    <a:pt x="1357" y="1051"/>
                    <a:pt x="1354" y="1050"/>
                    <a:pt x="1351" y="1049"/>
                  </a:cubicBezTo>
                  <a:cubicBezTo>
                    <a:pt x="1351" y="1051"/>
                    <a:pt x="1358" y="1054"/>
                    <a:pt x="1356" y="1057"/>
                  </a:cubicBezTo>
                  <a:cubicBezTo>
                    <a:pt x="1355" y="1059"/>
                    <a:pt x="1353" y="1058"/>
                    <a:pt x="1352" y="1057"/>
                  </a:cubicBezTo>
                  <a:cubicBezTo>
                    <a:pt x="1348" y="1055"/>
                    <a:pt x="1345" y="1055"/>
                    <a:pt x="1346" y="1051"/>
                  </a:cubicBezTo>
                  <a:cubicBezTo>
                    <a:pt x="1344" y="1053"/>
                    <a:pt x="1337" y="1057"/>
                    <a:pt x="1335" y="1056"/>
                  </a:cubicBezTo>
                  <a:cubicBezTo>
                    <a:pt x="1340" y="1058"/>
                    <a:pt x="1337" y="1062"/>
                    <a:pt x="1334" y="1061"/>
                  </a:cubicBezTo>
                  <a:cubicBezTo>
                    <a:pt x="1330" y="1060"/>
                    <a:pt x="1330" y="1055"/>
                    <a:pt x="1333" y="1053"/>
                  </a:cubicBezTo>
                  <a:cubicBezTo>
                    <a:pt x="1329" y="1053"/>
                    <a:pt x="1326" y="1055"/>
                    <a:pt x="1324" y="1058"/>
                  </a:cubicBezTo>
                  <a:cubicBezTo>
                    <a:pt x="1328" y="1059"/>
                    <a:pt x="1324" y="1063"/>
                    <a:pt x="1328" y="1064"/>
                  </a:cubicBezTo>
                  <a:cubicBezTo>
                    <a:pt x="1327" y="1064"/>
                    <a:pt x="1326" y="1065"/>
                    <a:pt x="1325" y="1065"/>
                  </a:cubicBezTo>
                  <a:cubicBezTo>
                    <a:pt x="1324" y="1059"/>
                    <a:pt x="1309" y="1060"/>
                    <a:pt x="1306" y="1065"/>
                  </a:cubicBezTo>
                  <a:cubicBezTo>
                    <a:pt x="1306" y="1056"/>
                    <a:pt x="1295" y="1054"/>
                    <a:pt x="1296" y="1045"/>
                  </a:cubicBezTo>
                  <a:cubicBezTo>
                    <a:pt x="1295" y="1051"/>
                    <a:pt x="1295" y="1048"/>
                    <a:pt x="1293" y="1045"/>
                  </a:cubicBezTo>
                  <a:cubicBezTo>
                    <a:pt x="1295" y="1042"/>
                    <a:pt x="1298" y="1042"/>
                    <a:pt x="1302" y="1042"/>
                  </a:cubicBezTo>
                  <a:cubicBezTo>
                    <a:pt x="1297" y="1039"/>
                    <a:pt x="1293" y="1045"/>
                    <a:pt x="1289" y="1043"/>
                  </a:cubicBezTo>
                  <a:cubicBezTo>
                    <a:pt x="1295" y="1046"/>
                    <a:pt x="1289" y="1051"/>
                    <a:pt x="1284" y="1050"/>
                  </a:cubicBezTo>
                  <a:cubicBezTo>
                    <a:pt x="1286" y="1050"/>
                    <a:pt x="1292" y="1052"/>
                    <a:pt x="1292" y="1054"/>
                  </a:cubicBezTo>
                  <a:cubicBezTo>
                    <a:pt x="1292" y="1055"/>
                    <a:pt x="1291" y="1055"/>
                    <a:pt x="1290" y="1054"/>
                  </a:cubicBezTo>
                  <a:cubicBezTo>
                    <a:pt x="1294" y="1057"/>
                    <a:pt x="1302" y="1068"/>
                    <a:pt x="1299" y="1073"/>
                  </a:cubicBezTo>
                  <a:cubicBezTo>
                    <a:pt x="1295" y="1079"/>
                    <a:pt x="1287" y="1063"/>
                    <a:pt x="1285" y="1061"/>
                  </a:cubicBezTo>
                  <a:cubicBezTo>
                    <a:pt x="1285" y="1066"/>
                    <a:pt x="1291" y="1071"/>
                    <a:pt x="1293" y="1075"/>
                  </a:cubicBezTo>
                  <a:cubicBezTo>
                    <a:pt x="1291" y="1075"/>
                    <a:pt x="1289" y="1077"/>
                    <a:pt x="1289" y="1079"/>
                  </a:cubicBezTo>
                  <a:cubicBezTo>
                    <a:pt x="1287" y="1078"/>
                    <a:pt x="1285" y="1076"/>
                    <a:pt x="1285" y="1074"/>
                  </a:cubicBezTo>
                  <a:cubicBezTo>
                    <a:pt x="1280" y="1076"/>
                    <a:pt x="1286" y="1082"/>
                    <a:pt x="1282" y="1086"/>
                  </a:cubicBezTo>
                  <a:cubicBezTo>
                    <a:pt x="1278" y="1080"/>
                    <a:pt x="1275" y="1085"/>
                    <a:pt x="1273" y="1088"/>
                  </a:cubicBezTo>
                  <a:cubicBezTo>
                    <a:pt x="1271" y="1091"/>
                    <a:pt x="1265" y="1085"/>
                    <a:pt x="1268" y="1082"/>
                  </a:cubicBezTo>
                  <a:cubicBezTo>
                    <a:pt x="1266" y="1083"/>
                    <a:pt x="1264" y="1082"/>
                    <a:pt x="1264" y="1079"/>
                  </a:cubicBezTo>
                  <a:cubicBezTo>
                    <a:pt x="1264" y="1083"/>
                    <a:pt x="1266" y="1086"/>
                    <a:pt x="1265" y="1089"/>
                  </a:cubicBezTo>
                  <a:cubicBezTo>
                    <a:pt x="1264" y="1094"/>
                    <a:pt x="1253" y="1086"/>
                    <a:pt x="1251" y="1085"/>
                  </a:cubicBezTo>
                  <a:cubicBezTo>
                    <a:pt x="1256" y="1092"/>
                    <a:pt x="1249" y="1089"/>
                    <a:pt x="1245" y="1089"/>
                  </a:cubicBezTo>
                  <a:cubicBezTo>
                    <a:pt x="1252" y="1092"/>
                    <a:pt x="1242" y="1101"/>
                    <a:pt x="1238" y="1095"/>
                  </a:cubicBezTo>
                  <a:cubicBezTo>
                    <a:pt x="1237" y="1097"/>
                    <a:pt x="1236" y="1100"/>
                    <a:pt x="1234" y="1101"/>
                  </a:cubicBezTo>
                  <a:cubicBezTo>
                    <a:pt x="1236" y="1096"/>
                    <a:pt x="1231" y="1099"/>
                    <a:pt x="1228" y="1099"/>
                  </a:cubicBezTo>
                  <a:cubicBezTo>
                    <a:pt x="1224" y="1100"/>
                    <a:pt x="1219" y="1102"/>
                    <a:pt x="1217" y="1105"/>
                  </a:cubicBezTo>
                  <a:cubicBezTo>
                    <a:pt x="1217" y="1103"/>
                    <a:pt x="1218" y="1102"/>
                    <a:pt x="1219" y="1100"/>
                  </a:cubicBezTo>
                  <a:cubicBezTo>
                    <a:pt x="1217" y="1102"/>
                    <a:pt x="1215" y="1105"/>
                    <a:pt x="1217" y="1108"/>
                  </a:cubicBezTo>
                  <a:cubicBezTo>
                    <a:pt x="1210" y="1110"/>
                    <a:pt x="1213" y="1105"/>
                    <a:pt x="1209" y="1102"/>
                  </a:cubicBezTo>
                  <a:cubicBezTo>
                    <a:pt x="1207" y="1106"/>
                    <a:pt x="1212" y="1108"/>
                    <a:pt x="1209" y="1111"/>
                  </a:cubicBezTo>
                  <a:cubicBezTo>
                    <a:pt x="1207" y="1113"/>
                    <a:pt x="1202" y="1115"/>
                    <a:pt x="1204" y="1119"/>
                  </a:cubicBezTo>
                  <a:cubicBezTo>
                    <a:pt x="1205" y="1121"/>
                    <a:pt x="1208" y="1121"/>
                    <a:pt x="1210" y="1122"/>
                  </a:cubicBezTo>
                  <a:cubicBezTo>
                    <a:pt x="1213" y="1123"/>
                    <a:pt x="1212" y="1129"/>
                    <a:pt x="1210" y="1122"/>
                  </a:cubicBezTo>
                  <a:cubicBezTo>
                    <a:pt x="1210" y="1127"/>
                    <a:pt x="1217" y="1130"/>
                    <a:pt x="1217" y="1135"/>
                  </a:cubicBezTo>
                  <a:cubicBezTo>
                    <a:pt x="1216" y="1143"/>
                    <a:pt x="1205" y="1139"/>
                    <a:pt x="1200" y="1141"/>
                  </a:cubicBezTo>
                  <a:cubicBezTo>
                    <a:pt x="1200" y="1138"/>
                    <a:pt x="1197" y="1134"/>
                    <a:pt x="1202" y="1137"/>
                  </a:cubicBezTo>
                  <a:cubicBezTo>
                    <a:pt x="1201" y="1132"/>
                    <a:pt x="1192" y="1133"/>
                    <a:pt x="1196" y="1126"/>
                  </a:cubicBezTo>
                  <a:cubicBezTo>
                    <a:pt x="1192" y="1126"/>
                    <a:pt x="1194" y="1121"/>
                    <a:pt x="1191" y="1120"/>
                  </a:cubicBezTo>
                  <a:cubicBezTo>
                    <a:pt x="1189" y="1120"/>
                    <a:pt x="1188" y="1112"/>
                    <a:pt x="1190" y="1110"/>
                  </a:cubicBezTo>
                  <a:cubicBezTo>
                    <a:pt x="1192" y="1108"/>
                    <a:pt x="1189" y="1105"/>
                    <a:pt x="1193" y="1103"/>
                  </a:cubicBezTo>
                  <a:cubicBezTo>
                    <a:pt x="1199" y="1099"/>
                    <a:pt x="1190" y="1097"/>
                    <a:pt x="1188" y="1095"/>
                  </a:cubicBezTo>
                  <a:cubicBezTo>
                    <a:pt x="1189" y="1096"/>
                    <a:pt x="1189" y="1097"/>
                    <a:pt x="1189" y="1099"/>
                  </a:cubicBezTo>
                  <a:cubicBezTo>
                    <a:pt x="1185" y="1099"/>
                    <a:pt x="1183" y="1093"/>
                    <a:pt x="1181" y="1090"/>
                  </a:cubicBezTo>
                  <a:cubicBezTo>
                    <a:pt x="1179" y="1093"/>
                    <a:pt x="1180" y="1095"/>
                    <a:pt x="1183" y="1096"/>
                  </a:cubicBezTo>
                  <a:cubicBezTo>
                    <a:pt x="1181" y="1098"/>
                    <a:pt x="1176" y="1103"/>
                    <a:pt x="1173" y="1099"/>
                  </a:cubicBezTo>
                  <a:cubicBezTo>
                    <a:pt x="1170" y="1107"/>
                    <a:pt x="1169" y="1095"/>
                    <a:pt x="1167" y="1093"/>
                  </a:cubicBezTo>
                  <a:cubicBezTo>
                    <a:pt x="1165" y="1092"/>
                    <a:pt x="1158" y="1095"/>
                    <a:pt x="1162" y="1089"/>
                  </a:cubicBezTo>
                  <a:cubicBezTo>
                    <a:pt x="1161" y="1089"/>
                    <a:pt x="1160" y="1088"/>
                    <a:pt x="1159" y="1088"/>
                  </a:cubicBezTo>
                  <a:cubicBezTo>
                    <a:pt x="1159" y="1090"/>
                    <a:pt x="1159" y="1092"/>
                    <a:pt x="1160" y="1094"/>
                  </a:cubicBezTo>
                  <a:cubicBezTo>
                    <a:pt x="1157" y="1093"/>
                    <a:pt x="1155" y="1087"/>
                    <a:pt x="1152" y="1088"/>
                  </a:cubicBezTo>
                  <a:cubicBezTo>
                    <a:pt x="1153" y="1086"/>
                    <a:pt x="1153" y="1084"/>
                    <a:pt x="1150" y="1083"/>
                  </a:cubicBezTo>
                  <a:cubicBezTo>
                    <a:pt x="1149" y="1085"/>
                    <a:pt x="1149" y="1088"/>
                    <a:pt x="1148" y="1084"/>
                  </a:cubicBezTo>
                  <a:cubicBezTo>
                    <a:pt x="1147" y="1088"/>
                    <a:pt x="1154" y="1090"/>
                    <a:pt x="1151" y="1095"/>
                  </a:cubicBezTo>
                  <a:cubicBezTo>
                    <a:pt x="1150" y="1097"/>
                    <a:pt x="1146" y="1092"/>
                    <a:pt x="1145" y="1092"/>
                  </a:cubicBezTo>
                  <a:cubicBezTo>
                    <a:pt x="1146" y="1095"/>
                    <a:pt x="1145" y="1097"/>
                    <a:pt x="1142" y="1098"/>
                  </a:cubicBezTo>
                  <a:cubicBezTo>
                    <a:pt x="1142" y="1096"/>
                    <a:pt x="1135" y="1095"/>
                    <a:pt x="1132" y="1093"/>
                  </a:cubicBezTo>
                  <a:cubicBezTo>
                    <a:pt x="1128" y="1091"/>
                    <a:pt x="1121" y="1097"/>
                    <a:pt x="1119" y="1093"/>
                  </a:cubicBezTo>
                  <a:cubicBezTo>
                    <a:pt x="1119" y="1093"/>
                    <a:pt x="1118" y="1094"/>
                    <a:pt x="1117" y="1094"/>
                  </a:cubicBezTo>
                  <a:cubicBezTo>
                    <a:pt x="1115" y="1090"/>
                    <a:pt x="1109" y="1090"/>
                    <a:pt x="1106" y="1087"/>
                  </a:cubicBezTo>
                  <a:cubicBezTo>
                    <a:pt x="1105" y="1086"/>
                    <a:pt x="1107" y="1085"/>
                    <a:pt x="1105" y="1084"/>
                  </a:cubicBezTo>
                  <a:cubicBezTo>
                    <a:pt x="1102" y="1083"/>
                    <a:pt x="1098" y="1079"/>
                    <a:pt x="1095" y="1082"/>
                  </a:cubicBezTo>
                  <a:cubicBezTo>
                    <a:pt x="1093" y="1074"/>
                    <a:pt x="1088" y="1068"/>
                    <a:pt x="1088" y="1060"/>
                  </a:cubicBezTo>
                  <a:cubicBezTo>
                    <a:pt x="1096" y="1063"/>
                    <a:pt x="1093" y="1045"/>
                    <a:pt x="1083" y="1050"/>
                  </a:cubicBezTo>
                  <a:cubicBezTo>
                    <a:pt x="1079" y="1052"/>
                    <a:pt x="1077" y="1049"/>
                    <a:pt x="1073" y="1047"/>
                  </a:cubicBezTo>
                  <a:cubicBezTo>
                    <a:pt x="1069" y="1045"/>
                    <a:pt x="1067" y="1051"/>
                    <a:pt x="1063" y="1047"/>
                  </a:cubicBezTo>
                  <a:cubicBezTo>
                    <a:pt x="1057" y="1043"/>
                    <a:pt x="1051" y="1040"/>
                    <a:pt x="1046" y="1033"/>
                  </a:cubicBezTo>
                  <a:cubicBezTo>
                    <a:pt x="1044" y="1038"/>
                    <a:pt x="1038" y="1039"/>
                    <a:pt x="1034" y="1042"/>
                  </a:cubicBezTo>
                  <a:cubicBezTo>
                    <a:pt x="1032" y="1044"/>
                    <a:pt x="1036" y="1047"/>
                    <a:pt x="1034" y="1050"/>
                  </a:cubicBezTo>
                  <a:cubicBezTo>
                    <a:pt x="1031" y="1053"/>
                    <a:pt x="1016" y="1060"/>
                    <a:pt x="1018" y="1052"/>
                  </a:cubicBezTo>
                  <a:cubicBezTo>
                    <a:pt x="1012" y="1052"/>
                    <a:pt x="1011" y="1065"/>
                    <a:pt x="1009" y="1063"/>
                  </a:cubicBezTo>
                  <a:cubicBezTo>
                    <a:pt x="1007" y="1062"/>
                    <a:pt x="1004" y="1059"/>
                    <a:pt x="1002" y="1057"/>
                  </a:cubicBezTo>
                  <a:cubicBezTo>
                    <a:pt x="998" y="1052"/>
                    <a:pt x="998" y="1057"/>
                    <a:pt x="997" y="1061"/>
                  </a:cubicBezTo>
                  <a:cubicBezTo>
                    <a:pt x="991" y="1054"/>
                    <a:pt x="990" y="1053"/>
                    <a:pt x="986" y="1061"/>
                  </a:cubicBezTo>
                  <a:cubicBezTo>
                    <a:pt x="982" y="1068"/>
                    <a:pt x="976" y="1061"/>
                    <a:pt x="972" y="1057"/>
                  </a:cubicBezTo>
                  <a:cubicBezTo>
                    <a:pt x="964" y="1050"/>
                    <a:pt x="963" y="1060"/>
                    <a:pt x="959" y="1066"/>
                  </a:cubicBezTo>
                  <a:cubicBezTo>
                    <a:pt x="957" y="1069"/>
                    <a:pt x="955" y="1065"/>
                    <a:pt x="953" y="1065"/>
                  </a:cubicBezTo>
                  <a:cubicBezTo>
                    <a:pt x="951" y="1066"/>
                    <a:pt x="950" y="1066"/>
                    <a:pt x="948" y="1066"/>
                  </a:cubicBezTo>
                  <a:cubicBezTo>
                    <a:pt x="946" y="1067"/>
                    <a:pt x="947" y="1064"/>
                    <a:pt x="945" y="1064"/>
                  </a:cubicBezTo>
                  <a:cubicBezTo>
                    <a:pt x="937" y="1064"/>
                    <a:pt x="941" y="1078"/>
                    <a:pt x="943" y="1081"/>
                  </a:cubicBezTo>
                  <a:cubicBezTo>
                    <a:pt x="945" y="1084"/>
                    <a:pt x="948" y="1087"/>
                    <a:pt x="949" y="1091"/>
                  </a:cubicBezTo>
                  <a:cubicBezTo>
                    <a:pt x="950" y="1092"/>
                    <a:pt x="950" y="1093"/>
                    <a:pt x="951" y="1094"/>
                  </a:cubicBezTo>
                  <a:cubicBezTo>
                    <a:pt x="951" y="1097"/>
                    <a:pt x="950" y="1098"/>
                    <a:pt x="950" y="1101"/>
                  </a:cubicBezTo>
                  <a:cubicBezTo>
                    <a:pt x="950" y="1103"/>
                    <a:pt x="954" y="1107"/>
                    <a:pt x="952" y="1109"/>
                  </a:cubicBezTo>
                  <a:cubicBezTo>
                    <a:pt x="949" y="1112"/>
                    <a:pt x="946" y="1106"/>
                    <a:pt x="942" y="1107"/>
                  </a:cubicBezTo>
                  <a:cubicBezTo>
                    <a:pt x="937" y="1109"/>
                    <a:pt x="936" y="1109"/>
                    <a:pt x="934" y="1104"/>
                  </a:cubicBezTo>
                  <a:cubicBezTo>
                    <a:pt x="932" y="1099"/>
                    <a:pt x="929" y="1094"/>
                    <a:pt x="929" y="1089"/>
                  </a:cubicBezTo>
                  <a:cubicBezTo>
                    <a:pt x="924" y="1092"/>
                    <a:pt x="916" y="1102"/>
                    <a:pt x="909" y="1098"/>
                  </a:cubicBezTo>
                  <a:cubicBezTo>
                    <a:pt x="906" y="1096"/>
                    <a:pt x="905" y="1101"/>
                    <a:pt x="903" y="1100"/>
                  </a:cubicBezTo>
                  <a:cubicBezTo>
                    <a:pt x="900" y="1100"/>
                    <a:pt x="899" y="1094"/>
                    <a:pt x="901" y="1092"/>
                  </a:cubicBezTo>
                  <a:cubicBezTo>
                    <a:pt x="891" y="1092"/>
                    <a:pt x="898" y="1082"/>
                    <a:pt x="893" y="1080"/>
                  </a:cubicBezTo>
                  <a:cubicBezTo>
                    <a:pt x="887" y="1077"/>
                    <a:pt x="880" y="1077"/>
                    <a:pt x="873" y="1078"/>
                  </a:cubicBezTo>
                  <a:cubicBezTo>
                    <a:pt x="865" y="1079"/>
                    <a:pt x="872" y="1068"/>
                    <a:pt x="872" y="1065"/>
                  </a:cubicBezTo>
                  <a:cubicBezTo>
                    <a:pt x="873" y="1061"/>
                    <a:pt x="868" y="1049"/>
                    <a:pt x="876" y="1049"/>
                  </a:cubicBezTo>
                  <a:cubicBezTo>
                    <a:pt x="874" y="1043"/>
                    <a:pt x="870" y="1043"/>
                    <a:pt x="864" y="1043"/>
                  </a:cubicBezTo>
                  <a:cubicBezTo>
                    <a:pt x="856" y="1043"/>
                    <a:pt x="857" y="1036"/>
                    <a:pt x="854" y="1031"/>
                  </a:cubicBezTo>
                  <a:cubicBezTo>
                    <a:pt x="854" y="1031"/>
                    <a:pt x="851" y="1028"/>
                    <a:pt x="851" y="1027"/>
                  </a:cubicBezTo>
                  <a:cubicBezTo>
                    <a:pt x="854" y="1023"/>
                    <a:pt x="849" y="1021"/>
                    <a:pt x="847" y="1018"/>
                  </a:cubicBezTo>
                  <a:cubicBezTo>
                    <a:pt x="844" y="1013"/>
                    <a:pt x="851" y="1011"/>
                    <a:pt x="850" y="1006"/>
                  </a:cubicBezTo>
                  <a:cubicBezTo>
                    <a:pt x="843" y="1011"/>
                    <a:pt x="834" y="1005"/>
                    <a:pt x="827" y="1009"/>
                  </a:cubicBezTo>
                  <a:cubicBezTo>
                    <a:pt x="825" y="1010"/>
                    <a:pt x="816" y="1017"/>
                    <a:pt x="814" y="1016"/>
                  </a:cubicBezTo>
                  <a:cubicBezTo>
                    <a:pt x="810" y="1013"/>
                    <a:pt x="814" y="1010"/>
                    <a:pt x="815" y="1008"/>
                  </a:cubicBezTo>
                  <a:cubicBezTo>
                    <a:pt x="816" y="1005"/>
                    <a:pt x="814" y="1000"/>
                    <a:pt x="813" y="998"/>
                  </a:cubicBezTo>
                  <a:cubicBezTo>
                    <a:pt x="810" y="994"/>
                    <a:pt x="809" y="995"/>
                    <a:pt x="808" y="990"/>
                  </a:cubicBezTo>
                  <a:cubicBezTo>
                    <a:pt x="807" y="986"/>
                    <a:pt x="809" y="983"/>
                    <a:pt x="813" y="983"/>
                  </a:cubicBezTo>
                  <a:cubicBezTo>
                    <a:pt x="810" y="978"/>
                    <a:pt x="813" y="974"/>
                    <a:pt x="813" y="968"/>
                  </a:cubicBezTo>
                  <a:cubicBezTo>
                    <a:pt x="819" y="974"/>
                    <a:pt x="820" y="959"/>
                    <a:pt x="820" y="957"/>
                  </a:cubicBezTo>
                  <a:cubicBezTo>
                    <a:pt x="830" y="957"/>
                    <a:pt x="823" y="953"/>
                    <a:pt x="830" y="948"/>
                  </a:cubicBezTo>
                  <a:cubicBezTo>
                    <a:pt x="831" y="947"/>
                    <a:pt x="834" y="949"/>
                    <a:pt x="834" y="948"/>
                  </a:cubicBezTo>
                  <a:cubicBezTo>
                    <a:pt x="835" y="944"/>
                    <a:pt x="830" y="942"/>
                    <a:pt x="829" y="939"/>
                  </a:cubicBezTo>
                  <a:cubicBezTo>
                    <a:pt x="835" y="941"/>
                    <a:pt x="832" y="930"/>
                    <a:pt x="832" y="927"/>
                  </a:cubicBezTo>
                  <a:cubicBezTo>
                    <a:pt x="832" y="921"/>
                    <a:pt x="830" y="914"/>
                    <a:pt x="828" y="908"/>
                  </a:cubicBezTo>
                  <a:cubicBezTo>
                    <a:pt x="826" y="903"/>
                    <a:pt x="825" y="898"/>
                    <a:pt x="824" y="893"/>
                  </a:cubicBezTo>
                  <a:cubicBezTo>
                    <a:pt x="823" y="887"/>
                    <a:pt x="820" y="886"/>
                    <a:pt x="814" y="884"/>
                  </a:cubicBezTo>
                  <a:cubicBezTo>
                    <a:pt x="815" y="886"/>
                    <a:pt x="814" y="888"/>
                    <a:pt x="812" y="889"/>
                  </a:cubicBezTo>
                  <a:cubicBezTo>
                    <a:pt x="810" y="885"/>
                    <a:pt x="806" y="881"/>
                    <a:pt x="805" y="876"/>
                  </a:cubicBezTo>
                  <a:cubicBezTo>
                    <a:pt x="804" y="872"/>
                    <a:pt x="804" y="869"/>
                    <a:pt x="800" y="866"/>
                  </a:cubicBezTo>
                  <a:cubicBezTo>
                    <a:pt x="795" y="861"/>
                    <a:pt x="787" y="859"/>
                    <a:pt x="782" y="854"/>
                  </a:cubicBezTo>
                  <a:cubicBezTo>
                    <a:pt x="782" y="858"/>
                    <a:pt x="782" y="870"/>
                    <a:pt x="776" y="863"/>
                  </a:cubicBezTo>
                  <a:cubicBezTo>
                    <a:pt x="772" y="860"/>
                    <a:pt x="770" y="863"/>
                    <a:pt x="767" y="861"/>
                  </a:cubicBezTo>
                  <a:cubicBezTo>
                    <a:pt x="763" y="860"/>
                    <a:pt x="759" y="857"/>
                    <a:pt x="756" y="857"/>
                  </a:cubicBezTo>
                  <a:cubicBezTo>
                    <a:pt x="752" y="857"/>
                    <a:pt x="751" y="861"/>
                    <a:pt x="748" y="860"/>
                  </a:cubicBezTo>
                  <a:cubicBezTo>
                    <a:pt x="745" y="859"/>
                    <a:pt x="747" y="855"/>
                    <a:pt x="748" y="854"/>
                  </a:cubicBezTo>
                  <a:cubicBezTo>
                    <a:pt x="749" y="852"/>
                    <a:pt x="752" y="849"/>
                    <a:pt x="752" y="847"/>
                  </a:cubicBezTo>
                  <a:cubicBezTo>
                    <a:pt x="753" y="843"/>
                    <a:pt x="746" y="841"/>
                    <a:pt x="747" y="836"/>
                  </a:cubicBezTo>
                  <a:cubicBezTo>
                    <a:pt x="745" y="837"/>
                    <a:pt x="742" y="840"/>
                    <a:pt x="739" y="840"/>
                  </a:cubicBezTo>
                  <a:cubicBezTo>
                    <a:pt x="733" y="838"/>
                    <a:pt x="740" y="832"/>
                    <a:pt x="742" y="831"/>
                  </a:cubicBezTo>
                  <a:cubicBezTo>
                    <a:pt x="740" y="829"/>
                    <a:pt x="736" y="826"/>
                    <a:pt x="733" y="824"/>
                  </a:cubicBezTo>
                  <a:cubicBezTo>
                    <a:pt x="730" y="822"/>
                    <a:pt x="722" y="828"/>
                    <a:pt x="720" y="830"/>
                  </a:cubicBezTo>
                  <a:cubicBezTo>
                    <a:pt x="717" y="831"/>
                    <a:pt x="718" y="835"/>
                    <a:pt x="716" y="837"/>
                  </a:cubicBezTo>
                  <a:cubicBezTo>
                    <a:pt x="714" y="838"/>
                    <a:pt x="710" y="836"/>
                    <a:pt x="709" y="835"/>
                  </a:cubicBezTo>
                  <a:cubicBezTo>
                    <a:pt x="708" y="835"/>
                    <a:pt x="699" y="830"/>
                    <a:pt x="703" y="834"/>
                  </a:cubicBezTo>
                  <a:cubicBezTo>
                    <a:pt x="700" y="833"/>
                    <a:pt x="696" y="829"/>
                    <a:pt x="693" y="829"/>
                  </a:cubicBezTo>
                  <a:cubicBezTo>
                    <a:pt x="690" y="828"/>
                    <a:pt x="688" y="831"/>
                    <a:pt x="684" y="832"/>
                  </a:cubicBezTo>
                  <a:cubicBezTo>
                    <a:pt x="680" y="835"/>
                    <a:pt x="677" y="840"/>
                    <a:pt x="674" y="844"/>
                  </a:cubicBezTo>
                  <a:cubicBezTo>
                    <a:pt x="670" y="849"/>
                    <a:pt x="666" y="849"/>
                    <a:pt x="660" y="850"/>
                  </a:cubicBezTo>
                  <a:cubicBezTo>
                    <a:pt x="653" y="851"/>
                    <a:pt x="656" y="855"/>
                    <a:pt x="653" y="860"/>
                  </a:cubicBezTo>
                  <a:cubicBezTo>
                    <a:pt x="650" y="863"/>
                    <a:pt x="644" y="865"/>
                    <a:pt x="643" y="869"/>
                  </a:cubicBezTo>
                  <a:cubicBezTo>
                    <a:pt x="641" y="875"/>
                    <a:pt x="641" y="879"/>
                    <a:pt x="633" y="880"/>
                  </a:cubicBezTo>
                  <a:cubicBezTo>
                    <a:pt x="628" y="880"/>
                    <a:pt x="624" y="883"/>
                    <a:pt x="620" y="882"/>
                  </a:cubicBezTo>
                  <a:cubicBezTo>
                    <a:pt x="616" y="882"/>
                    <a:pt x="613" y="881"/>
                    <a:pt x="613" y="877"/>
                  </a:cubicBezTo>
                  <a:cubicBezTo>
                    <a:pt x="613" y="874"/>
                    <a:pt x="604" y="871"/>
                    <a:pt x="601" y="871"/>
                  </a:cubicBezTo>
                  <a:cubicBezTo>
                    <a:pt x="596" y="870"/>
                    <a:pt x="596" y="876"/>
                    <a:pt x="591" y="873"/>
                  </a:cubicBezTo>
                  <a:cubicBezTo>
                    <a:pt x="586" y="871"/>
                    <a:pt x="582" y="871"/>
                    <a:pt x="576" y="871"/>
                  </a:cubicBezTo>
                  <a:cubicBezTo>
                    <a:pt x="571" y="871"/>
                    <a:pt x="575" y="865"/>
                    <a:pt x="570" y="864"/>
                  </a:cubicBezTo>
                  <a:cubicBezTo>
                    <a:pt x="564" y="862"/>
                    <a:pt x="559" y="862"/>
                    <a:pt x="554" y="866"/>
                  </a:cubicBezTo>
                  <a:cubicBezTo>
                    <a:pt x="549" y="869"/>
                    <a:pt x="545" y="875"/>
                    <a:pt x="542" y="881"/>
                  </a:cubicBezTo>
                  <a:cubicBezTo>
                    <a:pt x="540" y="885"/>
                    <a:pt x="536" y="892"/>
                    <a:pt x="535" y="897"/>
                  </a:cubicBezTo>
                  <a:cubicBezTo>
                    <a:pt x="527" y="892"/>
                    <a:pt x="533" y="883"/>
                    <a:pt x="530" y="876"/>
                  </a:cubicBezTo>
                  <a:cubicBezTo>
                    <a:pt x="526" y="866"/>
                    <a:pt x="516" y="874"/>
                    <a:pt x="509" y="875"/>
                  </a:cubicBezTo>
                  <a:cubicBezTo>
                    <a:pt x="509" y="876"/>
                    <a:pt x="509" y="877"/>
                    <a:pt x="509" y="878"/>
                  </a:cubicBezTo>
                  <a:cubicBezTo>
                    <a:pt x="503" y="876"/>
                    <a:pt x="494" y="878"/>
                    <a:pt x="487" y="878"/>
                  </a:cubicBezTo>
                  <a:cubicBezTo>
                    <a:pt x="480" y="878"/>
                    <a:pt x="477" y="876"/>
                    <a:pt x="471" y="873"/>
                  </a:cubicBezTo>
                  <a:cubicBezTo>
                    <a:pt x="469" y="872"/>
                    <a:pt x="465" y="870"/>
                    <a:pt x="463" y="871"/>
                  </a:cubicBezTo>
                  <a:cubicBezTo>
                    <a:pt x="461" y="872"/>
                    <a:pt x="462" y="875"/>
                    <a:pt x="460" y="876"/>
                  </a:cubicBezTo>
                  <a:cubicBezTo>
                    <a:pt x="456" y="876"/>
                    <a:pt x="450" y="871"/>
                    <a:pt x="449" y="868"/>
                  </a:cubicBezTo>
                  <a:cubicBezTo>
                    <a:pt x="449" y="868"/>
                    <a:pt x="448" y="880"/>
                    <a:pt x="445" y="875"/>
                  </a:cubicBezTo>
                  <a:cubicBezTo>
                    <a:pt x="442" y="870"/>
                    <a:pt x="436" y="867"/>
                    <a:pt x="434" y="861"/>
                  </a:cubicBezTo>
                  <a:cubicBezTo>
                    <a:pt x="433" y="866"/>
                    <a:pt x="417" y="864"/>
                    <a:pt x="416" y="860"/>
                  </a:cubicBezTo>
                  <a:cubicBezTo>
                    <a:pt x="416" y="858"/>
                    <a:pt x="418" y="854"/>
                    <a:pt x="416" y="852"/>
                  </a:cubicBezTo>
                  <a:cubicBezTo>
                    <a:pt x="414" y="850"/>
                    <a:pt x="409" y="855"/>
                    <a:pt x="406" y="853"/>
                  </a:cubicBezTo>
                  <a:cubicBezTo>
                    <a:pt x="401" y="850"/>
                    <a:pt x="389" y="846"/>
                    <a:pt x="387" y="840"/>
                  </a:cubicBezTo>
                  <a:cubicBezTo>
                    <a:pt x="385" y="833"/>
                    <a:pt x="377" y="825"/>
                    <a:pt x="369" y="832"/>
                  </a:cubicBezTo>
                  <a:cubicBezTo>
                    <a:pt x="367" y="835"/>
                    <a:pt x="358" y="823"/>
                    <a:pt x="356" y="821"/>
                  </a:cubicBezTo>
                  <a:cubicBezTo>
                    <a:pt x="352" y="817"/>
                    <a:pt x="345" y="816"/>
                    <a:pt x="339" y="812"/>
                  </a:cubicBezTo>
                  <a:cubicBezTo>
                    <a:pt x="330" y="807"/>
                    <a:pt x="322" y="800"/>
                    <a:pt x="314" y="793"/>
                  </a:cubicBezTo>
                  <a:cubicBezTo>
                    <a:pt x="311" y="791"/>
                    <a:pt x="307" y="791"/>
                    <a:pt x="303" y="790"/>
                  </a:cubicBezTo>
                  <a:cubicBezTo>
                    <a:pt x="299" y="789"/>
                    <a:pt x="299" y="794"/>
                    <a:pt x="295" y="792"/>
                  </a:cubicBezTo>
                  <a:cubicBezTo>
                    <a:pt x="297" y="803"/>
                    <a:pt x="291" y="804"/>
                    <a:pt x="285" y="797"/>
                  </a:cubicBezTo>
                  <a:cubicBezTo>
                    <a:pt x="279" y="791"/>
                    <a:pt x="272" y="788"/>
                    <a:pt x="265" y="786"/>
                  </a:cubicBezTo>
                  <a:cubicBezTo>
                    <a:pt x="263" y="786"/>
                    <a:pt x="259" y="785"/>
                    <a:pt x="258" y="784"/>
                  </a:cubicBezTo>
                  <a:cubicBezTo>
                    <a:pt x="256" y="782"/>
                    <a:pt x="260" y="778"/>
                    <a:pt x="256" y="777"/>
                  </a:cubicBezTo>
                  <a:cubicBezTo>
                    <a:pt x="253" y="776"/>
                    <a:pt x="251" y="775"/>
                    <a:pt x="249" y="773"/>
                  </a:cubicBezTo>
                  <a:cubicBezTo>
                    <a:pt x="245" y="769"/>
                    <a:pt x="242" y="772"/>
                    <a:pt x="237" y="771"/>
                  </a:cubicBezTo>
                  <a:cubicBezTo>
                    <a:pt x="230" y="769"/>
                    <a:pt x="227" y="761"/>
                    <a:pt x="223" y="757"/>
                  </a:cubicBezTo>
                  <a:cubicBezTo>
                    <a:pt x="218" y="752"/>
                    <a:pt x="213" y="765"/>
                    <a:pt x="210" y="756"/>
                  </a:cubicBezTo>
                  <a:cubicBezTo>
                    <a:pt x="209" y="753"/>
                    <a:pt x="210" y="749"/>
                    <a:pt x="208" y="746"/>
                  </a:cubicBezTo>
                  <a:cubicBezTo>
                    <a:pt x="206" y="743"/>
                    <a:pt x="206" y="741"/>
                    <a:pt x="205" y="737"/>
                  </a:cubicBezTo>
                  <a:cubicBezTo>
                    <a:pt x="204" y="733"/>
                    <a:pt x="201" y="731"/>
                    <a:pt x="198" y="729"/>
                  </a:cubicBezTo>
                  <a:cubicBezTo>
                    <a:pt x="194" y="725"/>
                    <a:pt x="195" y="720"/>
                    <a:pt x="192" y="716"/>
                  </a:cubicBezTo>
                  <a:cubicBezTo>
                    <a:pt x="199" y="710"/>
                    <a:pt x="201" y="714"/>
                    <a:pt x="206" y="720"/>
                  </a:cubicBezTo>
                  <a:cubicBezTo>
                    <a:pt x="208" y="723"/>
                    <a:pt x="211" y="723"/>
                    <a:pt x="213" y="720"/>
                  </a:cubicBezTo>
                  <a:cubicBezTo>
                    <a:pt x="215" y="716"/>
                    <a:pt x="220" y="717"/>
                    <a:pt x="222" y="714"/>
                  </a:cubicBezTo>
                  <a:cubicBezTo>
                    <a:pt x="225" y="710"/>
                    <a:pt x="220" y="705"/>
                    <a:pt x="218" y="703"/>
                  </a:cubicBezTo>
                  <a:cubicBezTo>
                    <a:pt x="216" y="700"/>
                    <a:pt x="217" y="694"/>
                    <a:pt x="215" y="694"/>
                  </a:cubicBezTo>
                  <a:cubicBezTo>
                    <a:pt x="205" y="691"/>
                    <a:pt x="202" y="688"/>
                    <a:pt x="199" y="678"/>
                  </a:cubicBezTo>
                  <a:cubicBezTo>
                    <a:pt x="206" y="679"/>
                    <a:pt x="190" y="667"/>
                    <a:pt x="202" y="665"/>
                  </a:cubicBezTo>
                  <a:cubicBezTo>
                    <a:pt x="204" y="664"/>
                    <a:pt x="209" y="666"/>
                    <a:pt x="211" y="664"/>
                  </a:cubicBezTo>
                  <a:cubicBezTo>
                    <a:pt x="213" y="661"/>
                    <a:pt x="212" y="655"/>
                    <a:pt x="210" y="652"/>
                  </a:cubicBezTo>
                  <a:cubicBezTo>
                    <a:pt x="212" y="651"/>
                    <a:pt x="218" y="652"/>
                    <a:pt x="216" y="649"/>
                  </a:cubicBezTo>
                  <a:cubicBezTo>
                    <a:pt x="214" y="647"/>
                    <a:pt x="220" y="642"/>
                    <a:pt x="221" y="642"/>
                  </a:cubicBezTo>
                  <a:cubicBezTo>
                    <a:pt x="227" y="641"/>
                    <a:pt x="225" y="623"/>
                    <a:pt x="224" y="619"/>
                  </a:cubicBezTo>
                  <a:cubicBezTo>
                    <a:pt x="224" y="619"/>
                    <a:pt x="227" y="609"/>
                    <a:pt x="222" y="613"/>
                  </a:cubicBezTo>
                  <a:cubicBezTo>
                    <a:pt x="217" y="617"/>
                    <a:pt x="216" y="615"/>
                    <a:pt x="213" y="611"/>
                  </a:cubicBezTo>
                  <a:cubicBezTo>
                    <a:pt x="212" y="609"/>
                    <a:pt x="207" y="609"/>
                    <a:pt x="205" y="608"/>
                  </a:cubicBezTo>
                  <a:cubicBezTo>
                    <a:pt x="201" y="606"/>
                    <a:pt x="198" y="599"/>
                    <a:pt x="194" y="598"/>
                  </a:cubicBezTo>
                  <a:cubicBezTo>
                    <a:pt x="189" y="596"/>
                    <a:pt x="178" y="599"/>
                    <a:pt x="174" y="602"/>
                  </a:cubicBezTo>
                  <a:cubicBezTo>
                    <a:pt x="167" y="606"/>
                    <a:pt x="159" y="614"/>
                    <a:pt x="151" y="615"/>
                  </a:cubicBezTo>
                  <a:cubicBezTo>
                    <a:pt x="142" y="615"/>
                    <a:pt x="114" y="613"/>
                    <a:pt x="113" y="600"/>
                  </a:cubicBezTo>
                  <a:cubicBezTo>
                    <a:pt x="110" y="600"/>
                    <a:pt x="106" y="605"/>
                    <a:pt x="103" y="602"/>
                  </a:cubicBezTo>
                  <a:cubicBezTo>
                    <a:pt x="101" y="600"/>
                    <a:pt x="95" y="597"/>
                    <a:pt x="94" y="594"/>
                  </a:cubicBezTo>
                  <a:cubicBezTo>
                    <a:pt x="93" y="591"/>
                    <a:pt x="93" y="587"/>
                    <a:pt x="92" y="584"/>
                  </a:cubicBezTo>
                  <a:cubicBezTo>
                    <a:pt x="91" y="580"/>
                    <a:pt x="89" y="577"/>
                    <a:pt x="86" y="574"/>
                  </a:cubicBezTo>
                  <a:cubicBezTo>
                    <a:pt x="82" y="570"/>
                    <a:pt x="75" y="572"/>
                    <a:pt x="72" y="568"/>
                  </a:cubicBezTo>
                  <a:cubicBezTo>
                    <a:pt x="69" y="564"/>
                    <a:pt x="60" y="558"/>
                    <a:pt x="57" y="565"/>
                  </a:cubicBezTo>
                  <a:cubicBezTo>
                    <a:pt x="54" y="558"/>
                    <a:pt x="46" y="563"/>
                    <a:pt x="43" y="558"/>
                  </a:cubicBezTo>
                  <a:cubicBezTo>
                    <a:pt x="39" y="551"/>
                    <a:pt x="52" y="554"/>
                    <a:pt x="54" y="554"/>
                  </a:cubicBezTo>
                  <a:cubicBezTo>
                    <a:pt x="61" y="552"/>
                    <a:pt x="58" y="545"/>
                    <a:pt x="54" y="543"/>
                  </a:cubicBezTo>
                  <a:cubicBezTo>
                    <a:pt x="50" y="541"/>
                    <a:pt x="52" y="539"/>
                    <a:pt x="52" y="536"/>
                  </a:cubicBezTo>
                  <a:cubicBezTo>
                    <a:pt x="52" y="534"/>
                    <a:pt x="49" y="530"/>
                    <a:pt x="48" y="528"/>
                  </a:cubicBezTo>
                  <a:cubicBezTo>
                    <a:pt x="47" y="526"/>
                    <a:pt x="45" y="525"/>
                    <a:pt x="44" y="523"/>
                  </a:cubicBezTo>
                  <a:cubicBezTo>
                    <a:pt x="43" y="520"/>
                    <a:pt x="44" y="516"/>
                    <a:pt x="43" y="513"/>
                  </a:cubicBezTo>
                  <a:cubicBezTo>
                    <a:pt x="42" y="507"/>
                    <a:pt x="32" y="506"/>
                    <a:pt x="27" y="505"/>
                  </a:cubicBezTo>
                  <a:cubicBezTo>
                    <a:pt x="21" y="503"/>
                    <a:pt x="16" y="512"/>
                    <a:pt x="11" y="506"/>
                  </a:cubicBezTo>
                  <a:cubicBezTo>
                    <a:pt x="10" y="504"/>
                    <a:pt x="3" y="495"/>
                    <a:pt x="10" y="495"/>
                  </a:cubicBezTo>
                  <a:cubicBezTo>
                    <a:pt x="8" y="492"/>
                    <a:pt x="5" y="489"/>
                    <a:pt x="2" y="487"/>
                  </a:cubicBezTo>
                  <a:cubicBezTo>
                    <a:pt x="0" y="485"/>
                    <a:pt x="1" y="480"/>
                    <a:pt x="0" y="47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Freeform 498">
              <a:extLst>
                <a:ext uri="{FF2B5EF4-FFF2-40B4-BE49-F238E27FC236}">
                  <a16:creationId xmlns:a16="http://schemas.microsoft.com/office/drawing/2014/main" id="{9F74BC64-4227-4255-B76F-AB69544E6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635" y="1274279"/>
              <a:ext cx="3412457" cy="2478147"/>
            </a:xfrm>
            <a:custGeom>
              <a:avLst/>
              <a:gdLst>
                <a:gd name="T0" fmla="*/ 64 w 1574"/>
                <a:gd name="T1" fmla="*/ 446 h 1143"/>
                <a:gd name="T2" fmla="*/ 159 w 1574"/>
                <a:gd name="T3" fmla="*/ 360 h 1143"/>
                <a:gd name="T4" fmla="*/ 170 w 1574"/>
                <a:gd name="T5" fmla="*/ 281 h 1143"/>
                <a:gd name="T6" fmla="*/ 232 w 1574"/>
                <a:gd name="T7" fmla="*/ 223 h 1143"/>
                <a:gd name="T8" fmla="*/ 292 w 1574"/>
                <a:gd name="T9" fmla="*/ 167 h 1143"/>
                <a:gd name="T10" fmla="*/ 407 w 1574"/>
                <a:gd name="T11" fmla="*/ 272 h 1143"/>
                <a:gd name="T12" fmla="*/ 577 w 1574"/>
                <a:gd name="T13" fmla="*/ 345 h 1143"/>
                <a:gd name="T14" fmla="*/ 791 w 1574"/>
                <a:gd name="T15" fmla="*/ 388 h 1143"/>
                <a:gd name="T16" fmla="*/ 1007 w 1574"/>
                <a:gd name="T17" fmla="*/ 339 h 1143"/>
                <a:gd name="T18" fmla="*/ 1099 w 1574"/>
                <a:gd name="T19" fmla="*/ 262 h 1143"/>
                <a:gd name="T20" fmla="*/ 1173 w 1574"/>
                <a:gd name="T21" fmla="*/ 232 h 1143"/>
                <a:gd name="T22" fmla="*/ 1036 w 1574"/>
                <a:gd name="T23" fmla="*/ 124 h 1143"/>
                <a:gd name="T24" fmla="*/ 1086 w 1574"/>
                <a:gd name="T25" fmla="*/ 38 h 1143"/>
                <a:gd name="T26" fmla="*/ 1220 w 1574"/>
                <a:gd name="T27" fmla="*/ 32 h 1143"/>
                <a:gd name="T28" fmla="*/ 1349 w 1574"/>
                <a:gd name="T29" fmla="*/ 134 h 1143"/>
                <a:gd name="T30" fmla="*/ 1472 w 1574"/>
                <a:gd name="T31" fmla="*/ 195 h 1143"/>
                <a:gd name="T32" fmla="*/ 1557 w 1574"/>
                <a:gd name="T33" fmla="*/ 207 h 1143"/>
                <a:gd name="T34" fmla="*/ 1534 w 1574"/>
                <a:gd name="T35" fmla="*/ 278 h 1143"/>
                <a:gd name="T36" fmla="*/ 1525 w 1574"/>
                <a:gd name="T37" fmla="*/ 357 h 1143"/>
                <a:gd name="T38" fmla="*/ 1457 w 1574"/>
                <a:gd name="T39" fmla="*/ 418 h 1143"/>
                <a:gd name="T40" fmla="*/ 1380 w 1574"/>
                <a:gd name="T41" fmla="*/ 478 h 1143"/>
                <a:gd name="T42" fmla="*/ 1353 w 1574"/>
                <a:gd name="T43" fmla="*/ 459 h 1143"/>
                <a:gd name="T44" fmla="*/ 1254 w 1574"/>
                <a:gd name="T45" fmla="*/ 486 h 1143"/>
                <a:gd name="T46" fmla="*/ 1341 w 1574"/>
                <a:gd name="T47" fmla="*/ 538 h 1143"/>
                <a:gd name="T48" fmla="*/ 1415 w 1574"/>
                <a:gd name="T49" fmla="*/ 567 h 1143"/>
                <a:gd name="T50" fmla="*/ 1369 w 1574"/>
                <a:gd name="T51" fmla="*/ 595 h 1143"/>
                <a:gd name="T52" fmla="*/ 1415 w 1574"/>
                <a:gd name="T53" fmla="*/ 693 h 1143"/>
                <a:gd name="T54" fmla="*/ 1393 w 1574"/>
                <a:gd name="T55" fmla="*/ 723 h 1143"/>
                <a:gd name="T56" fmla="*/ 1464 w 1574"/>
                <a:gd name="T57" fmla="*/ 758 h 1143"/>
                <a:gd name="T58" fmla="*/ 1449 w 1574"/>
                <a:gd name="T59" fmla="*/ 800 h 1143"/>
                <a:gd name="T60" fmla="*/ 1492 w 1574"/>
                <a:gd name="T61" fmla="*/ 825 h 1143"/>
                <a:gd name="T62" fmla="*/ 1475 w 1574"/>
                <a:gd name="T63" fmla="*/ 844 h 1143"/>
                <a:gd name="T64" fmla="*/ 1471 w 1574"/>
                <a:gd name="T65" fmla="*/ 898 h 1143"/>
                <a:gd name="T66" fmla="*/ 1448 w 1574"/>
                <a:gd name="T67" fmla="*/ 922 h 1143"/>
                <a:gd name="T68" fmla="*/ 1455 w 1574"/>
                <a:gd name="T69" fmla="*/ 964 h 1143"/>
                <a:gd name="T70" fmla="*/ 1430 w 1574"/>
                <a:gd name="T71" fmla="*/ 988 h 1143"/>
                <a:gd name="T72" fmla="*/ 1401 w 1574"/>
                <a:gd name="T73" fmla="*/ 1019 h 1143"/>
                <a:gd name="T74" fmla="*/ 1356 w 1574"/>
                <a:gd name="T75" fmla="*/ 1057 h 1143"/>
                <a:gd name="T76" fmla="*/ 1296 w 1574"/>
                <a:gd name="T77" fmla="*/ 1045 h 1143"/>
                <a:gd name="T78" fmla="*/ 1289 w 1574"/>
                <a:gd name="T79" fmla="*/ 1079 h 1143"/>
                <a:gd name="T80" fmla="*/ 1234 w 1574"/>
                <a:gd name="T81" fmla="*/ 1101 h 1143"/>
                <a:gd name="T82" fmla="*/ 1217 w 1574"/>
                <a:gd name="T83" fmla="*/ 1135 h 1143"/>
                <a:gd name="T84" fmla="*/ 1183 w 1574"/>
                <a:gd name="T85" fmla="*/ 1096 h 1143"/>
                <a:gd name="T86" fmla="*/ 1145 w 1574"/>
                <a:gd name="T87" fmla="*/ 1092 h 1143"/>
                <a:gd name="T88" fmla="*/ 1073 w 1574"/>
                <a:gd name="T89" fmla="*/ 1047 h 1143"/>
                <a:gd name="T90" fmla="*/ 972 w 1574"/>
                <a:gd name="T91" fmla="*/ 1057 h 1143"/>
                <a:gd name="T92" fmla="*/ 942 w 1574"/>
                <a:gd name="T93" fmla="*/ 1107 h 1143"/>
                <a:gd name="T94" fmla="*/ 864 w 1574"/>
                <a:gd name="T95" fmla="*/ 1043 h 1143"/>
                <a:gd name="T96" fmla="*/ 813 w 1574"/>
                <a:gd name="T97" fmla="*/ 983 h 1143"/>
                <a:gd name="T98" fmla="*/ 812 w 1574"/>
                <a:gd name="T99" fmla="*/ 889 h 1143"/>
                <a:gd name="T100" fmla="*/ 747 w 1574"/>
                <a:gd name="T101" fmla="*/ 836 h 1143"/>
                <a:gd name="T102" fmla="*/ 674 w 1574"/>
                <a:gd name="T103" fmla="*/ 844 h 1143"/>
                <a:gd name="T104" fmla="*/ 570 w 1574"/>
                <a:gd name="T105" fmla="*/ 864 h 1143"/>
                <a:gd name="T106" fmla="*/ 460 w 1574"/>
                <a:gd name="T107" fmla="*/ 876 h 1143"/>
                <a:gd name="T108" fmla="*/ 339 w 1574"/>
                <a:gd name="T109" fmla="*/ 812 h 1143"/>
                <a:gd name="T110" fmla="*/ 223 w 1574"/>
                <a:gd name="T111" fmla="*/ 757 h 1143"/>
                <a:gd name="T112" fmla="*/ 215 w 1574"/>
                <a:gd name="T113" fmla="*/ 694 h 1143"/>
                <a:gd name="T114" fmla="*/ 205 w 1574"/>
                <a:gd name="T115" fmla="*/ 608 h 1143"/>
                <a:gd name="T116" fmla="*/ 57 w 1574"/>
                <a:gd name="T117" fmla="*/ 565 h 1143"/>
                <a:gd name="T118" fmla="*/ 10 w 1574"/>
                <a:gd name="T119" fmla="*/ 495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74" h="1143">
                  <a:moveTo>
                    <a:pt x="0" y="477"/>
                  </a:moveTo>
                  <a:cubicBezTo>
                    <a:pt x="4" y="477"/>
                    <a:pt x="7" y="475"/>
                    <a:pt x="6" y="471"/>
                  </a:cubicBezTo>
                  <a:cubicBezTo>
                    <a:pt x="5" y="465"/>
                    <a:pt x="2" y="466"/>
                    <a:pt x="4" y="460"/>
                  </a:cubicBezTo>
                  <a:cubicBezTo>
                    <a:pt x="5" y="455"/>
                    <a:pt x="9" y="457"/>
                    <a:pt x="13" y="455"/>
                  </a:cubicBezTo>
                  <a:cubicBezTo>
                    <a:pt x="17" y="453"/>
                    <a:pt x="19" y="447"/>
                    <a:pt x="24" y="447"/>
                  </a:cubicBezTo>
                  <a:cubicBezTo>
                    <a:pt x="23" y="445"/>
                    <a:pt x="23" y="443"/>
                    <a:pt x="24" y="441"/>
                  </a:cubicBezTo>
                  <a:cubicBezTo>
                    <a:pt x="27" y="442"/>
                    <a:pt x="33" y="445"/>
                    <a:pt x="35" y="442"/>
                  </a:cubicBezTo>
                  <a:cubicBezTo>
                    <a:pt x="37" y="440"/>
                    <a:pt x="40" y="437"/>
                    <a:pt x="43" y="437"/>
                  </a:cubicBezTo>
                  <a:cubicBezTo>
                    <a:pt x="46" y="437"/>
                    <a:pt x="47" y="445"/>
                    <a:pt x="49" y="446"/>
                  </a:cubicBezTo>
                  <a:cubicBezTo>
                    <a:pt x="53" y="449"/>
                    <a:pt x="60" y="445"/>
                    <a:pt x="64" y="446"/>
                  </a:cubicBezTo>
                  <a:cubicBezTo>
                    <a:pt x="72" y="446"/>
                    <a:pt x="73" y="435"/>
                    <a:pt x="74" y="429"/>
                  </a:cubicBezTo>
                  <a:cubicBezTo>
                    <a:pt x="75" y="424"/>
                    <a:pt x="77" y="422"/>
                    <a:pt x="82" y="423"/>
                  </a:cubicBezTo>
                  <a:cubicBezTo>
                    <a:pt x="88" y="424"/>
                    <a:pt x="95" y="424"/>
                    <a:pt x="101" y="423"/>
                  </a:cubicBezTo>
                  <a:cubicBezTo>
                    <a:pt x="104" y="422"/>
                    <a:pt x="109" y="423"/>
                    <a:pt x="111" y="421"/>
                  </a:cubicBezTo>
                  <a:cubicBezTo>
                    <a:pt x="114" y="418"/>
                    <a:pt x="114" y="412"/>
                    <a:pt x="117" y="409"/>
                  </a:cubicBezTo>
                  <a:cubicBezTo>
                    <a:pt x="124" y="401"/>
                    <a:pt x="138" y="400"/>
                    <a:pt x="146" y="393"/>
                  </a:cubicBezTo>
                  <a:cubicBezTo>
                    <a:pt x="149" y="390"/>
                    <a:pt x="151" y="389"/>
                    <a:pt x="155" y="389"/>
                  </a:cubicBezTo>
                  <a:cubicBezTo>
                    <a:pt x="161" y="389"/>
                    <a:pt x="159" y="387"/>
                    <a:pt x="157" y="383"/>
                  </a:cubicBezTo>
                  <a:cubicBezTo>
                    <a:pt x="155" y="378"/>
                    <a:pt x="153" y="373"/>
                    <a:pt x="151" y="369"/>
                  </a:cubicBezTo>
                  <a:cubicBezTo>
                    <a:pt x="148" y="362"/>
                    <a:pt x="155" y="361"/>
                    <a:pt x="159" y="360"/>
                  </a:cubicBezTo>
                  <a:cubicBezTo>
                    <a:pt x="157" y="358"/>
                    <a:pt x="155" y="357"/>
                    <a:pt x="153" y="356"/>
                  </a:cubicBezTo>
                  <a:cubicBezTo>
                    <a:pt x="155" y="353"/>
                    <a:pt x="158" y="349"/>
                    <a:pt x="162" y="352"/>
                  </a:cubicBezTo>
                  <a:cubicBezTo>
                    <a:pt x="164" y="347"/>
                    <a:pt x="158" y="346"/>
                    <a:pt x="157" y="342"/>
                  </a:cubicBezTo>
                  <a:cubicBezTo>
                    <a:pt x="157" y="336"/>
                    <a:pt x="151" y="332"/>
                    <a:pt x="148" y="328"/>
                  </a:cubicBezTo>
                  <a:cubicBezTo>
                    <a:pt x="144" y="322"/>
                    <a:pt x="139" y="316"/>
                    <a:pt x="137" y="309"/>
                  </a:cubicBezTo>
                  <a:cubicBezTo>
                    <a:pt x="135" y="305"/>
                    <a:pt x="138" y="297"/>
                    <a:pt x="133" y="295"/>
                  </a:cubicBezTo>
                  <a:cubicBezTo>
                    <a:pt x="130" y="293"/>
                    <a:pt x="115" y="295"/>
                    <a:pt x="119" y="289"/>
                  </a:cubicBezTo>
                  <a:cubicBezTo>
                    <a:pt x="121" y="285"/>
                    <a:pt x="130" y="284"/>
                    <a:pt x="134" y="283"/>
                  </a:cubicBezTo>
                  <a:cubicBezTo>
                    <a:pt x="141" y="281"/>
                    <a:pt x="148" y="280"/>
                    <a:pt x="156" y="278"/>
                  </a:cubicBezTo>
                  <a:cubicBezTo>
                    <a:pt x="163" y="275"/>
                    <a:pt x="164" y="279"/>
                    <a:pt x="170" y="281"/>
                  </a:cubicBezTo>
                  <a:cubicBezTo>
                    <a:pt x="175" y="283"/>
                    <a:pt x="179" y="278"/>
                    <a:pt x="183" y="281"/>
                  </a:cubicBezTo>
                  <a:cubicBezTo>
                    <a:pt x="189" y="285"/>
                    <a:pt x="189" y="279"/>
                    <a:pt x="188" y="275"/>
                  </a:cubicBezTo>
                  <a:cubicBezTo>
                    <a:pt x="186" y="270"/>
                    <a:pt x="179" y="273"/>
                    <a:pt x="176" y="269"/>
                  </a:cubicBezTo>
                  <a:cubicBezTo>
                    <a:pt x="174" y="265"/>
                    <a:pt x="176" y="258"/>
                    <a:pt x="177" y="255"/>
                  </a:cubicBezTo>
                  <a:cubicBezTo>
                    <a:pt x="177" y="249"/>
                    <a:pt x="176" y="243"/>
                    <a:pt x="176" y="237"/>
                  </a:cubicBezTo>
                  <a:cubicBezTo>
                    <a:pt x="176" y="231"/>
                    <a:pt x="178" y="225"/>
                    <a:pt x="177" y="219"/>
                  </a:cubicBezTo>
                  <a:cubicBezTo>
                    <a:pt x="176" y="213"/>
                    <a:pt x="179" y="211"/>
                    <a:pt x="185" y="214"/>
                  </a:cubicBezTo>
                  <a:cubicBezTo>
                    <a:pt x="190" y="216"/>
                    <a:pt x="194" y="218"/>
                    <a:pt x="199" y="220"/>
                  </a:cubicBezTo>
                  <a:cubicBezTo>
                    <a:pt x="206" y="221"/>
                    <a:pt x="213" y="219"/>
                    <a:pt x="220" y="219"/>
                  </a:cubicBezTo>
                  <a:cubicBezTo>
                    <a:pt x="226" y="220"/>
                    <a:pt x="227" y="227"/>
                    <a:pt x="232" y="223"/>
                  </a:cubicBezTo>
                  <a:cubicBezTo>
                    <a:pt x="236" y="220"/>
                    <a:pt x="241" y="219"/>
                    <a:pt x="245" y="216"/>
                  </a:cubicBezTo>
                  <a:cubicBezTo>
                    <a:pt x="252" y="210"/>
                    <a:pt x="235" y="194"/>
                    <a:pt x="233" y="188"/>
                  </a:cubicBezTo>
                  <a:cubicBezTo>
                    <a:pt x="232" y="184"/>
                    <a:pt x="232" y="175"/>
                    <a:pt x="235" y="172"/>
                  </a:cubicBezTo>
                  <a:cubicBezTo>
                    <a:pt x="238" y="170"/>
                    <a:pt x="243" y="172"/>
                    <a:pt x="247" y="171"/>
                  </a:cubicBezTo>
                  <a:cubicBezTo>
                    <a:pt x="256" y="167"/>
                    <a:pt x="255" y="162"/>
                    <a:pt x="252" y="154"/>
                  </a:cubicBezTo>
                  <a:cubicBezTo>
                    <a:pt x="251" y="148"/>
                    <a:pt x="257" y="148"/>
                    <a:pt x="261" y="148"/>
                  </a:cubicBezTo>
                  <a:cubicBezTo>
                    <a:pt x="267" y="149"/>
                    <a:pt x="269" y="149"/>
                    <a:pt x="275" y="147"/>
                  </a:cubicBezTo>
                  <a:cubicBezTo>
                    <a:pt x="277" y="146"/>
                    <a:pt x="284" y="151"/>
                    <a:pt x="282" y="153"/>
                  </a:cubicBezTo>
                  <a:cubicBezTo>
                    <a:pt x="279" y="156"/>
                    <a:pt x="283" y="159"/>
                    <a:pt x="287" y="160"/>
                  </a:cubicBezTo>
                  <a:cubicBezTo>
                    <a:pt x="294" y="162"/>
                    <a:pt x="288" y="165"/>
                    <a:pt x="292" y="167"/>
                  </a:cubicBezTo>
                  <a:cubicBezTo>
                    <a:pt x="298" y="170"/>
                    <a:pt x="305" y="169"/>
                    <a:pt x="310" y="175"/>
                  </a:cubicBezTo>
                  <a:cubicBezTo>
                    <a:pt x="314" y="180"/>
                    <a:pt x="328" y="188"/>
                    <a:pt x="335" y="185"/>
                  </a:cubicBezTo>
                  <a:cubicBezTo>
                    <a:pt x="340" y="184"/>
                    <a:pt x="353" y="195"/>
                    <a:pt x="354" y="189"/>
                  </a:cubicBezTo>
                  <a:cubicBezTo>
                    <a:pt x="357" y="190"/>
                    <a:pt x="357" y="192"/>
                    <a:pt x="359" y="194"/>
                  </a:cubicBezTo>
                  <a:cubicBezTo>
                    <a:pt x="362" y="196"/>
                    <a:pt x="365" y="196"/>
                    <a:pt x="368" y="198"/>
                  </a:cubicBezTo>
                  <a:cubicBezTo>
                    <a:pt x="373" y="203"/>
                    <a:pt x="375" y="209"/>
                    <a:pt x="380" y="214"/>
                  </a:cubicBezTo>
                  <a:cubicBezTo>
                    <a:pt x="384" y="217"/>
                    <a:pt x="389" y="220"/>
                    <a:pt x="394" y="224"/>
                  </a:cubicBezTo>
                  <a:cubicBezTo>
                    <a:pt x="401" y="230"/>
                    <a:pt x="399" y="235"/>
                    <a:pt x="401" y="243"/>
                  </a:cubicBezTo>
                  <a:cubicBezTo>
                    <a:pt x="403" y="248"/>
                    <a:pt x="409" y="249"/>
                    <a:pt x="406" y="256"/>
                  </a:cubicBezTo>
                  <a:cubicBezTo>
                    <a:pt x="404" y="261"/>
                    <a:pt x="402" y="267"/>
                    <a:pt x="407" y="272"/>
                  </a:cubicBezTo>
                  <a:cubicBezTo>
                    <a:pt x="410" y="275"/>
                    <a:pt x="415" y="281"/>
                    <a:pt x="420" y="281"/>
                  </a:cubicBezTo>
                  <a:cubicBezTo>
                    <a:pt x="427" y="280"/>
                    <a:pt x="433" y="284"/>
                    <a:pt x="440" y="285"/>
                  </a:cubicBezTo>
                  <a:cubicBezTo>
                    <a:pt x="446" y="285"/>
                    <a:pt x="453" y="287"/>
                    <a:pt x="460" y="287"/>
                  </a:cubicBezTo>
                  <a:cubicBezTo>
                    <a:pt x="466" y="286"/>
                    <a:pt x="472" y="286"/>
                    <a:pt x="478" y="286"/>
                  </a:cubicBezTo>
                  <a:cubicBezTo>
                    <a:pt x="493" y="288"/>
                    <a:pt x="503" y="296"/>
                    <a:pt x="517" y="302"/>
                  </a:cubicBezTo>
                  <a:cubicBezTo>
                    <a:pt x="523" y="304"/>
                    <a:pt x="528" y="308"/>
                    <a:pt x="535" y="310"/>
                  </a:cubicBezTo>
                  <a:cubicBezTo>
                    <a:pt x="539" y="312"/>
                    <a:pt x="544" y="311"/>
                    <a:pt x="548" y="312"/>
                  </a:cubicBezTo>
                  <a:cubicBezTo>
                    <a:pt x="554" y="313"/>
                    <a:pt x="549" y="317"/>
                    <a:pt x="554" y="320"/>
                  </a:cubicBezTo>
                  <a:cubicBezTo>
                    <a:pt x="560" y="323"/>
                    <a:pt x="563" y="324"/>
                    <a:pt x="567" y="330"/>
                  </a:cubicBezTo>
                  <a:cubicBezTo>
                    <a:pt x="570" y="335"/>
                    <a:pt x="574" y="340"/>
                    <a:pt x="577" y="345"/>
                  </a:cubicBezTo>
                  <a:cubicBezTo>
                    <a:pt x="582" y="350"/>
                    <a:pt x="588" y="352"/>
                    <a:pt x="593" y="357"/>
                  </a:cubicBezTo>
                  <a:cubicBezTo>
                    <a:pt x="597" y="360"/>
                    <a:pt x="598" y="364"/>
                    <a:pt x="603" y="365"/>
                  </a:cubicBezTo>
                  <a:cubicBezTo>
                    <a:pt x="610" y="366"/>
                    <a:pt x="616" y="363"/>
                    <a:pt x="622" y="363"/>
                  </a:cubicBezTo>
                  <a:cubicBezTo>
                    <a:pt x="636" y="361"/>
                    <a:pt x="651" y="368"/>
                    <a:pt x="664" y="369"/>
                  </a:cubicBezTo>
                  <a:cubicBezTo>
                    <a:pt x="672" y="369"/>
                    <a:pt x="679" y="370"/>
                    <a:pt x="686" y="370"/>
                  </a:cubicBezTo>
                  <a:cubicBezTo>
                    <a:pt x="693" y="370"/>
                    <a:pt x="699" y="366"/>
                    <a:pt x="706" y="367"/>
                  </a:cubicBezTo>
                  <a:cubicBezTo>
                    <a:pt x="714" y="368"/>
                    <a:pt x="722" y="369"/>
                    <a:pt x="729" y="370"/>
                  </a:cubicBezTo>
                  <a:cubicBezTo>
                    <a:pt x="736" y="371"/>
                    <a:pt x="743" y="370"/>
                    <a:pt x="749" y="372"/>
                  </a:cubicBezTo>
                  <a:cubicBezTo>
                    <a:pt x="755" y="374"/>
                    <a:pt x="759" y="380"/>
                    <a:pt x="764" y="382"/>
                  </a:cubicBezTo>
                  <a:cubicBezTo>
                    <a:pt x="772" y="387"/>
                    <a:pt x="783" y="386"/>
                    <a:pt x="791" y="388"/>
                  </a:cubicBezTo>
                  <a:cubicBezTo>
                    <a:pt x="805" y="391"/>
                    <a:pt x="817" y="399"/>
                    <a:pt x="830" y="396"/>
                  </a:cubicBezTo>
                  <a:cubicBezTo>
                    <a:pt x="837" y="394"/>
                    <a:pt x="837" y="395"/>
                    <a:pt x="841" y="399"/>
                  </a:cubicBezTo>
                  <a:cubicBezTo>
                    <a:pt x="845" y="404"/>
                    <a:pt x="852" y="399"/>
                    <a:pt x="856" y="403"/>
                  </a:cubicBezTo>
                  <a:cubicBezTo>
                    <a:pt x="855" y="402"/>
                    <a:pt x="886" y="384"/>
                    <a:pt x="889" y="383"/>
                  </a:cubicBezTo>
                  <a:cubicBezTo>
                    <a:pt x="895" y="380"/>
                    <a:pt x="903" y="378"/>
                    <a:pt x="910" y="377"/>
                  </a:cubicBezTo>
                  <a:cubicBezTo>
                    <a:pt x="918" y="376"/>
                    <a:pt x="926" y="374"/>
                    <a:pt x="934" y="374"/>
                  </a:cubicBezTo>
                  <a:cubicBezTo>
                    <a:pt x="946" y="374"/>
                    <a:pt x="960" y="378"/>
                    <a:pt x="971" y="372"/>
                  </a:cubicBezTo>
                  <a:cubicBezTo>
                    <a:pt x="976" y="369"/>
                    <a:pt x="985" y="368"/>
                    <a:pt x="989" y="363"/>
                  </a:cubicBezTo>
                  <a:cubicBezTo>
                    <a:pt x="992" y="359"/>
                    <a:pt x="993" y="353"/>
                    <a:pt x="995" y="348"/>
                  </a:cubicBezTo>
                  <a:cubicBezTo>
                    <a:pt x="998" y="343"/>
                    <a:pt x="1002" y="342"/>
                    <a:pt x="1007" y="339"/>
                  </a:cubicBezTo>
                  <a:cubicBezTo>
                    <a:pt x="1009" y="338"/>
                    <a:pt x="1011" y="336"/>
                    <a:pt x="1012" y="334"/>
                  </a:cubicBezTo>
                  <a:cubicBezTo>
                    <a:pt x="1013" y="332"/>
                    <a:pt x="1016" y="333"/>
                    <a:pt x="1016" y="332"/>
                  </a:cubicBezTo>
                  <a:cubicBezTo>
                    <a:pt x="1018" y="324"/>
                    <a:pt x="996" y="316"/>
                    <a:pt x="993" y="310"/>
                  </a:cubicBezTo>
                  <a:cubicBezTo>
                    <a:pt x="989" y="304"/>
                    <a:pt x="987" y="287"/>
                    <a:pt x="996" y="285"/>
                  </a:cubicBezTo>
                  <a:cubicBezTo>
                    <a:pt x="1008" y="283"/>
                    <a:pt x="1022" y="293"/>
                    <a:pt x="1034" y="295"/>
                  </a:cubicBezTo>
                  <a:cubicBezTo>
                    <a:pt x="1036" y="295"/>
                    <a:pt x="1043" y="297"/>
                    <a:pt x="1046" y="295"/>
                  </a:cubicBezTo>
                  <a:cubicBezTo>
                    <a:pt x="1049" y="292"/>
                    <a:pt x="1054" y="289"/>
                    <a:pt x="1056" y="285"/>
                  </a:cubicBezTo>
                  <a:cubicBezTo>
                    <a:pt x="1058" y="281"/>
                    <a:pt x="1059" y="277"/>
                    <a:pt x="1062" y="274"/>
                  </a:cubicBezTo>
                  <a:cubicBezTo>
                    <a:pt x="1064" y="271"/>
                    <a:pt x="1073" y="273"/>
                    <a:pt x="1076" y="274"/>
                  </a:cubicBezTo>
                  <a:cubicBezTo>
                    <a:pt x="1085" y="274"/>
                    <a:pt x="1094" y="270"/>
                    <a:pt x="1099" y="262"/>
                  </a:cubicBezTo>
                  <a:cubicBezTo>
                    <a:pt x="1101" y="259"/>
                    <a:pt x="1095" y="253"/>
                    <a:pt x="1098" y="248"/>
                  </a:cubicBezTo>
                  <a:cubicBezTo>
                    <a:pt x="1101" y="242"/>
                    <a:pt x="1104" y="241"/>
                    <a:pt x="1110" y="241"/>
                  </a:cubicBezTo>
                  <a:cubicBezTo>
                    <a:pt x="1114" y="241"/>
                    <a:pt x="1118" y="243"/>
                    <a:pt x="1117" y="236"/>
                  </a:cubicBezTo>
                  <a:cubicBezTo>
                    <a:pt x="1116" y="232"/>
                    <a:pt x="1123" y="235"/>
                    <a:pt x="1125" y="235"/>
                  </a:cubicBezTo>
                  <a:cubicBezTo>
                    <a:pt x="1127" y="236"/>
                    <a:pt x="1134" y="231"/>
                    <a:pt x="1137" y="230"/>
                  </a:cubicBezTo>
                  <a:cubicBezTo>
                    <a:pt x="1140" y="229"/>
                    <a:pt x="1142" y="230"/>
                    <a:pt x="1145" y="230"/>
                  </a:cubicBezTo>
                  <a:cubicBezTo>
                    <a:pt x="1146" y="230"/>
                    <a:pt x="1148" y="230"/>
                    <a:pt x="1150" y="230"/>
                  </a:cubicBezTo>
                  <a:cubicBezTo>
                    <a:pt x="1150" y="229"/>
                    <a:pt x="1151" y="228"/>
                    <a:pt x="1152" y="227"/>
                  </a:cubicBezTo>
                  <a:cubicBezTo>
                    <a:pt x="1154" y="227"/>
                    <a:pt x="1158" y="230"/>
                    <a:pt x="1160" y="230"/>
                  </a:cubicBezTo>
                  <a:cubicBezTo>
                    <a:pt x="1165" y="231"/>
                    <a:pt x="1169" y="232"/>
                    <a:pt x="1173" y="232"/>
                  </a:cubicBezTo>
                  <a:cubicBezTo>
                    <a:pt x="1189" y="233"/>
                    <a:pt x="1175" y="220"/>
                    <a:pt x="1169" y="215"/>
                  </a:cubicBezTo>
                  <a:cubicBezTo>
                    <a:pt x="1154" y="204"/>
                    <a:pt x="1138" y="195"/>
                    <a:pt x="1121" y="188"/>
                  </a:cubicBezTo>
                  <a:cubicBezTo>
                    <a:pt x="1114" y="184"/>
                    <a:pt x="1103" y="182"/>
                    <a:pt x="1098" y="190"/>
                  </a:cubicBezTo>
                  <a:cubicBezTo>
                    <a:pt x="1092" y="201"/>
                    <a:pt x="1084" y="190"/>
                    <a:pt x="1074" y="190"/>
                  </a:cubicBezTo>
                  <a:cubicBezTo>
                    <a:pt x="1071" y="190"/>
                    <a:pt x="1063" y="189"/>
                    <a:pt x="1061" y="191"/>
                  </a:cubicBezTo>
                  <a:cubicBezTo>
                    <a:pt x="1057" y="192"/>
                    <a:pt x="1057" y="197"/>
                    <a:pt x="1051" y="194"/>
                  </a:cubicBezTo>
                  <a:cubicBezTo>
                    <a:pt x="1048" y="192"/>
                    <a:pt x="1035" y="186"/>
                    <a:pt x="1039" y="180"/>
                  </a:cubicBezTo>
                  <a:cubicBezTo>
                    <a:pt x="1040" y="177"/>
                    <a:pt x="1043" y="177"/>
                    <a:pt x="1040" y="174"/>
                  </a:cubicBezTo>
                  <a:cubicBezTo>
                    <a:pt x="1038" y="170"/>
                    <a:pt x="1038" y="167"/>
                    <a:pt x="1038" y="163"/>
                  </a:cubicBezTo>
                  <a:cubicBezTo>
                    <a:pt x="1038" y="150"/>
                    <a:pt x="1037" y="137"/>
                    <a:pt x="1036" y="124"/>
                  </a:cubicBezTo>
                  <a:cubicBezTo>
                    <a:pt x="1045" y="129"/>
                    <a:pt x="1056" y="129"/>
                    <a:pt x="1065" y="133"/>
                  </a:cubicBezTo>
                  <a:cubicBezTo>
                    <a:pt x="1075" y="137"/>
                    <a:pt x="1077" y="128"/>
                    <a:pt x="1083" y="122"/>
                  </a:cubicBezTo>
                  <a:cubicBezTo>
                    <a:pt x="1088" y="118"/>
                    <a:pt x="1100" y="122"/>
                    <a:pt x="1099" y="113"/>
                  </a:cubicBezTo>
                  <a:cubicBezTo>
                    <a:pt x="1099" y="109"/>
                    <a:pt x="1096" y="108"/>
                    <a:pt x="1092" y="107"/>
                  </a:cubicBezTo>
                  <a:cubicBezTo>
                    <a:pt x="1089" y="106"/>
                    <a:pt x="1090" y="102"/>
                    <a:pt x="1090" y="100"/>
                  </a:cubicBezTo>
                  <a:cubicBezTo>
                    <a:pt x="1089" y="97"/>
                    <a:pt x="1092" y="95"/>
                    <a:pt x="1090" y="91"/>
                  </a:cubicBezTo>
                  <a:cubicBezTo>
                    <a:pt x="1089" y="90"/>
                    <a:pt x="1089" y="88"/>
                    <a:pt x="1090" y="86"/>
                  </a:cubicBezTo>
                  <a:cubicBezTo>
                    <a:pt x="1091" y="82"/>
                    <a:pt x="1089" y="80"/>
                    <a:pt x="1089" y="77"/>
                  </a:cubicBezTo>
                  <a:cubicBezTo>
                    <a:pt x="1089" y="69"/>
                    <a:pt x="1086" y="63"/>
                    <a:pt x="1094" y="57"/>
                  </a:cubicBezTo>
                  <a:cubicBezTo>
                    <a:pt x="1102" y="51"/>
                    <a:pt x="1089" y="44"/>
                    <a:pt x="1086" y="38"/>
                  </a:cubicBezTo>
                  <a:cubicBezTo>
                    <a:pt x="1084" y="33"/>
                    <a:pt x="1077" y="30"/>
                    <a:pt x="1072" y="32"/>
                  </a:cubicBezTo>
                  <a:cubicBezTo>
                    <a:pt x="1067" y="34"/>
                    <a:pt x="1064" y="30"/>
                    <a:pt x="1061" y="27"/>
                  </a:cubicBezTo>
                  <a:cubicBezTo>
                    <a:pt x="1069" y="24"/>
                    <a:pt x="1068" y="11"/>
                    <a:pt x="1077" y="10"/>
                  </a:cubicBezTo>
                  <a:cubicBezTo>
                    <a:pt x="1089" y="7"/>
                    <a:pt x="1099" y="3"/>
                    <a:pt x="1111" y="4"/>
                  </a:cubicBezTo>
                  <a:cubicBezTo>
                    <a:pt x="1123" y="4"/>
                    <a:pt x="1133" y="0"/>
                    <a:pt x="1145" y="3"/>
                  </a:cubicBezTo>
                  <a:cubicBezTo>
                    <a:pt x="1150" y="5"/>
                    <a:pt x="1155" y="7"/>
                    <a:pt x="1160" y="9"/>
                  </a:cubicBezTo>
                  <a:cubicBezTo>
                    <a:pt x="1166" y="12"/>
                    <a:pt x="1174" y="12"/>
                    <a:pt x="1180" y="16"/>
                  </a:cubicBezTo>
                  <a:cubicBezTo>
                    <a:pt x="1180" y="9"/>
                    <a:pt x="1201" y="17"/>
                    <a:pt x="1203" y="20"/>
                  </a:cubicBezTo>
                  <a:cubicBezTo>
                    <a:pt x="1204" y="22"/>
                    <a:pt x="1214" y="25"/>
                    <a:pt x="1217" y="27"/>
                  </a:cubicBezTo>
                  <a:cubicBezTo>
                    <a:pt x="1219" y="28"/>
                    <a:pt x="1218" y="31"/>
                    <a:pt x="1220" y="32"/>
                  </a:cubicBezTo>
                  <a:cubicBezTo>
                    <a:pt x="1223" y="34"/>
                    <a:pt x="1227" y="34"/>
                    <a:pt x="1229" y="37"/>
                  </a:cubicBezTo>
                  <a:cubicBezTo>
                    <a:pt x="1233" y="39"/>
                    <a:pt x="1238" y="41"/>
                    <a:pt x="1240" y="45"/>
                  </a:cubicBezTo>
                  <a:cubicBezTo>
                    <a:pt x="1241" y="47"/>
                    <a:pt x="1247" y="46"/>
                    <a:pt x="1247" y="50"/>
                  </a:cubicBezTo>
                  <a:cubicBezTo>
                    <a:pt x="1247" y="55"/>
                    <a:pt x="1253" y="58"/>
                    <a:pt x="1257" y="61"/>
                  </a:cubicBezTo>
                  <a:cubicBezTo>
                    <a:pt x="1261" y="63"/>
                    <a:pt x="1265" y="70"/>
                    <a:pt x="1269" y="71"/>
                  </a:cubicBezTo>
                  <a:cubicBezTo>
                    <a:pt x="1275" y="73"/>
                    <a:pt x="1277" y="80"/>
                    <a:pt x="1281" y="84"/>
                  </a:cubicBezTo>
                  <a:cubicBezTo>
                    <a:pt x="1287" y="88"/>
                    <a:pt x="1293" y="90"/>
                    <a:pt x="1298" y="95"/>
                  </a:cubicBezTo>
                  <a:cubicBezTo>
                    <a:pt x="1302" y="98"/>
                    <a:pt x="1303" y="104"/>
                    <a:pt x="1308" y="107"/>
                  </a:cubicBezTo>
                  <a:cubicBezTo>
                    <a:pt x="1312" y="111"/>
                    <a:pt x="1316" y="110"/>
                    <a:pt x="1318" y="116"/>
                  </a:cubicBezTo>
                  <a:cubicBezTo>
                    <a:pt x="1321" y="127"/>
                    <a:pt x="1339" y="135"/>
                    <a:pt x="1349" y="134"/>
                  </a:cubicBezTo>
                  <a:cubicBezTo>
                    <a:pt x="1354" y="133"/>
                    <a:pt x="1359" y="131"/>
                    <a:pt x="1363" y="133"/>
                  </a:cubicBezTo>
                  <a:cubicBezTo>
                    <a:pt x="1369" y="137"/>
                    <a:pt x="1376" y="138"/>
                    <a:pt x="1382" y="141"/>
                  </a:cubicBezTo>
                  <a:cubicBezTo>
                    <a:pt x="1379" y="134"/>
                    <a:pt x="1390" y="143"/>
                    <a:pt x="1393" y="143"/>
                  </a:cubicBezTo>
                  <a:cubicBezTo>
                    <a:pt x="1397" y="143"/>
                    <a:pt x="1403" y="151"/>
                    <a:pt x="1408" y="153"/>
                  </a:cubicBezTo>
                  <a:cubicBezTo>
                    <a:pt x="1415" y="157"/>
                    <a:pt x="1421" y="154"/>
                    <a:pt x="1427" y="156"/>
                  </a:cubicBezTo>
                  <a:cubicBezTo>
                    <a:pt x="1429" y="157"/>
                    <a:pt x="1428" y="163"/>
                    <a:pt x="1430" y="165"/>
                  </a:cubicBezTo>
                  <a:cubicBezTo>
                    <a:pt x="1432" y="167"/>
                    <a:pt x="1435" y="168"/>
                    <a:pt x="1437" y="170"/>
                  </a:cubicBezTo>
                  <a:cubicBezTo>
                    <a:pt x="1444" y="173"/>
                    <a:pt x="1443" y="177"/>
                    <a:pt x="1445" y="183"/>
                  </a:cubicBezTo>
                  <a:cubicBezTo>
                    <a:pt x="1447" y="187"/>
                    <a:pt x="1460" y="197"/>
                    <a:pt x="1464" y="196"/>
                  </a:cubicBezTo>
                  <a:cubicBezTo>
                    <a:pt x="1467" y="196"/>
                    <a:pt x="1469" y="195"/>
                    <a:pt x="1472" y="195"/>
                  </a:cubicBezTo>
                  <a:cubicBezTo>
                    <a:pt x="1476" y="195"/>
                    <a:pt x="1480" y="197"/>
                    <a:pt x="1484" y="197"/>
                  </a:cubicBezTo>
                  <a:cubicBezTo>
                    <a:pt x="1488" y="196"/>
                    <a:pt x="1502" y="197"/>
                    <a:pt x="1503" y="191"/>
                  </a:cubicBezTo>
                  <a:cubicBezTo>
                    <a:pt x="1503" y="186"/>
                    <a:pt x="1510" y="181"/>
                    <a:pt x="1515" y="182"/>
                  </a:cubicBezTo>
                  <a:cubicBezTo>
                    <a:pt x="1516" y="182"/>
                    <a:pt x="1521" y="184"/>
                    <a:pt x="1521" y="183"/>
                  </a:cubicBezTo>
                  <a:cubicBezTo>
                    <a:pt x="1522" y="179"/>
                    <a:pt x="1522" y="178"/>
                    <a:pt x="1525" y="177"/>
                  </a:cubicBezTo>
                  <a:cubicBezTo>
                    <a:pt x="1529" y="177"/>
                    <a:pt x="1535" y="171"/>
                    <a:pt x="1539" y="173"/>
                  </a:cubicBezTo>
                  <a:cubicBezTo>
                    <a:pt x="1541" y="174"/>
                    <a:pt x="1548" y="177"/>
                    <a:pt x="1550" y="177"/>
                  </a:cubicBezTo>
                  <a:cubicBezTo>
                    <a:pt x="1549" y="181"/>
                    <a:pt x="1550" y="184"/>
                    <a:pt x="1553" y="187"/>
                  </a:cubicBezTo>
                  <a:cubicBezTo>
                    <a:pt x="1557" y="191"/>
                    <a:pt x="1566" y="197"/>
                    <a:pt x="1562" y="204"/>
                  </a:cubicBezTo>
                  <a:cubicBezTo>
                    <a:pt x="1561" y="205"/>
                    <a:pt x="1558" y="206"/>
                    <a:pt x="1557" y="207"/>
                  </a:cubicBezTo>
                  <a:cubicBezTo>
                    <a:pt x="1554" y="210"/>
                    <a:pt x="1558" y="212"/>
                    <a:pt x="1560" y="215"/>
                  </a:cubicBezTo>
                  <a:cubicBezTo>
                    <a:pt x="1561" y="217"/>
                    <a:pt x="1560" y="219"/>
                    <a:pt x="1560" y="222"/>
                  </a:cubicBezTo>
                  <a:cubicBezTo>
                    <a:pt x="1561" y="226"/>
                    <a:pt x="1565" y="229"/>
                    <a:pt x="1565" y="233"/>
                  </a:cubicBezTo>
                  <a:cubicBezTo>
                    <a:pt x="1564" y="238"/>
                    <a:pt x="1574" y="245"/>
                    <a:pt x="1567" y="249"/>
                  </a:cubicBezTo>
                  <a:cubicBezTo>
                    <a:pt x="1572" y="252"/>
                    <a:pt x="1567" y="253"/>
                    <a:pt x="1568" y="258"/>
                  </a:cubicBezTo>
                  <a:cubicBezTo>
                    <a:pt x="1568" y="261"/>
                    <a:pt x="1572" y="264"/>
                    <a:pt x="1571" y="267"/>
                  </a:cubicBezTo>
                  <a:cubicBezTo>
                    <a:pt x="1570" y="272"/>
                    <a:pt x="1565" y="270"/>
                    <a:pt x="1568" y="277"/>
                  </a:cubicBezTo>
                  <a:cubicBezTo>
                    <a:pt x="1569" y="279"/>
                    <a:pt x="1571" y="281"/>
                    <a:pt x="1571" y="284"/>
                  </a:cubicBezTo>
                  <a:cubicBezTo>
                    <a:pt x="1572" y="288"/>
                    <a:pt x="1549" y="282"/>
                    <a:pt x="1545" y="281"/>
                  </a:cubicBezTo>
                  <a:cubicBezTo>
                    <a:pt x="1544" y="280"/>
                    <a:pt x="1534" y="276"/>
                    <a:pt x="1534" y="278"/>
                  </a:cubicBezTo>
                  <a:cubicBezTo>
                    <a:pt x="1532" y="281"/>
                    <a:pt x="1532" y="286"/>
                    <a:pt x="1529" y="288"/>
                  </a:cubicBezTo>
                  <a:cubicBezTo>
                    <a:pt x="1527" y="289"/>
                    <a:pt x="1521" y="290"/>
                    <a:pt x="1520" y="292"/>
                  </a:cubicBezTo>
                  <a:cubicBezTo>
                    <a:pt x="1518" y="293"/>
                    <a:pt x="1526" y="298"/>
                    <a:pt x="1527" y="299"/>
                  </a:cubicBezTo>
                  <a:cubicBezTo>
                    <a:pt x="1535" y="308"/>
                    <a:pt x="1541" y="318"/>
                    <a:pt x="1547" y="329"/>
                  </a:cubicBezTo>
                  <a:cubicBezTo>
                    <a:pt x="1551" y="338"/>
                    <a:pt x="1560" y="344"/>
                    <a:pt x="1559" y="354"/>
                  </a:cubicBezTo>
                  <a:cubicBezTo>
                    <a:pt x="1559" y="359"/>
                    <a:pt x="1562" y="358"/>
                    <a:pt x="1556" y="360"/>
                  </a:cubicBezTo>
                  <a:cubicBezTo>
                    <a:pt x="1552" y="362"/>
                    <a:pt x="1548" y="361"/>
                    <a:pt x="1545" y="366"/>
                  </a:cubicBezTo>
                  <a:cubicBezTo>
                    <a:pt x="1552" y="368"/>
                    <a:pt x="1551" y="371"/>
                    <a:pt x="1556" y="375"/>
                  </a:cubicBezTo>
                  <a:cubicBezTo>
                    <a:pt x="1551" y="371"/>
                    <a:pt x="1543" y="369"/>
                    <a:pt x="1539" y="363"/>
                  </a:cubicBezTo>
                  <a:cubicBezTo>
                    <a:pt x="1535" y="358"/>
                    <a:pt x="1531" y="357"/>
                    <a:pt x="1525" y="357"/>
                  </a:cubicBezTo>
                  <a:cubicBezTo>
                    <a:pt x="1526" y="361"/>
                    <a:pt x="1532" y="371"/>
                    <a:pt x="1530" y="375"/>
                  </a:cubicBezTo>
                  <a:cubicBezTo>
                    <a:pt x="1528" y="377"/>
                    <a:pt x="1522" y="375"/>
                    <a:pt x="1520" y="377"/>
                  </a:cubicBezTo>
                  <a:cubicBezTo>
                    <a:pt x="1516" y="380"/>
                    <a:pt x="1523" y="386"/>
                    <a:pt x="1515" y="388"/>
                  </a:cubicBezTo>
                  <a:cubicBezTo>
                    <a:pt x="1508" y="390"/>
                    <a:pt x="1500" y="388"/>
                    <a:pt x="1493" y="390"/>
                  </a:cubicBezTo>
                  <a:cubicBezTo>
                    <a:pt x="1497" y="395"/>
                    <a:pt x="1509" y="402"/>
                    <a:pt x="1507" y="409"/>
                  </a:cubicBezTo>
                  <a:cubicBezTo>
                    <a:pt x="1506" y="412"/>
                    <a:pt x="1491" y="410"/>
                    <a:pt x="1488" y="409"/>
                  </a:cubicBezTo>
                  <a:cubicBezTo>
                    <a:pt x="1484" y="409"/>
                    <a:pt x="1480" y="408"/>
                    <a:pt x="1477" y="406"/>
                  </a:cubicBezTo>
                  <a:cubicBezTo>
                    <a:pt x="1473" y="404"/>
                    <a:pt x="1470" y="397"/>
                    <a:pt x="1465" y="398"/>
                  </a:cubicBezTo>
                  <a:cubicBezTo>
                    <a:pt x="1462" y="398"/>
                    <a:pt x="1462" y="401"/>
                    <a:pt x="1459" y="401"/>
                  </a:cubicBezTo>
                  <a:cubicBezTo>
                    <a:pt x="1459" y="408"/>
                    <a:pt x="1460" y="411"/>
                    <a:pt x="1457" y="418"/>
                  </a:cubicBezTo>
                  <a:cubicBezTo>
                    <a:pt x="1456" y="420"/>
                    <a:pt x="1456" y="425"/>
                    <a:pt x="1453" y="427"/>
                  </a:cubicBezTo>
                  <a:cubicBezTo>
                    <a:pt x="1452" y="428"/>
                    <a:pt x="1446" y="428"/>
                    <a:pt x="1446" y="430"/>
                  </a:cubicBezTo>
                  <a:cubicBezTo>
                    <a:pt x="1447" y="433"/>
                    <a:pt x="1444" y="433"/>
                    <a:pt x="1443" y="435"/>
                  </a:cubicBezTo>
                  <a:cubicBezTo>
                    <a:pt x="1442" y="436"/>
                    <a:pt x="1440" y="437"/>
                    <a:pt x="1438" y="437"/>
                  </a:cubicBezTo>
                  <a:cubicBezTo>
                    <a:pt x="1436" y="438"/>
                    <a:pt x="1434" y="443"/>
                    <a:pt x="1433" y="443"/>
                  </a:cubicBezTo>
                  <a:cubicBezTo>
                    <a:pt x="1427" y="445"/>
                    <a:pt x="1422" y="452"/>
                    <a:pt x="1422" y="459"/>
                  </a:cubicBezTo>
                  <a:cubicBezTo>
                    <a:pt x="1422" y="467"/>
                    <a:pt x="1410" y="467"/>
                    <a:pt x="1405" y="462"/>
                  </a:cubicBezTo>
                  <a:cubicBezTo>
                    <a:pt x="1406" y="467"/>
                    <a:pt x="1400" y="466"/>
                    <a:pt x="1397" y="466"/>
                  </a:cubicBezTo>
                  <a:cubicBezTo>
                    <a:pt x="1398" y="469"/>
                    <a:pt x="1395" y="470"/>
                    <a:pt x="1393" y="470"/>
                  </a:cubicBezTo>
                  <a:cubicBezTo>
                    <a:pt x="1388" y="471"/>
                    <a:pt x="1384" y="475"/>
                    <a:pt x="1380" y="478"/>
                  </a:cubicBezTo>
                  <a:cubicBezTo>
                    <a:pt x="1377" y="481"/>
                    <a:pt x="1374" y="482"/>
                    <a:pt x="1373" y="487"/>
                  </a:cubicBezTo>
                  <a:cubicBezTo>
                    <a:pt x="1373" y="491"/>
                    <a:pt x="1369" y="491"/>
                    <a:pt x="1370" y="495"/>
                  </a:cubicBezTo>
                  <a:cubicBezTo>
                    <a:pt x="1368" y="493"/>
                    <a:pt x="1366" y="493"/>
                    <a:pt x="1363" y="493"/>
                  </a:cubicBezTo>
                  <a:cubicBezTo>
                    <a:pt x="1367" y="497"/>
                    <a:pt x="1353" y="507"/>
                    <a:pt x="1350" y="497"/>
                  </a:cubicBezTo>
                  <a:cubicBezTo>
                    <a:pt x="1349" y="492"/>
                    <a:pt x="1358" y="492"/>
                    <a:pt x="1360" y="491"/>
                  </a:cubicBezTo>
                  <a:cubicBezTo>
                    <a:pt x="1362" y="489"/>
                    <a:pt x="1359" y="487"/>
                    <a:pt x="1359" y="485"/>
                  </a:cubicBezTo>
                  <a:cubicBezTo>
                    <a:pt x="1359" y="482"/>
                    <a:pt x="1363" y="481"/>
                    <a:pt x="1364" y="479"/>
                  </a:cubicBezTo>
                  <a:cubicBezTo>
                    <a:pt x="1355" y="483"/>
                    <a:pt x="1351" y="477"/>
                    <a:pt x="1343" y="475"/>
                  </a:cubicBezTo>
                  <a:cubicBezTo>
                    <a:pt x="1344" y="473"/>
                    <a:pt x="1346" y="472"/>
                    <a:pt x="1349" y="471"/>
                  </a:cubicBezTo>
                  <a:cubicBezTo>
                    <a:pt x="1344" y="464"/>
                    <a:pt x="1347" y="465"/>
                    <a:pt x="1353" y="459"/>
                  </a:cubicBezTo>
                  <a:cubicBezTo>
                    <a:pt x="1355" y="457"/>
                    <a:pt x="1356" y="449"/>
                    <a:pt x="1357" y="446"/>
                  </a:cubicBezTo>
                  <a:cubicBezTo>
                    <a:pt x="1358" y="433"/>
                    <a:pt x="1338" y="436"/>
                    <a:pt x="1337" y="425"/>
                  </a:cubicBezTo>
                  <a:cubicBezTo>
                    <a:pt x="1338" y="432"/>
                    <a:pt x="1330" y="429"/>
                    <a:pt x="1326" y="427"/>
                  </a:cubicBezTo>
                  <a:cubicBezTo>
                    <a:pt x="1322" y="426"/>
                    <a:pt x="1311" y="431"/>
                    <a:pt x="1319" y="434"/>
                  </a:cubicBezTo>
                  <a:cubicBezTo>
                    <a:pt x="1313" y="435"/>
                    <a:pt x="1309" y="444"/>
                    <a:pt x="1310" y="449"/>
                  </a:cubicBezTo>
                  <a:cubicBezTo>
                    <a:pt x="1310" y="454"/>
                    <a:pt x="1297" y="459"/>
                    <a:pt x="1294" y="461"/>
                  </a:cubicBezTo>
                  <a:cubicBezTo>
                    <a:pt x="1291" y="463"/>
                    <a:pt x="1289" y="464"/>
                    <a:pt x="1287" y="467"/>
                  </a:cubicBezTo>
                  <a:cubicBezTo>
                    <a:pt x="1284" y="473"/>
                    <a:pt x="1290" y="475"/>
                    <a:pt x="1288" y="479"/>
                  </a:cubicBezTo>
                  <a:cubicBezTo>
                    <a:pt x="1285" y="489"/>
                    <a:pt x="1277" y="486"/>
                    <a:pt x="1270" y="490"/>
                  </a:cubicBezTo>
                  <a:cubicBezTo>
                    <a:pt x="1265" y="493"/>
                    <a:pt x="1260" y="485"/>
                    <a:pt x="1254" y="486"/>
                  </a:cubicBezTo>
                  <a:cubicBezTo>
                    <a:pt x="1247" y="488"/>
                    <a:pt x="1250" y="501"/>
                    <a:pt x="1252" y="505"/>
                  </a:cubicBezTo>
                  <a:cubicBezTo>
                    <a:pt x="1255" y="514"/>
                    <a:pt x="1265" y="517"/>
                    <a:pt x="1272" y="522"/>
                  </a:cubicBezTo>
                  <a:cubicBezTo>
                    <a:pt x="1274" y="523"/>
                    <a:pt x="1279" y="524"/>
                    <a:pt x="1282" y="523"/>
                  </a:cubicBezTo>
                  <a:cubicBezTo>
                    <a:pt x="1286" y="521"/>
                    <a:pt x="1287" y="527"/>
                    <a:pt x="1290" y="528"/>
                  </a:cubicBezTo>
                  <a:cubicBezTo>
                    <a:pt x="1291" y="526"/>
                    <a:pt x="1291" y="524"/>
                    <a:pt x="1290" y="522"/>
                  </a:cubicBezTo>
                  <a:cubicBezTo>
                    <a:pt x="1296" y="522"/>
                    <a:pt x="1304" y="528"/>
                    <a:pt x="1307" y="533"/>
                  </a:cubicBezTo>
                  <a:cubicBezTo>
                    <a:pt x="1311" y="540"/>
                    <a:pt x="1305" y="547"/>
                    <a:pt x="1313" y="553"/>
                  </a:cubicBezTo>
                  <a:cubicBezTo>
                    <a:pt x="1318" y="557"/>
                    <a:pt x="1325" y="558"/>
                    <a:pt x="1331" y="557"/>
                  </a:cubicBezTo>
                  <a:cubicBezTo>
                    <a:pt x="1335" y="556"/>
                    <a:pt x="1341" y="554"/>
                    <a:pt x="1336" y="549"/>
                  </a:cubicBezTo>
                  <a:cubicBezTo>
                    <a:pt x="1338" y="548"/>
                    <a:pt x="1350" y="538"/>
                    <a:pt x="1341" y="538"/>
                  </a:cubicBezTo>
                  <a:cubicBezTo>
                    <a:pt x="1346" y="539"/>
                    <a:pt x="1351" y="535"/>
                    <a:pt x="1355" y="534"/>
                  </a:cubicBezTo>
                  <a:cubicBezTo>
                    <a:pt x="1359" y="532"/>
                    <a:pt x="1366" y="537"/>
                    <a:pt x="1368" y="540"/>
                  </a:cubicBezTo>
                  <a:cubicBezTo>
                    <a:pt x="1370" y="542"/>
                    <a:pt x="1372" y="542"/>
                    <a:pt x="1375" y="541"/>
                  </a:cubicBezTo>
                  <a:cubicBezTo>
                    <a:pt x="1377" y="541"/>
                    <a:pt x="1379" y="544"/>
                    <a:pt x="1380" y="545"/>
                  </a:cubicBezTo>
                  <a:cubicBezTo>
                    <a:pt x="1384" y="549"/>
                    <a:pt x="1390" y="543"/>
                    <a:pt x="1395" y="547"/>
                  </a:cubicBezTo>
                  <a:cubicBezTo>
                    <a:pt x="1395" y="546"/>
                    <a:pt x="1395" y="545"/>
                    <a:pt x="1396" y="544"/>
                  </a:cubicBezTo>
                  <a:cubicBezTo>
                    <a:pt x="1402" y="548"/>
                    <a:pt x="1410" y="545"/>
                    <a:pt x="1416" y="549"/>
                  </a:cubicBezTo>
                  <a:cubicBezTo>
                    <a:pt x="1415" y="550"/>
                    <a:pt x="1414" y="550"/>
                    <a:pt x="1413" y="551"/>
                  </a:cubicBezTo>
                  <a:cubicBezTo>
                    <a:pt x="1419" y="556"/>
                    <a:pt x="1410" y="557"/>
                    <a:pt x="1416" y="562"/>
                  </a:cubicBezTo>
                  <a:cubicBezTo>
                    <a:pt x="1418" y="563"/>
                    <a:pt x="1418" y="566"/>
                    <a:pt x="1415" y="567"/>
                  </a:cubicBezTo>
                  <a:cubicBezTo>
                    <a:pt x="1409" y="569"/>
                    <a:pt x="1409" y="565"/>
                    <a:pt x="1407" y="561"/>
                  </a:cubicBezTo>
                  <a:cubicBezTo>
                    <a:pt x="1406" y="563"/>
                    <a:pt x="1405" y="564"/>
                    <a:pt x="1404" y="566"/>
                  </a:cubicBezTo>
                  <a:cubicBezTo>
                    <a:pt x="1404" y="561"/>
                    <a:pt x="1401" y="563"/>
                    <a:pt x="1399" y="565"/>
                  </a:cubicBezTo>
                  <a:cubicBezTo>
                    <a:pt x="1397" y="566"/>
                    <a:pt x="1387" y="573"/>
                    <a:pt x="1393" y="567"/>
                  </a:cubicBezTo>
                  <a:cubicBezTo>
                    <a:pt x="1390" y="569"/>
                    <a:pt x="1384" y="575"/>
                    <a:pt x="1380" y="576"/>
                  </a:cubicBezTo>
                  <a:cubicBezTo>
                    <a:pt x="1377" y="576"/>
                    <a:pt x="1371" y="573"/>
                    <a:pt x="1373" y="578"/>
                  </a:cubicBezTo>
                  <a:cubicBezTo>
                    <a:pt x="1377" y="574"/>
                    <a:pt x="1381" y="580"/>
                    <a:pt x="1378" y="584"/>
                  </a:cubicBezTo>
                  <a:cubicBezTo>
                    <a:pt x="1377" y="581"/>
                    <a:pt x="1373" y="580"/>
                    <a:pt x="1373" y="584"/>
                  </a:cubicBezTo>
                  <a:cubicBezTo>
                    <a:pt x="1372" y="587"/>
                    <a:pt x="1375" y="589"/>
                    <a:pt x="1375" y="592"/>
                  </a:cubicBezTo>
                  <a:cubicBezTo>
                    <a:pt x="1375" y="593"/>
                    <a:pt x="1370" y="595"/>
                    <a:pt x="1369" y="595"/>
                  </a:cubicBezTo>
                  <a:cubicBezTo>
                    <a:pt x="1365" y="594"/>
                    <a:pt x="1367" y="589"/>
                    <a:pt x="1363" y="587"/>
                  </a:cubicBezTo>
                  <a:cubicBezTo>
                    <a:pt x="1367" y="593"/>
                    <a:pt x="1362" y="588"/>
                    <a:pt x="1359" y="589"/>
                  </a:cubicBezTo>
                  <a:cubicBezTo>
                    <a:pt x="1359" y="592"/>
                    <a:pt x="1363" y="598"/>
                    <a:pt x="1367" y="598"/>
                  </a:cubicBezTo>
                  <a:cubicBezTo>
                    <a:pt x="1359" y="599"/>
                    <a:pt x="1364" y="613"/>
                    <a:pt x="1354" y="611"/>
                  </a:cubicBezTo>
                  <a:cubicBezTo>
                    <a:pt x="1354" y="615"/>
                    <a:pt x="1353" y="623"/>
                    <a:pt x="1351" y="626"/>
                  </a:cubicBezTo>
                  <a:cubicBezTo>
                    <a:pt x="1348" y="632"/>
                    <a:pt x="1351" y="636"/>
                    <a:pt x="1352" y="641"/>
                  </a:cubicBezTo>
                  <a:cubicBezTo>
                    <a:pt x="1356" y="637"/>
                    <a:pt x="1363" y="643"/>
                    <a:pt x="1366" y="645"/>
                  </a:cubicBezTo>
                  <a:cubicBezTo>
                    <a:pt x="1373" y="650"/>
                    <a:pt x="1380" y="652"/>
                    <a:pt x="1388" y="655"/>
                  </a:cubicBezTo>
                  <a:cubicBezTo>
                    <a:pt x="1393" y="658"/>
                    <a:pt x="1395" y="666"/>
                    <a:pt x="1399" y="671"/>
                  </a:cubicBezTo>
                  <a:cubicBezTo>
                    <a:pt x="1404" y="678"/>
                    <a:pt x="1409" y="687"/>
                    <a:pt x="1415" y="693"/>
                  </a:cubicBezTo>
                  <a:cubicBezTo>
                    <a:pt x="1420" y="697"/>
                    <a:pt x="1424" y="703"/>
                    <a:pt x="1425" y="709"/>
                  </a:cubicBezTo>
                  <a:cubicBezTo>
                    <a:pt x="1425" y="716"/>
                    <a:pt x="1436" y="717"/>
                    <a:pt x="1442" y="720"/>
                  </a:cubicBezTo>
                  <a:cubicBezTo>
                    <a:pt x="1446" y="722"/>
                    <a:pt x="1444" y="724"/>
                    <a:pt x="1446" y="728"/>
                  </a:cubicBezTo>
                  <a:cubicBezTo>
                    <a:pt x="1448" y="731"/>
                    <a:pt x="1451" y="731"/>
                    <a:pt x="1454" y="732"/>
                  </a:cubicBezTo>
                  <a:cubicBezTo>
                    <a:pt x="1458" y="734"/>
                    <a:pt x="1468" y="739"/>
                    <a:pt x="1465" y="745"/>
                  </a:cubicBezTo>
                  <a:cubicBezTo>
                    <a:pt x="1459" y="744"/>
                    <a:pt x="1452" y="737"/>
                    <a:pt x="1445" y="739"/>
                  </a:cubicBezTo>
                  <a:cubicBezTo>
                    <a:pt x="1436" y="742"/>
                    <a:pt x="1436" y="735"/>
                    <a:pt x="1428" y="733"/>
                  </a:cubicBezTo>
                  <a:cubicBezTo>
                    <a:pt x="1420" y="730"/>
                    <a:pt x="1417" y="740"/>
                    <a:pt x="1410" y="736"/>
                  </a:cubicBezTo>
                  <a:cubicBezTo>
                    <a:pt x="1407" y="734"/>
                    <a:pt x="1405" y="731"/>
                    <a:pt x="1403" y="728"/>
                  </a:cubicBezTo>
                  <a:cubicBezTo>
                    <a:pt x="1401" y="725"/>
                    <a:pt x="1397" y="725"/>
                    <a:pt x="1393" y="723"/>
                  </a:cubicBezTo>
                  <a:cubicBezTo>
                    <a:pt x="1395" y="724"/>
                    <a:pt x="1396" y="726"/>
                    <a:pt x="1395" y="728"/>
                  </a:cubicBezTo>
                  <a:cubicBezTo>
                    <a:pt x="1396" y="727"/>
                    <a:pt x="1398" y="726"/>
                    <a:pt x="1400" y="728"/>
                  </a:cubicBezTo>
                  <a:cubicBezTo>
                    <a:pt x="1399" y="727"/>
                    <a:pt x="1398" y="726"/>
                    <a:pt x="1397" y="726"/>
                  </a:cubicBezTo>
                  <a:cubicBezTo>
                    <a:pt x="1400" y="724"/>
                    <a:pt x="1407" y="733"/>
                    <a:pt x="1401" y="730"/>
                  </a:cubicBezTo>
                  <a:cubicBezTo>
                    <a:pt x="1405" y="734"/>
                    <a:pt x="1411" y="741"/>
                    <a:pt x="1417" y="738"/>
                  </a:cubicBezTo>
                  <a:cubicBezTo>
                    <a:pt x="1420" y="736"/>
                    <a:pt x="1420" y="734"/>
                    <a:pt x="1423" y="734"/>
                  </a:cubicBezTo>
                  <a:cubicBezTo>
                    <a:pt x="1426" y="734"/>
                    <a:pt x="1430" y="735"/>
                    <a:pt x="1431" y="738"/>
                  </a:cubicBezTo>
                  <a:cubicBezTo>
                    <a:pt x="1433" y="739"/>
                    <a:pt x="1431" y="741"/>
                    <a:pt x="1433" y="742"/>
                  </a:cubicBezTo>
                  <a:cubicBezTo>
                    <a:pt x="1436" y="744"/>
                    <a:pt x="1440" y="744"/>
                    <a:pt x="1443" y="745"/>
                  </a:cubicBezTo>
                  <a:cubicBezTo>
                    <a:pt x="1451" y="748"/>
                    <a:pt x="1457" y="755"/>
                    <a:pt x="1464" y="758"/>
                  </a:cubicBezTo>
                  <a:cubicBezTo>
                    <a:pt x="1467" y="760"/>
                    <a:pt x="1476" y="768"/>
                    <a:pt x="1475" y="773"/>
                  </a:cubicBezTo>
                  <a:cubicBezTo>
                    <a:pt x="1475" y="775"/>
                    <a:pt x="1471" y="774"/>
                    <a:pt x="1469" y="774"/>
                  </a:cubicBezTo>
                  <a:cubicBezTo>
                    <a:pt x="1464" y="775"/>
                    <a:pt x="1462" y="779"/>
                    <a:pt x="1458" y="782"/>
                  </a:cubicBezTo>
                  <a:cubicBezTo>
                    <a:pt x="1456" y="783"/>
                    <a:pt x="1453" y="784"/>
                    <a:pt x="1452" y="787"/>
                  </a:cubicBezTo>
                  <a:cubicBezTo>
                    <a:pt x="1452" y="789"/>
                    <a:pt x="1452" y="792"/>
                    <a:pt x="1450" y="792"/>
                  </a:cubicBezTo>
                  <a:cubicBezTo>
                    <a:pt x="1446" y="793"/>
                    <a:pt x="1444" y="789"/>
                    <a:pt x="1440" y="791"/>
                  </a:cubicBezTo>
                  <a:cubicBezTo>
                    <a:pt x="1437" y="792"/>
                    <a:pt x="1435" y="795"/>
                    <a:pt x="1432" y="797"/>
                  </a:cubicBezTo>
                  <a:cubicBezTo>
                    <a:pt x="1434" y="796"/>
                    <a:pt x="1441" y="791"/>
                    <a:pt x="1443" y="792"/>
                  </a:cubicBezTo>
                  <a:cubicBezTo>
                    <a:pt x="1447" y="795"/>
                    <a:pt x="1447" y="802"/>
                    <a:pt x="1452" y="802"/>
                  </a:cubicBezTo>
                  <a:cubicBezTo>
                    <a:pt x="1451" y="801"/>
                    <a:pt x="1450" y="800"/>
                    <a:pt x="1449" y="800"/>
                  </a:cubicBezTo>
                  <a:cubicBezTo>
                    <a:pt x="1456" y="801"/>
                    <a:pt x="1460" y="793"/>
                    <a:pt x="1466" y="795"/>
                  </a:cubicBezTo>
                  <a:cubicBezTo>
                    <a:pt x="1471" y="796"/>
                    <a:pt x="1473" y="800"/>
                    <a:pt x="1476" y="803"/>
                  </a:cubicBezTo>
                  <a:cubicBezTo>
                    <a:pt x="1480" y="806"/>
                    <a:pt x="1488" y="807"/>
                    <a:pt x="1493" y="808"/>
                  </a:cubicBezTo>
                  <a:cubicBezTo>
                    <a:pt x="1490" y="810"/>
                    <a:pt x="1488" y="813"/>
                    <a:pt x="1486" y="815"/>
                  </a:cubicBezTo>
                  <a:cubicBezTo>
                    <a:pt x="1485" y="817"/>
                    <a:pt x="1484" y="818"/>
                    <a:pt x="1483" y="819"/>
                  </a:cubicBezTo>
                  <a:cubicBezTo>
                    <a:pt x="1481" y="821"/>
                    <a:pt x="1479" y="820"/>
                    <a:pt x="1477" y="822"/>
                  </a:cubicBezTo>
                  <a:cubicBezTo>
                    <a:pt x="1478" y="823"/>
                    <a:pt x="1479" y="824"/>
                    <a:pt x="1479" y="825"/>
                  </a:cubicBezTo>
                  <a:cubicBezTo>
                    <a:pt x="1481" y="822"/>
                    <a:pt x="1485" y="819"/>
                    <a:pt x="1488" y="821"/>
                  </a:cubicBezTo>
                  <a:cubicBezTo>
                    <a:pt x="1486" y="820"/>
                    <a:pt x="1486" y="815"/>
                    <a:pt x="1490" y="817"/>
                  </a:cubicBezTo>
                  <a:cubicBezTo>
                    <a:pt x="1493" y="819"/>
                    <a:pt x="1490" y="822"/>
                    <a:pt x="1492" y="825"/>
                  </a:cubicBezTo>
                  <a:cubicBezTo>
                    <a:pt x="1492" y="825"/>
                    <a:pt x="1496" y="835"/>
                    <a:pt x="1492" y="832"/>
                  </a:cubicBezTo>
                  <a:cubicBezTo>
                    <a:pt x="1490" y="831"/>
                    <a:pt x="1490" y="828"/>
                    <a:pt x="1488" y="826"/>
                  </a:cubicBezTo>
                  <a:cubicBezTo>
                    <a:pt x="1489" y="828"/>
                    <a:pt x="1489" y="830"/>
                    <a:pt x="1489" y="832"/>
                  </a:cubicBezTo>
                  <a:cubicBezTo>
                    <a:pt x="1487" y="832"/>
                    <a:pt x="1485" y="831"/>
                    <a:pt x="1484" y="829"/>
                  </a:cubicBezTo>
                  <a:cubicBezTo>
                    <a:pt x="1485" y="834"/>
                    <a:pt x="1484" y="831"/>
                    <a:pt x="1483" y="829"/>
                  </a:cubicBezTo>
                  <a:cubicBezTo>
                    <a:pt x="1482" y="831"/>
                    <a:pt x="1481" y="833"/>
                    <a:pt x="1480" y="835"/>
                  </a:cubicBezTo>
                  <a:cubicBezTo>
                    <a:pt x="1483" y="834"/>
                    <a:pt x="1489" y="838"/>
                    <a:pt x="1490" y="842"/>
                  </a:cubicBezTo>
                  <a:cubicBezTo>
                    <a:pt x="1488" y="840"/>
                    <a:pt x="1487" y="840"/>
                    <a:pt x="1486" y="842"/>
                  </a:cubicBezTo>
                  <a:cubicBezTo>
                    <a:pt x="1489" y="842"/>
                    <a:pt x="1492" y="846"/>
                    <a:pt x="1489" y="848"/>
                  </a:cubicBezTo>
                  <a:cubicBezTo>
                    <a:pt x="1484" y="851"/>
                    <a:pt x="1478" y="846"/>
                    <a:pt x="1475" y="844"/>
                  </a:cubicBezTo>
                  <a:cubicBezTo>
                    <a:pt x="1477" y="846"/>
                    <a:pt x="1478" y="849"/>
                    <a:pt x="1480" y="850"/>
                  </a:cubicBezTo>
                  <a:cubicBezTo>
                    <a:pt x="1483" y="851"/>
                    <a:pt x="1486" y="849"/>
                    <a:pt x="1488" y="853"/>
                  </a:cubicBezTo>
                  <a:cubicBezTo>
                    <a:pt x="1489" y="855"/>
                    <a:pt x="1494" y="860"/>
                    <a:pt x="1491" y="862"/>
                  </a:cubicBezTo>
                  <a:cubicBezTo>
                    <a:pt x="1489" y="864"/>
                    <a:pt x="1486" y="864"/>
                    <a:pt x="1487" y="868"/>
                  </a:cubicBezTo>
                  <a:cubicBezTo>
                    <a:pt x="1484" y="867"/>
                    <a:pt x="1483" y="862"/>
                    <a:pt x="1479" y="860"/>
                  </a:cubicBezTo>
                  <a:cubicBezTo>
                    <a:pt x="1478" y="862"/>
                    <a:pt x="1478" y="862"/>
                    <a:pt x="1476" y="863"/>
                  </a:cubicBezTo>
                  <a:cubicBezTo>
                    <a:pt x="1482" y="864"/>
                    <a:pt x="1474" y="881"/>
                    <a:pt x="1464" y="870"/>
                  </a:cubicBezTo>
                  <a:cubicBezTo>
                    <a:pt x="1465" y="874"/>
                    <a:pt x="1475" y="873"/>
                    <a:pt x="1474" y="878"/>
                  </a:cubicBezTo>
                  <a:cubicBezTo>
                    <a:pt x="1473" y="882"/>
                    <a:pt x="1468" y="890"/>
                    <a:pt x="1473" y="892"/>
                  </a:cubicBezTo>
                  <a:cubicBezTo>
                    <a:pt x="1471" y="894"/>
                    <a:pt x="1471" y="896"/>
                    <a:pt x="1471" y="898"/>
                  </a:cubicBezTo>
                  <a:cubicBezTo>
                    <a:pt x="1472" y="904"/>
                    <a:pt x="1467" y="898"/>
                    <a:pt x="1469" y="902"/>
                  </a:cubicBezTo>
                  <a:cubicBezTo>
                    <a:pt x="1467" y="900"/>
                    <a:pt x="1465" y="899"/>
                    <a:pt x="1463" y="897"/>
                  </a:cubicBezTo>
                  <a:cubicBezTo>
                    <a:pt x="1463" y="899"/>
                    <a:pt x="1473" y="906"/>
                    <a:pt x="1465" y="904"/>
                  </a:cubicBezTo>
                  <a:cubicBezTo>
                    <a:pt x="1466" y="908"/>
                    <a:pt x="1463" y="911"/>
                    <a:pt x="1460" y="912"/>
                  </a:cubicBezTo>
                  <a:cubicBezTo>
                    <a:pt x="1464" y="917"/>
                    <a:pt x="1466" y="925"/>
                    <a:pt x="1456" y="923"/>
                  </a:cubicBezTo>
                  <a:cubicBezTo>
                    <a:pt x="1459" y="922"/>
                    <a:pt x="1461" y="918"/>
                    <a:pt x="1459" y="915"/>
                  </a:cubicBezTo>
                  <a:cubicBezTo>
                    <a:pt x="1458" y="916"/>
                    <a:pt x="1457" y="918"/>
                    <a:pt x="1456" y="919"/>
                  </a:cubicBezTo>
                  <a:cubicBezTo>
                    <a:pt x="1454" y="918"/>
                    <a:pt x="1453" y="916"/>
                    <a:pt x="1452" y="914"/>
                  </a:cubicBezTo>
                  <a:cubicBezTo>
                    <a:pt x="1451" y="916"/>
                    <a:pt x="1449" y="917"/>
                    <a:pt x="1446" y="916"/>
                  </a:cubicBezTo>
                  <a:cubicBezTo>
                    <a:pt x="1448" y="918"/>
                    <a:pt x="1448" y="919"/>
                    <a:pt x="1448" y="922"/>
                  </a:cubicBezTo>
                  <a:cubicBezTo>
                    <a:pt x="1453" y="920"/>
                    <a:pt x="1458" y="928"/>
                    <a:pt x="1452" y="927"/>
                  </a:cubicBezTo>
                  <a:cubicBezTo>
                    <a:pt x="1452" y="931"/>
                    <a:pt x="1456" y="933"/>
                    <a:pt x="1457" y="928"/>
                  </a:cubicBezTo>
                  <a:cubicBezTo>
                    <a:pt x="1461" y="932"/>
                    <a:pt x="1457" y="932"/>
                    <a:pt x="1455" y="934"/>
                  </a:cubicBezTo>
                  <a:cubicBezTo>
                    <a:pt x="1452" y="937"/>
                    <a:pt x="1451" y="940"/>
                    <a:pt x="1450" y="943"/>
                  </a:cubicBezTo>
                  <a:cubicBezTo>
                    <a:pt x="1446" y="940"/>
                    <a:pt x="1442" y="939"/>
                    <a:pt x="1438" y="937"/>
                  </a:cubicBezTo>
                  <a:cubicBezTo>
                    <a:pt x="1441" y="939"/>
                    <a:pt x="1443" y="945"/>
                    <a:pt x="1447" y="944"/>
                  </a:cubicBezTo>
                  <a:cubicBezTo>
                    <a:pt x="1452" y="943"/>
                    <a:pt x="1453" y="939"/>
                    <a:pt x="1457" y="944"/>
                  </a:cubicBezTo>
                  <a:cubicBezTo>
                    <a:pt x="1454" y="946"/>
                    <a:pt x="1455" y="950"/>
                    <a:pt x="1454" y="954"/>
                  </a:cubicBezTo>
                  <a:cubicBezTo>
                    <a:pt x="1452" y="959"/>
                    <a:pt x="1460" y="959"/>
                    <a:pt x="1458" y="964"/>
                  </a:cubicBezTo>
                  <a:cubicBezTo>
                    <a:pt x="1458" y="960"/>
                    <a:pt x="1457" y="960"/>
                    <a:pt x="1455" y="964"/>
                  </a:cubicBezTo>
                  <a:cubicBezTo>
                    <a:pt x="1453" y="961"/>
                    <a:pt x="1451" y="959"/>
                    <a:pt x="1448" y="958"/>
                  </a:cubicBezTo>
                  <a:cubicBezTo>
                    <a:pt x="1448" y="960"/>
                    <a:pt x="1446" y="962"/>
                    <a:pt x="1444" y="963"/>
                  </a:cubicBezTo>
                  <a:cubicBezTo>
                    <a:pt x="1446" y="965"/>
                    <a:pt x="1451" y="965"/>
                    <a:pt x="1451" y="969"/>
                  </a:cubicBezTo>
                  <a:cubicBezTo>
                    <a:pt x="1449" y="974"/>
                    <a:pt x="1445" y="967"/>
                    <a:pt x="1445" y="973"/>
                  </a:cubicBezTo>
                  <a:cubicBezTo>
                    <a:pt x="1445" y="970"/>
                    <a:pt x="1442" y="965"/>
                    <a:pt x="1439" y="969"/>
                  </a:cubicBezTo>
                  <a:cubicBezTo>
                    <a:pt x="1443" y="971"/>
                    <a:pt x="1439" y="977"/>
                    <a:pt x="1444" y="977"/>
                  </a:cubicBezTo>
                  <a:cubicBezTo>
                    <a:pt x="1443" y="980"/>
                    <a:pt x="1436" y="985"/>
                    <a:pt x="1436" y="980"/>
                  </a:cubicBezTo>
                  <a:cubicBezTo>
                    <a:pt x="1433" y="982"/>
                    <a:pt x="1434" y="983"/>
                    <a:pt x="1436" y="984"/>
                  </a:cubicBezTo>
                  <a:cubicBezTo>
                    <a:pt x="1440" y="987"/>
                    <a:pt x="1437" y="992"/>
                    <a:pt x="1435" y="994"/>
                  </a:cubicBezTo>
                  <a:cubicBezTo>
                    <a:pt x="1433" y="992"/>
                    <a:pt x="1432" y="990"/>
                    <a:pt x="1430" y="988"/>
                  </a:cubicBezTo>
                  <a:cubicBezTo>
                    <a:pt x="1429" y="992"/>
                    <a:pt x="1424" y="995"/>
                    <a:pt x="1422" y="990"/>
                  </a:cubicBezTo>
                  <a:cubicBezTo>
                    <a:pt x="1420" y="993"/>
                    <a:pt x="1415" y="991"/>
                    <a:pt x="1418" y="996"/>
                  </a:cubicBezTo>
                  <a:cubicBezTo>
                    <a:pt x="1416" y="995"/>
                    <a:pt x="1413" y="995"/>
                    <a:pt x="1411" y="996"/>
                  </a:cubicBezTo>
                  <a:cubicBezTo>
                    <a:pt x="1413" y="998"/>
                    <a:pt x="1416" y="999"/>
                    <a:pt x="1419" y="998"/>
                  </a:cubicBezTo>
                  <a:cubicBezTo>
                    <a:pt x="1418" y="1000"/>
                    <a:pt x="1420" y="1001"/>
                    <a:pt x="1422" y="1001"/>
                  </a:cubicBezTo>
                  <a:cubicBezTo>
                    <a:pt x="1421" y="1004"/>
                    <a:pt x="1419" y="1004"/>
                    <a:pt x="1418" y="1005"/>
                  </a:cubicBezTo>
                  <a:cubicBezTo>
                    <a:pt x="1415" y="1007"/>
                    <a:pt x="1417" y="1011"/>
                    <a:pt x="1413" y="1013"/>
                  </a:cubicBezTo>
                  <a:cubicBezTo>
                    <a:pt x="1415" y="1010"/>
                    <a:pt x="1414" y="1009"/>
                    <a:pt x="1411" y="1010"/>
                  </a:cubicBezTo>
                  <a:cubicBezTo>
                    <a:pt x="1412" y="1013"/>
                    <a:pt x="1410" y="1016"/>
                    <a:pt x="1410" y="1019"/>
                  </a:cubicBezTo>
                  <a:cubicBezTo>
                    <a:pt x="1409" y="1013"/>
                    <a:pt x="1404" y="1019"/>
                    <a:pt x="1401" y="1019"/>
                  </a:cubicBezTo>
                  <a:cubicBezTo>
                    <a:pt x="1400" y="1020"/>
                    <a:pt x="1398" y="1030"/>
                    <a:pt x="1395" y="1027"/>
                  </a:cubicBezTo>
                  <a:cubicBezTo>
                    <a:pt x="1392" y="1024"/>
                    <a:pt x="1390" y="1023"/>
                    <a:pt x="1389" y="1028"/>
                  </a:cubicBezTo>
                  <a:cubicBezTo>
                    <a:pt x="1389" y="1033"/>
                    <a:pt x="1386" y="1034"/>
                    <a:pt x="1381" y="1034"/>
                  </a:cubicBezTo>
                  <a:cubicBezTo>
                    <a:pt x="1384" y="1035"/>
                    <a:pt x="1388" y="1035"/>
                    <a:pt x="1389" y="1039"/>
                  </a:cubicBezTo>
                  <a:cubicBezTo>
                    <a:pt x="1385" y="1035"/>
                    <a:pt x="1386" y="1042"/>
                    <a:pt x="1383" y="1039"/>
                  </a:cubicBezTo>
                  <a:cubicBezTo>
                    <a:pt x="1382" y="1042"/>
                    <a:pt x="1384" y="1047"/>
                    <a:pt x="1379" y="1048"/>
                  </a:cubicBezTo>
                  <a:cubicBezTo>
                    <a:pt x="1376" y="1049"/>
                    <a:pt x="1371" y="1050"/>
                    <a:pt x="1368" y="1049"/>
                  </a:cubicBezTo>
                  <a:cubicBezTo>
                    <a:pt x="1372" y="1053"/>
                    <a:pt x="1356" y="1056"/>
                    <a:pt x="1359" y="1048"/>
                  </a:cubicBezTo>
                  <a:cubicBezTo>
                    <a:pt x="1357" y="1051"/>
                    <a:pt x="1354" y="1050"/>
                    <a:pt x="1351" y="1049"/>
                  </a:cubicBezTo>
                  <a:cubicBezTo>
                    <a:pt x="1351" y="1051"/>
                    <a:pt x="1358" y="1054"/>
                    <a:pt x="1356" y="1057"/>
                  </a:cubicBezTo>
                  <a:cubicBezTo>
                    <a:pt x="1355" y="1059"/>
                    <a:pt x="1353" y="1058"/>
                    <a:pt x="1352" y="1057"/>
                  </a:cubicBezTo>
                  <a:cubicBezTo>
                    <a:pt x="1348" y="1055"/>
                    <a:pt x="1345" y="1055"/>
                    <a:pt x="1346" y="1051"/>
                  </a:cubicBezTo>
                  <a:cubicBezTo>
                    <a:pt x="1344" y="1053"/>
                    <a:pt x="1337" y="1057"/>
                    <a:pt x="1335" y="1056"/>
                  </a:cubicBezTo>
                  <a:cubicBezTo>
                    <a:pt x="1340" y="1058"/>
                    <a:pt x="1337" y="1062"/>
                    <a:pt x="1334" y="1061"/>
                  </a:cubicBezTo>
                  <a:cubicBezTo>
                    <a:pt x="1330" y="1060"/>
                    <a:pt x="1330" y="1055"/>
                    <a:pt x="1333" y="1053"/>
                  </a:cubicBezTo>
                  <a:cubicBezTo>
                    <a:pt x="1329" y="1053"/>
                    <a:pt x="1326" y="1055"/>
                    <a:pt x="1324" y="1058"/>
                  </a:cubicBezTo>
                  <a:cubicBezTo>
                    <a:pt x="1328" y="1059"/>
                    <a:pt x="1324" y="1063"/>
                    <a:pt x="1328" y="1064"/>
                  </a:cubicBezTo>
                  <a:cubicBezTo>
                    <a:pt x="1327" y="1064"/>
                    <a:pt x="1326" y="1065"/>
                    <a:pt x="1325" y="1065"/>
                  </a:cubicBezTo>
                  <a:cubicBezTo>
                    <a:pt x="1324" y="1059"/>
                    <a:pt x="1309" y="1060"/>
                    <a:pt x="1306" y="1065"/>
                  </a:cubicBezTo>
                  <a:cubicBezTo>
                    <a:pt x="1306" y="1056"/>
                    <a:pt x="1295" y="1054"/>
                    <a:pt x="1296" y="1045"/>
                  </a:cubicBezTo>
                  <a:cubicBezTo>
                    <a:pt x="1295" y="1051"/>
                    <a:pt x="1295" y="1048"/>
                    <a:pt x="1293" y="1045"/>
                  </a:cubicBezTo>
                  <a:cubicBezTo>
                    <a:pt x="1295" y="1042"/>
                    <a:pt x="1298" y="1042"/>
                    <a:pt x="1302" y="1042"/>
                  </a:cubicBezTo>
                  <a:cubicBezTo>
                    <a:pt x="1297" y="1039"/>
                    <a:pt x="1293" y="1045"/>
                    <a:pt x="1289" y="1043"/>
                  </a:cubicBezTo>
                  <a:cubicBezTo>
                    <a:pt x="1295" y="1046"/>
                    <a:pt x="1289" y="1051"/>
                    <a:pt x="1284" y="1050"/>
                  </a:cubicBezTo>
                  <a:cubicBezTo>
                    <a:pt x="1286" y="1050"/>
                    <a:pt x="1292" y="1052"/>
                    <a:pt x="1292" y="1054"/>
                  </a:cubicBezTo>
                  <a:cubicBezTo>
                    <a:pt x="1292" y="1055"/>
                    <a:pt x="1291" y="1055"/>
                    <a:pt x="1290" y="1054"/>
                  </a:cubicBezTo>
                  <a:cubicBezTo>
                    <a:pt x="1294" y="1057"/>
                    <a:pt x="1302" y="1068"/>
                    <a:pt x="1299" y="1073"/>
                  </a:cubicBezTo>
                  <a:cubicBezTo>
                    <a:pt x="1295" y="1079"/>
                    <a:pt x="1287" y="1063"/>
                    <a:pt x="1285" y="1061"/>
                  </a:cubicBezTo>
                  <a:cubicBezTo>
                    <a:pt x="1285" y="1066"/>
                    <a:pt x="1291" y="1071"/>
                    <a:pt x="1293" y="1075"/>
                  </a:cubicBezTo>
                  <a:cubicBezTo>
                    <a:pt x="1291" y="1075"/>
                    <a:pt x="1289" y="1077"/>
                    <a:pt x="1289" y="1079"/>
                  </a:cubicBezTo>
                  <a:cubicBezTo>
                    <a:pt x="1287" y="1078"/>
                    <a:pt x="1285" y="1076"/>
                    <a:pt x="1285" y="1074"/>
                  </a:cubicBezTo>
                  <a:cubicBezTo>
                    <a:pt x="1280" y="1076"/>
                    <a:pt x="1286" y="1082"/>
                    <a:pt x="1282" y="1086"/>
                  </a:cubicBezTo>
                  <a:cubicBezTo>
                    <a:pt x="1278" y="1080"/>
                    <a:pt x="1275" y="1085"/>
                    <a:pt x="1273" y="1088"/>
                  </a:cubicBezTo>
                  <a:cubicBezTo>
                    <a:pt x="1271" y="1091"/>
                    <a:pt x="1265" y="1085"/>
                    <a:pt x="1268" y="1082"/>
                  </a:cubicBezTo>
                  <a:cubicBezTo>
                    <a:pt x="1266" y="1083"/>
                    <a:pt x="1264" y="1082"/>
                    <a:pt x="1264" y="1079"/>
                  </a:cubicBezTo>
                  <a:cubicBezTo>
                    <a:pt x="1264" y="1083"/>
                    <a:pt x="1266" y="1086"/>
                    <a:pt x="1265" y="1089"/>
                  </a:cubicBezTo>
                  <a:cubicBezTo>
                    <a:pt x="1264" y="1094"/>
                    <a:pt x="1253" y="1086"/>
                    <a:pt x="1251" y="1085"/>
                  </a:cubicBezTo>
                  <a:cubicBezTo>
                    <a:pt x="1256" y="1092"/>
                    <a:pt x="1249" y="1089"/>
                    <a:pt x="1245" y="1089"/>
                  </a:cubicBezTo>
                  <a:cubicBezTo>
                    <a:pt x="1252" y="1092"/>
                    <a:pt x="1242" y="1101"/>
                    <a:pt x="1238" y="1095"/>
                  </a:cubicBezTo>
                  <a:cubicBezTo>
                    <a:pt x="1237" y="1097"/>
                    <a:pt x="1236" y="1100"/>
                    <a:pt x="1234" y="1101"/>
                  </a:cubicBezTo>
                  <a:cubicBezTo>
                    <a:pt x="1236" y="1096"/>
                    <a:pt x="1231" y="1099"/>
                    <a:pt x="1228" y="1099"/>
                  </a:cubicBezTo>
                  <a:cubicBezTo>
                    <a:pt x="1224" y="1100"/>
                    <a:pt x="1219" y="1102"/>
                    <a:pt x="1217" y="1105"/>
                  </a:cubicBezTo>
                  <a:cubicBezTo>
                    <a:pt x="1217" y="1103"/>
                    <a:pt x="1218" y="1102"/>
                    <a:pt x="1219" y="1100"/>
                  </a:cubicBezTo>
                  <a:cubicBezTo>
                    <a:pt x="1217" y="1102"/>
                    <a:pt x="1215" y="1105"/>
                    <a:pt x="1217" y="1108"/>
                  </a:cubicBezTo>
                  <a:cubicBezTo>
                    <a:pt x="1210" y="1110"/>
                    <a:pt x="1213" y="1105"/>
                    <a:pt x="1209" y="1102"/>
                  </a:cubicBezTo>
                  <a:cubicBezTo>
                    <a:pt x="1207" y="1106"/>
                    <a:pt x="1212" y="1108"/>
                    <a:pt x="1209" y="1111"/>
                  </a:cubicBezTo>
                  <a:cubicBezTo>
                    <a:pt x="1207" y="1113"/>
                    <a:pt x="1202" y="1115"/>
                    <a:pt x="1204" y="1119"/>
                  </a:cubicBezTo>
                  <a:cubicBezTo>
                    <a:pt x="1205" y="1121"/>
                    <a:pt x="1208" y="1121"/>
                    <a:pt x="1210" y="1122"/>
                  </a:cubicBezTo>
                  <a:cubicBezTo>
                    <a:pt x="1213" y="1123"/>
                    <a:pt x="1212" y="1129"/>
                    <a:pt x="1210" y="1122"/>
                  </a:cubicBezTo>
                  <a:cubicBezTo>
                    <a:pt x="1210" y="1127"/>
                    <a:pt x="1217" y="1130"/>
                    <a:pt x="1217" y="1135"/>
                  </a:cubicBezTo>
                  <a:cubicBezTo>
                    <a:pt x="1216" y="1143"/>
                    <a:pt x="1205" y="1139"/>
                    <a:pt x="1200" y="1141"/>
                  </a:cubicBezTo>
                  <a:cubicBezTo>
                    <a:pt x="1200" y="1138"/>
                    <a:pt x="1197" y="1134"/>
                    <a:pt x="1202" y="1137"/>
                  </a:cubicBezTo>
                  <a:cubicBezTo>
                    <a:pt x="1201" y="1132"/>
                    <a:pt x="1192" y="1133"/>
                    <a:pt x="1196" y="1126"/>
                  </a:cubicBezTo>
                  <a:cubicBezTo>
                    <a:pt x="1192" y="1126"/>
                    <a:pt x="1194" y="1121"/>
                    <a:pt x="1191" y="1120"/>
                  </a:cubicBezTo>
                  <a:cubicBezTo>
                    <a:pt x="1189" y="1120"/>
                    <a:pt x="1188" y="1112"/>
                    <a:pt x="1190" y="1110"/>
                  </a:cubicBezTo>
                  <a:cubicBezTo>
                    <a:pt x="1192" y="1108"/>
                    <a:pt x="1189" y="1105"/>
                    <a:pt x="1193" y="1103"/>
                  </a:cubicBezTo>
                  <a:cubicBezTo>
                    <a:pt x="1199" y="1099"/>
                    <a:pt x="1190" y="1097"/>
                    <a:pt x="1188" y="1095"/>
                  </a:cubicBezTo>
                  <a:cubicBezTo>
                    <a:pt x="1189" y="1096"/>
                    <a:pt x="1189" y="1097"/>
                    <a:pt x="1189" y="1099"/>
                  </a:cubicBezTo>
                  <a:cubicBezTo>
                    <a:pt x="1185" y="1099"/>
                    <a:pt x="1183" y="1093"/>
                    <a:pt x="1181" y="1090"/>
                  </a:cubicBezTo>
                  <a:cubicBezTo>
                    <a:pt x="1179" y="1093"/>
                    <a:pt x="1180" y="1095"/>
                    <a:pt x="1183" y="1096"/>
                  </a:cubicBezTo>
                  <a:cubicBezTo>
                    <a:pt x="1181" y="1098"/>
                    <a:pt x="1176" y="1103"/>
                    <a:pt x="1173" y="1099"/>
                  </a:cubicBezTo>
                  <a:cubicBezTo>
                    <a:pt x="1170" y="1107"/>
                    <a:pt x="1169" y="1095"/>
                    <a:pt x="1167" y="1093"/>
                  </a:cubicBezTo>
                  <a:cubicBezTo>
                    <a:pt x="1165" y="1092"/>
                    <a:pt x="1158" y="1095"/>
                    <a:pt x="1162" y="1089"/>
                  </a:cubicBezTo>
                  <a:cubicBezTo>
                    <a:pt x="1161" y="1089"/>
                    <a:pt x="1160" y="1088"/>
                    <a:pt x="1159" y="1088"/>
                  </a:cubicBezTo>
                  <a:cubicBezTo>
                    <a:pt x="1159" y="1090"/>
                    <a:pt x="1159" y="1092"/>
                    <a:pt x="1160" y="1094"/>
                  </a:cubicBezTo>
                  <a:cubicBezTo>
                    <a:pt x="1157" y="1093"/>
                    <a:pt x="1155" y="1087"/>
                    <a:pt x="1152" y="1088"/>
                  </a:cubicBezTo>
                  <a:cubicBezTo>
                    <a:pt x="1153" y="1086"/>
                    <a:pt x="1153" y="1084"/>
                    <a:pt x="1150" y="1083"/>
                  </a:cubicBezTo>
                  <a:cubicBezTo>
                    <a:pt x="1149" y="1085"/>
                    <a:pt x="1149" y="1088"/>
                    <a:pt x="1148" y="1084"/>
                  </a:cubicBezTo>
                  <a:cubicBezTo>
                    <a:pt x="1147" y="1088"/>
                    <a:pt x="1154" y="1090"/>
                    <a:pt x="1151" y="1095"/>
                  </a:cubicBezTo>
                  <a:cubicBezTo>
                    <a:pt x="1150" y="1097"/>
                    <a:pt x="1146" y="1092"/>
                    <a:pt x="1145" y="1092"/>
                  </a:cubicBezTo>
                  <a:cubicBezTo>
                    <a:pt x="1146" y="1095"/>
                    <a:pt x="1145" y="1097"/>
                    <a:pt x="1142" y="1098"/>
                  </a:cubicBezTo>
                  <a:cubicBezTo>
                    <a:pt x="1142" y="1096"/>
                    <a:pt x="1135" y="1095"/>
                    <a:pt x="1132" y="1093"/>
                  </a:cubicBezTo>
                  <a:cubicBezTo>
                    <a:pt x="1128" y="1091"/>
                    <a:pt x="1121" y="1097"/>
                    <a:pt x="1119" y="1093"/>
                  </a:cubicBezTo>
                  <a:cubicBezTo>
                    <a:pt x="1119" y="1093"/>
                    <a:pt x="1118" y="1094"/>
                    <a:pt x="1117" y="1094"/>
                  </a:cubicBezTo>
                  <a:cubicBezTo>
                    <a:pt x="1115" y="1090"/>
                    <a:pt x="1109" y="1090"/>
                    <a:pt x="1106" y="1087"/>
                  </a:cubicBezTo>
                  <a:cubicBezTo>
                    <a:pt x="1105" y="1086"/>
                    <a:pt x="1107" y="1085"/>
                    <a:pt x="1105" y="1084"/>
                  </a:cubicBezTo>
                  <a:cubicBezTo>
                    <a:pt x="1102" y="1083"/>
                    <a:pt x="1098" y="1079"/>
                    <a:pt x="1095" y="1082"/>
                  </a:cubicBezTo>
                  <a:cubicBezTo>
                    <a:pt x="1093" y="1074"/>
                    <a:pt x="1088" y="1068"/>
                    <a:pt x="1088" y="1060"/>
                  </a:cubicBezTo>
                  <a:cubicBezTo>
                    <a:pt x="1096" y="1063"/>
                    <a:pt x="1093" y="1045"/>
                    <a:pt x="1083" y="1050"/>
                  </a:cubicBezTo>
                  <a:cubicBezTo>
                    <a:pt x="1079" y="1052"/>
                    <a:pt x="1077" y="1049"/>
                    <a:pt x="1073" y="1047"/>
                  </a:cubicBezTo>
                  <a:cubicBezTo>
                    <a:pt x="1069" y="1045"/>
                    <a:pt x="1067" y="1051"/>
                    <a:pt x="1063" y="1047"/>
                  </a:cubicBezTo>
                  <a:cubicBezTo>
                    <a:pt x="1057" y="1043"/>
                    <a:pt x="1051" y="1040"/>
                    <a:pt x="1046" y="1033"/>
                  </a:cubicBezTo>
                  <a:cubicBezTo>
                    <a:pt x="1044" y="1038"/>
                    <a:pt x="1038" y="1039"/>
                    <a:pt x="1034" y="1042"/>
                  </a:cubicBezTo>
                  <a:cubicBezTo>
                    <a:pt x="1032" y="1044"/>
                    <a:pt x="1036" y="1047"/>
                    <a:pt x="1034" y="1050"/>
                  </a:cubicBezTo>
                  <a:cubicBezTo>
                    <a:pt x="1031" y="1053"/>
                    <a:pt x="1016" y="1060"/>
                    <a:pt x="1018" y="1052"/>
                  </a:cubicBezTo>
                  <a:cubicBezTo>
                    <a:pt x="1012" y="1052"/>
                    <a:pt x="1011" y="1065"/>
                    <a:pt x="1009" y="1063"/>
                  </a:cubicBezTo>
                  <a:cubicBezTo>
                    <a:pt x="1007" y="1062"/>
                    <a:pt x="1004" y="1059"/>
                    <a:pt x="1002" y="1057"/>
                  </a:cubicBezTo>
                  <a:cubicBezTo>
                    <a:pt x="998" y="1052"/>
                    <a:pt x="998" y="1057"/>
                    <a:pt x="997" y="1061"/>
                  </a:cubicBezTo>
                  <a:cubicBezTo>
                    <a:pt x="991" y="1054"/>
                    <a:pt x="990" y="1053"/>
                    <a:pt x="986" y="1061"/>
                  </a:cubicBezTo>
                  <a:cubicBezTo>
                    <a:pt x="982" y="1068"/>
                    <a:pt x="976" y="1061"/>
                    <a:pt x="972" y="1057"/>
                  </a:cubicBezTo>
                  <a:cubicBezTo>
                    <a:pt x="964" y="1050"/>
                    <a:pt x="963" y="1060"/>
                    <a:pt x="959" y="1066"/>
                  </a:cubicBezTo>
                  <a:cubicBezTo>
                    <a:pt x="957" y="1069"/>
                    <a:pt x="955" y="1065"/>
                    <a:pt x="953" y="1065"/>
                  </a:cubicBezTo>
                  <a:cubicBezTo>
                    <a:pt x="951" y="1066"/>
                    <a:pt x="950" y="1066"/>
                    <a:pt x="948" y="1066"/>
                  </a:cubicBezTo>
                  <a:cubicBezTo>
                    <a:pt x="946" y="1067"/>
                    <a:pt x="947" y="1064"/>
                    <a:pt x="945" y="1064"/>
                  </a:cubicBezTo>
                  <a:cubicBezTo>
                    <a:pt x="937" y="1064"/>
                    <a:pt x="941" y="1078"/>
                    <a:pt x="943" y="1081"/>
                  </a:cubicBezTo>
                  <a:cubicBezTo>
                    <a:pt x="945" y="1084"/>
                    <a:pt x="948" y="1087"/>
                    <a:pt x="949" y="1091"/>
                  </a:cubicBezTo>
                  <a:cubicBezTo>
                    <a:pt x="950" y="1092"/>
                    <a:pt x="950" y="1093"/>
                    <a:pt x="951" y="1094"/>
                  </a:cubicBezTo>
                  <a:cubicBezTo>
                    <a:pt x="951" y="1097"/>
                    <a:pt x="950" y="1098"/>
                    <a:pt x="950" y="1101"/>
                  </a:cubicBezTo>
                  <a:cubicBezTo>
                    <a:pt x="950" y="1103"/>
                    <a:pt x="954" y="1107"/>
                    <a:pt x="952" y="1109"/>
                  </a:cubicBezTo>
                  <a:cubicBezTo>
                    <a:pt x="949" y="1112"/>
                    <a:pt x="946" y="1106"/>
                    <a:pt x="942" y="1107"/>
                  </a:cubicBezTo>
                  <a:cubicBezTo>
                    <a:pt x="937" y="1109"/>
                    <a:pt x="936" y="1109"/>
                    <a:pt x="934" y="1104"/>
                  </a:cubicBezTo>
                  <a:cubicBezTo>
                    <a:pt x="932" y="1099"/>
                    <a:pt x="929" y="1094"/>
                    <a:pt x="929" y="1089"/>
                  </a:cubicBezTo>
                  <a:cubicBezTo>
                    <a:pt x="924" y="1092"/>
                    <a:pt x="916" y="1102"/>
                    <a:pt x="909" y="1098"/>
                  </a:cubicBezTo>
                  <a:cubicBezTo>
                    <a:pt x="906" y="1096"/>
                    <a:pt x="905" y="1101"/>
                    <a:pt x="903" y="1100"/>
                  </a:cubicBezTo>
                  <a:cubicBezTo>
                    <a:pt x="900" y="1100"/>
                    <a:pt x="899" y="1094"/>
                    <a:pt x="901" y="1092"/>
                  </a:cubicBezTo>
                  <a:cubicBezTo>
                    <a:pt x="891" y="1092"/>
                    <a:pt x="898" y="1082"/>
                    <a:pt x="893" y="1080"/>
                  </a:cubicBezTo>
                  <a:cubicBezTo>
                    <a:pt x="887" y="1077"/>
                    <a:pt x="880" y="1077"/>
                    <a:pt x="873" y="1078"/>
                  </a:cubicBezTo>
                  <a:cubicBezTo>
                    <a:pt x="865" y="1079"/>
                    <a:pt x="872" y="1068"/>
                    <a:pt x="872" y="1065"/>
                  </a:cubicBezTo>
                  <a:cubicBezTo>
                    <a:pt x="873" y="1061"/>
                    <a:pt x="868" y="1049"/>
                    <a:pt x="876" y="1049"/>
                  </a:cubicBezTo>
                  <a:cubicBezTo>
                    <a:pt x="874" y="1043"/>
                    <a:pt x="870" y="1043"/>
                    <a:pt x="864" y="1043"/>
                  </a:cubicBezTo>
                  <a:cubicBezTo>
                    <a:pt x="856" y="1043"/>
                    <a:pt x="857" y="1036"/>
                    <a:pt x="854" y="1031"/>
                  </a:cubicBezTo>
                  <a:cubicBezTo>
                    <a:pt x="854" y="1031"/>
                    <a:pt x="851" y="1028"/>
                    <a:pt x="851" y="1027"/>
                  </a:cubicBezTo>
                  <a:cubicBezTo>
                    <a:pt x="854" y="1023"/>
                    <a:pt x="849" y="1021"/>
                    <a:pt x="847" y="1018"/>
                  </a:cubicBezTo>
                  <a:cubicBezTo>
                    <a:pt x="844" y="1013"/>
                    <a:pt x="851" y="1011"/>
                    <a:pt x="850" y="1006"/>
                  </a:cubicBezTo>
                  <a:cubicBezTo>
                    <a:pt x="843" y="1011"/>
                    <a:pt x="834" y="1005"/>
                    <a:pt x="827" y="1009"/>
                  </a:cubicBezTo>
                  <a:cubicBezTo>
                    <a:pt x="825" y="1010"/>
                    <a:pt x="816" y="1017"/>
                    <a:pt x="814" y="1016"/>
                  </a:cubicBezTo>
                  <a:cubicBezTo>
                    <a:pt x="810" y="1013"/>
                    <a:pt x="814" y="1010"/>
                    <a:pt x="815" y="1008"/>
                  </a:cubicBezTo>
                  <a:cubicBezTo>
                    <a:pt x="816" y="1005"/>
                    <a:pt x="814" y="1000"/>
                    <a:pt x="813" y="998"/>
                  </a:cubicBezTo>
                  <a:cubicBezTo>
                    <a:pt x="810" y="994"/>
                    <a:pt x="809" y="995"/>
                    <a:pt x="808" y="990"/>
                  </a:cubicBezTo>
                  <a:cubicBezTo>
                    <a:pt x="807" y="986"/>
                    <a:pt x="809" y="983"/>
                    <a:pt x="813" y="983"/>
                  </a:cubicBezTo>
                  <a:cubicBezTo>
                    <a:pt x="810" y="978"/>
                    <a:pt x="813" y="974"/>
                    <a:pt x="813" y="968"/>
                  </a:cubicBezTo>
                  <a:cubicBezTo>
                    <a:pt x="819" y="974"/>
                    <a:pt x="820" y="959"/>
                    <a:pt x="820" y="957"/>
                  </a:cubicBezTo>
                  <a:cubicBezTo>
                    <a:pt x="830" y="957"/>
                    <a:pt x="823" y="953"/>
                    <a:pt x="830" y="948"/>
                  </a:cubicBezTo>
                  <a:cubicBezTo>
                    <a:pt x="831" y="947"/>
                    <a:pt x="834" y="949"/>
                    <a:pt x="834" y="948"/>
                  </a:cubicBezTo>
                  <a:cubicBezTo>
                    <a:pt x="835" y="944"/>
                    <a:pt x="830" y="942"/>
                    <a:pt x="829" y="939"/>
                  </a:cubicBezTo>
                  <a:cubicBezTo>
                    <a:pt x="835" y="941"/>
                    <a:pt x="832" y="930"/>
                    <a:pt x="832" y="927"/>
                  </a:cubicBezTo>
                  <a:cubicBezTo>
                    <a:pt x="832" y="921"/>
                    <a:pt x="830" y="914"/>
                    <a:pt x="828" y="908"/>
                  </a:cubicBezTo>
                  <a:cubicBezTo>
                    <a:pt x="826" y="903"/>
                    <a:pt x="825" y="898"/>
                    <a:pt x="824" y="893"/>
                  </a:cubicBezTo>
                  <a:cubicBezTo>
                    <a:pt x="823" y="887"/>
                    <a:pt x="820" y="886"/>
                    <a:pt x="814" y="884"/>
                  </a:cubicBezTo>
                  <a:cubicBezTo>
                    <a:pt x="815" y="886"/>
                    <a:pt x="814" y="888"/>
                    <a:pt x="812" y="889"/>
                  </a:cubicBezTo>
                  <a:cubicBezTo>
                    <a:pt x="810" y="885"/>
                    <a:pt x="806" y="881"/>
                    <a:pt x="805" y="876"/>
                  </a:cubicBezTo>
                  <a:cubicBezTo>
                    <a:pt x="804" y="872"/>
                    <a:pt x="804" y="869"/>
                    <a:pt x="800" y="866"/>
                  </a:cubicBezTo>
                  <a:cubicBezTo>
                    <a:pt x="795" y="861"/>
                    <a:pt x="787" y="859"/>
                    <a:pt x="782" y="854"/>
                  </a:cubicBezTo>
                  <a:cubicBezTo>
                    <a:pt x="782" y="858"/>
                    <a:pt x="782" y="870"/>
                    <a:pt x="776" y="863"/>
                  </a:cubicBezTo>
                  <a:cubicBezTo>
                    <a:pt x="772" y="860"/>
                    <a:pt x="770" y="863"/>
                    <a:pt x="767" y="861"/>
                  </a:cubicBezTo>
                  <a:cubicBezTo>
                    <a:pt x="763" y="860"/>
                    <a:pt x="759" y="857"/>
                    <a:pt x="756" y="857"/>
                  </a:cubicBezTo>
                  <a:cubicBezTo>
                    <a:pt x="752" y="857"/>
                    <a:pt x="751" y="861"/>
                    <a:pt x="748" y="860"/>
                  </a:cubicBezTo>
                  <a:cubicBezTo>
                    <a:pt x="745" y="859"/>
                    <a:pt x="747" y="855"/>
                    <a:pt x="748" y="854"/>
                  </a:cubicBezTo>
                  <a:cubicBezTo>
                    <a:pt x="749" y="852"/>
                    <a:pt x="752" y="849"/>
                    <a:pt x="752" y="847"/>
                  </a:cubicBezTo>
                  <a:cubicBezTo>
                    <a:pt x="753" y="843"/>
                    <a:pt x="746" y="841"/>
                    <a:pt x="747" y="836"/>
                  </a:cubicBezTo>
                  <a:cubicBezTo>
                    <a:pt x="745" y="837"/>
                    <a:pt x="742" y="840"/>
                    <a:pt x="739" y="840"/>
                  </a:cubicBezTo>
                  <a:cubicBezTo>
                    <a:pt x="733" y="838"/>
                    <a:pt x="740" y="832"/>
                    <a:pt x="742" y="831"/>
                  </a:cubicBezTo>
                  <a:cubicBezTo>
                    <a:pt x="740" y="829"/>
                    <a:pt x="736" y="826"/>
                    <a:pt x="733" y="824"/>
                  </a:cubicBezTo>
                  <a:cubicBezTo>
                    <a:pt x="730" y="822"/>
                    <a:pt x="722" y="828"/>
                    <a:pt x="720" y="830"/>
                  </a:cubicBezTo>
                  <a:cubicBezTo>
                    <a:pt x="717" y="831"/>
                    <a:pt x="718" y="835"/>
                    <a:pt x="716" y="837"/>
                  </a:cubicBezTo>
                  <a:cubicBezTo>
                    <a:pt x="714" y="838"/>
                    <a:pt x="710" y="836"/>
                    <a:pt x="709" y="835"/>
                  </a:cubicBezTo>
                  <a:cubicBezTo>
                    <a:pt x="708" y="835"/>
                    <a:pt x="699" y="830"/>
                    <a:pt x="703" y="834"/>
                  </a:cubicBezTo>
                  <a:cubicBezTo>
                    <a:pt x="700" y="833"/>
                    <a:pt x="696" y="829"/>
                    <a:pt x="693" y="829"/>
                  </a:cubicBezTo>
                  <a:cubicBezTo>
                    <a:pt x="690" y="828"/>
                    <a:pt x="688" y="831"/>
                    <a:pt x="684" y="832"/>
                  </a:cubicBezTo>
                  <a:cubicBezTo>
                    <a:pt x="680" y="835"/>
                    <a:pt x="677" y="840"/>
                    <a:pt x="674" y="844"/>
                  </a:cubicBezTo>
                  <a:cubicBezTo>
                    <a:pt x="670" y="849"/>
                    <a:pt x="666" y="849"/>
                    <a:pt x="660" y="850"/>
                  </a:cubicBezTo>
                  <a:cubicBezTo>
                    <a:pt x="653" y="851"/>
                    <a:pt x="656" y="855"/>
                    <a:pt x="653" y="860"/>
                  </a:cubicBezTo>
                  <a:cubicBezTo>
                    <a:pt x="650" y="863"/>
                    <a:pt x="644" y="865"/>
                    <a:pt x="643" y="869"/>
                  </a:cubicBezTo>
                  <a:cubicBezTo>
                    <a:pt x="641" y="875"/>
                    <a:pt x="641" y="879"/>
                    <a:pt x="633" y="880"/>
                  </a:cubicBezTo>
                  <a:cubicBezTo>
                    <a:pt x="628" y="880"/>
                    <a:pt x="624" y="883"/>
                    <a:pt x="620" y="882"/>
                  </a:cubicBezTo>
                  <a:cubicBezTo>
                    <a:pt x="616" y="882"/>
                    <a:pt x="613" y="881"/>
                    <a:pt x="613" y="877"/>
                  </a:cubicBezTo>
                  <a:cubicBezTo>
                    <a:pt x="613" y="874"/>
                    <a:pt x="604" y="871"/>
                    <a:pt x="601" y="871"/>
                  </a:cubicBezTo>
                  <a:cubicBezTo>
                    <a:pt x="596" y="870"/>
                    <a:pt x="596" y="876"/>
                    <a:pt x="591" y="873"/>
                  </a:cubicBezTo>
                  <a:cubicBezTo>
                    <a:pt x="586" y="871"/>
                    <a:pt x="582" y="871"/>
                    <a:pt x="576" y="871"/>
                  </a:cubicBezTo>
                  <a:cubicBezTo>
                    <a:pt x="571" y="871"/>
                    <a:pt x="575" y="865"/>
                    <a:pt x="570" y="864"/>
                  </a:cubicBezTo>
                  <a:cubicBezTo>
                    <a:pt x="564" y="862"/>
                    <a:pt x="559" y="862"/>
                    <a:pt x="554" y="866"/>
                  </a:cubicBezTo>
                  <a:cubicBezTo>
                    <a:pt x="549" y="869"/>
                    <a:pt x="545" y="875"/>
                    <a:pt x="542" y="881"/>
                  </a:cubicBezTo>
                  <a:cubicBezTo>
                    <a:pt x="540" y="885"/>
                    <a:pt x="536" y="892"/>
                    <a:pt x="535" y="897"/>
                  </a:cubicBezTo>
                  <a:cubicBezTo>
                    <a:pt x="527" y="892"/>
                    <a:pt x="533" y="883"/>
                    <a:pt x="530" y="876"/>
                  </a:cubicBezTo>
                  <a:cubicBezTo>
                    <a:pt x="526" y="866"/>
                    <a:pt x="516" y="874"/>
                    <a:pt x="509" y="875"/>
                  </a:cubicBezTo>
                  <a:cubicBezTo>
                    <a:pt x="509" y="876"/>
                    <a:pt x="509" y="877"/>
                    <a:pt x="509" y="878"/>
                  </a:cubicBezTo>
                  <a:cubicBezTo>
                    <a:pt x="503" y="876"/>
                    <a:pt x="494" y="878"/>
                    <a:pt x="487" y="878"/>
                  </a:cubicBezTo>
                  <a:cubicBezTo>
                    <a:pt x="480" y="878"/>
                    <a:pt x="477" y="876"/>
                    <a:pt x="471" y="873"/>
                  </a:cubicBezTo>
                  <a:cubicBezTo>
                    <a:pt x="469" y="872"/>
                    <a:pt x="465" y="870"/>
                    <a:pt x="463" y="871"/>
                  </a:cubicBezTo>
                  <a:cubicBezTo>
                    <a:pt x="461" y="872"/>
                    <a:pt x="462" y="875"/>
                    <a:pt x="460" y="876"/>
                  </a:cubicBezTo>
                  <a:cubicBezTo>
                    <a:pt x="456" y="876"/>
                    <a:pt x="450" y="871"/>
                    <a:pt x="449" y="868"/>
                  </a:cubicBezTo>
                  <a:cubicBezTo>
                    <a:pt x="449" y="868"/>
                    <a:pt x="448" y="880"/>
                    <a:pt x="445" y="875"/>
                  </a:cubicBezTo>
                  <a:cubicBezTo>
                    <a:pt x="442" y="870"/>
                    <a:pt x="436" y="867"/>
                    <a:pt x="434" y="861"/>
                  </a:cubicBezTo>
                  <a:cubicBezTo>
                    <a:pt x="433" y="866"/>
                    <a:pt x="417" y="864"/>
                    <a:pt x="416" y="860"/>
                  </a:cubicBezTo>
                  <a:cubicBezTo>
                    <a:pt x="416" y="858"/>
                    <a:pt x="418" y="854"/>
                    <a:pt x="416" y="852"/>
                  </a:cubicBezTo>
                  <a:cubicBezTo>
                    <a:pt x="414" y="850"/>
                    <a:pt x="409" y="855"/>
                    <a:pt x="406" y="853"/>
                  </a:cubicBezTo>
                  <a:cubicBezTo>
                    <a:pt x="401" y="850"/>
                    <a:pt x="389" y="846"/>
                    <a:pt x="387" y="840"/>
                  </a:cubicBezTo>
                  <a:cubicBezTo>
                    <a:pt x="385" y="833"/>
                    <a:pt x="377" y="825"/>
                    <a:pt x="369" y="832"/>
                  </a:cubicBezTo>
                  <a:cubicBezTo>
                    <a:pt x="367" y="835"/>
                    <a:pt x="358" y="823"/>
                    <a:pt x="356" y="821"/>
                  </a:cubicBezTo>
                  <a:cubicBezTo>
                    <a:pt x="352" y="817"/>
                    <a:pt x="345" y="816"/>
                    <a:pt x="339" y="812"/>
                  </a:cubicBezTo>
                  <a:cubicBezTo>
                    <a:pt x="330" y="807"/>
                    <a:pt x="322" y="800"/>
                    <a:pt x="314" y="793"/>
                  </a:cubicBezTo>
                  <a:cubicBezTo>
                    <a:pt x="311" y="791"/>
                    <a:pt x="307" y="791"/>
                    <a:pt x="303" y="790"/>
                  </a:cubicBezTo>
                  <a:cubicBezTo>
                    <a:pt x="299" y="789"/>
                    <a:pt x="299" y="794"/>
                    <a:pt x="295" y="792"/>
                  </a:cubicBezTo>
                  <a:cubicBezTo>
                    <a:pt x="297" y="803"/>
                    <a:pt x="291" y="804"/>
                    <a:pt x="285" y="797"/>
                  </a:cubicBezTo>
                  <a:cubicBezTo>
                    <a:pt x="279" y="791"/>
                    <a:pt x="272" y="788"/>
                    <a:pt x="265" y="786"/>
                  </a:cubicBezTo>
                  <a:cubicBezTo>
                    <a:pt x="263" y="786"/>
                    <a:pt x="259" y="785"/>
                    <a:pt x="258" y="784"/>
                  </a:cubicBezTo>
                  <a:cubicBezTo>
                    <a:pt x="256" y="782"/>
                    <a:pt x="260" y="778"/>
                    <a:pt x="256" y="777"/>
                  </a:cubicBezTo>
                  <a:cubicBezTo>
                    <a:pt x="253" y="776"/>
                    <a:pt x="251" y="775"/>
                    <a:pt x="249" y="773"/>
                  </a:cubicBezTo>
                  <a:cubicBezTo>
                    <a:pt x="245" y="769"/>
                    <a:pt x="242" y="772"/>
                    <a:pt x="237" y="771"/>
                  </a:cubicBezTo>
                  <a:cubicBezTo>
                    <a:pt x="230" y="769"/>
                    <a:pt x="227" y="761"/>
                    <a:pt x="223" y="757"/>
                  </a:cubicBezTo>
                  <a:cubicBezTo>
                    <a:pt x="218" y="752"/>
                    <a:pt x="213" y="765"/>
                    <a:pt x="210" y="756"/>
                  </a:cubicBezTo>
                  <a:cubicBezTo>
                    <a:pt x="209" y="753"/>
                    <a:pt x="210" y="749"/>
                    <a:pt x="208" y="746"/>
                  </a:cubicBezTo>
                  <a:cubicBezTo>
                    <a:pt x="206" y="743"/>
                    <a:pt x="206" y="741"/>
                    <a:pt x="205" y="737"/>
                  </a:cubicBezTo>
                  <a:cubicBezTo>
                    <a:pt x="204" y="733"/>
                    <a:pt x="201" y="731"/>
                    <a:pt x="198" y="729"/>
                  </a:cubicBezTo>
                  <a:cubicBezTo>
                    <a:pt x="194" y="725"/>
                    <a:pt x="195" y="720"/>
                    <a:pt x="192" y="716"/>
                  </a:cubicBezTo>
                  <a:cubicBezTo>
                    <a:pt x="199" y="710"/>
                    <a:pt x="201" y="714"/>
                    <a:pt x="206" y="720"/>
                  </a:cubicBezTo>
                  <a:cubicBezTo>
                    <a:pt x="208" y="723"/>
                    <a:pt x="211" y="723"/>
                    <a:pt x="213" y="720"/>
                  </a:cubicBezTo>
                  <a:cubicBezTo>
                    <a:pt x="215" y="716"/>
                    <a:pt x="220" y="717"/>
                    <a:pt x="222" y="714"/>
                  </a:cubicBezTo>
                  <a:cubicBezTo>
                    <a:pt x="225" y="710"/>
                    <a:pt x="220" y="705"/>
                    <a:pt x="218" y="703"/>
                  </a:cubicBezTo>
                  <a:cubicBezTo>
                    <a:pt x="216" y="700"/>
                    <a:pt x="217" y="694"/>
                    <a:pt x="215" y="694"/>
                  </a:cubicBezTo>
                  <a:cubicBezTo>
                    <a:pt x="205" y="691"/>
                    <a:pt x="202" y="688"/>
                    <a:pt x="199" y="678"/>
                  </a:cubicBezTo>
                  <a:cubicBezTo>
                    <a:pt x="206" y="679"/>
                    <a:pt x="190" y="667"/>
                    <a:pt x="202" y="665"/>
                  </a:cubicBezTo>
                  <a:cubicBezTo>
                    <a:pt x="204" y="664"/>
                    <a:pt x="209" y="666"/>
                    <a:pt x="211" y="664"/>
                  </a:cubicBezTo>
                  <a:cubicBezTo>
                    <a:pt x="213" y="661"/>
                    <a:pt x="212" y="655"/>
                    <a:pt x="210" y="652"/>
                  </a:cubicBezTo>
                  <a:cubicBezTo>
                    <a:pt x="212" y="651"/>
                    <a:pt x="218" y="652"/>
                    <a:pt x="216" y="649"/>
                  </a:cubicBezTo>
                  <a:cubicBezTo>
                    <a:pt x="214" y="647"/>
                    <a:pt x="220" y="642"/>
                    <a:pt x="221" y="642"/>
                  </a:cubicBezTo>
                  <a:cubicBezTo>
                    <a:pt x="227" y="641"/>
                    <a:pt x="225" y="623"/>
                    <a:pt x="224" y="619"/>
                  </a:cubicBezTo>
                  <a:cubicBezTo>
                    <a:pt x="224" y="619"/>
                    <a:pt x="227" y="609"/>
                    <a:pt x="222" y="613"/>
                  </a:cubicBezTo>
                  <a:cubicBezTo>
                    <a:pt x="217" y="617"/>
                    <a:pt x="216" y="615"/>
                    <a:pt x="213" y="611"/>
                  </a:cubicBezTo>
                  <a:cubicBezTo>
                    <a:pt x="212" y="609"/>
                    <a:pt x="207" y="609"/>
                    <a:pt x="205" y="608"/>
                  </a:cubicBezTo>
                  <a:cubicBezTo>
                    <a:pt x="201" y="606"/>
                    <a:pt x="198" y="599"/>
                    <a:pt x="194" y="598"/>
                  </a:cubicBezTo>
                  <a:cubicBezTo>
                    <a:pt x="189" y="596"/>
                    <a:pt x="178" y="599"/>
                    <a:pt x="174" y="602"/>
                  </a:cubicBezTo>
                  <a:cubicBezTo>
                    <a:pt x="167" y="606"/>
                    <a:pt x="159" y="614"/>
                    <a:pt x="151" y="615"/>
                  </a:cubicBezTo>
                  <a:cubicBezTo>
                    <a:pt x="142" y="615"/>
                    <a:pt x="114" y="613"/>
                    <a:pt x="113" y="600"/>
                  </a:cubicBezTo>
                  <a:cubicBezTo>
                    <a:pt x="110" y="600"/>
                    <a:pt x="106" y="605"/>
                    <a:pt x="103" y="602"/>
                  </a:cubicBezTo>
                  <a:cubicBezTo>
                    <a:pt x="101" y="600"/>
                    <a:pt x="95" y="597"/>
                    <a:pt x="94" y="594"/>
                  </a:cubicBezTo>
                  <a:cubicBezTo>
                    <a:pt x="93" y="591"/>
                    <a:pt x="93" y="587"/>
                    <a:pt x="92" y="584"/>
                  </a:cubicBezTo>
                  <a:cubicBezTo>
                    <a:pt x="91" y="580"/>
                    <a:pt x="89" y="577"/>
                    <a:pt x="86" y="574"/>
                  </a:cubicBezTo>
                  <a:cubicBezTo>
                    <a:pt x="82" y="570"/>
                    <a:pt x="75" y="572"/>
                    <a:pt x="72" y="568"/>
                  </a:cubicBezTo>
                  <a:cubicBezTo>
                    <a:pt x="69" y="564"/>
                    <a:pt x="60" y="558"/>
                    <a:pt x="57" y="565"/>
                  </a:cubicBezTo>
                  <a:cubicBezTo>
                    <a:pt x="54" y="558"/>
                    <a:pt x="46" y="563"/>
                    <a:pt x="43" y="558"/>
                  </a:cubicBezTo>
                  <a:cubicBezTo>
                    <a:pt x="39" y="551"/>
                    <a:pt x="52" y="554"/>
                    <a:pt x="54" y="554"/>
                  </a:cubicBezTo>
                  <a:cubicBezTo>
                    <a:pt x="61" y="552"/>
                    <a:pt x="58" y="545"/>
                    <a:pt x="54" y="543"/>
                  </a:cubicBezTo>
                  <a:cubicBezTo>
                    <a:pt x="50" y="541"/>
                    <a:pt x="52" y="539"/>
                    <a:pt x="52" y="536"/>
                  </a:cubicBezTo>
                  <a:cubicBezTo>
                    <a:pt x="52" y="534"/>
                    <a:pt x="49" y="530"/>
                    <a:pt x="48" y="528"/>
                  </a:cubicBezTo>
                  <a:cubicBezTo>
                    <a:pt x="47" y="526"/>
                    <a:pt x="45" y="525"/>
                    <a:pt x="44" y="523"/>
                  </a:cubicBezTo>
                  <a:cubicBezTo>
                    <a:pt x="43" y="520"/>
                    <a:pt x="44" y="516"/>
                    <a:pt x="43" y="513"/>
                  </a:cubicBezTo>
                  <a:cubicBezTo>
                    <a:pt x="42" y="507"/>
                    <a:pt x="32" y="506"/>
                    <a:pt x="27" y="505"/>
                  </a:cubicBezTo>
                  <a:cubicBezTo>
                    <a:pt x="21" y="503"/>
                    <a:pt x="16" y="512"/>
                    <a:pt x="11" y="506"/>
                  </a:cubicBezTo>
                  <a:cubicBezTo>
                    <a:pt x="10" y="504"/>
                    <a:pt x="3" y="495"/>
                    <a:pt x="10" y="495"/>
                  </a:cubicBezTo>
                  <a:cubicBezTo>
                    <a:pt x="8" y="492"/>
                    <a:pt x="5" y="489"/>
                    <a:pt x="2" y="487"/>
                  </a:cubicBezTo>
                  <a:cubicBezTo>
                    <a:pt x="0" y="485"/>
                    <a:pt x="1" y="480"/>
                    <a:pt x="0" y="47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Freeform 499">
              <a:extLst>
                <a:ext uri="{FF2B5EF4-FFF2-40B4-BE49-F238E27FC236}">
                  <a16:creationId xmlns:a16="http://schemas.microsoft.com/office/drawing/2014/main" id="{3769830C-7E77-4BD3-81C6-1178DA455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722" y="3752426"/>
              <a:ext cx="155718" cy="151269"/>
            </a:xfrm>
            <a:custGeom>
              <a:avLst/>
              <a:gdLst>
                <a:gd name="T0" fmla="*/ 2 w 72"/>
                <a:gd name="T1" fmla="*/ 32 h 70"/>
                <a:gd name="T2" fmla="*/ 4 w 72"/>
                <a:gd name="T3" fmla="*/ 46 h 70"/>
                <a:gd name="T4" fmla="*/ 7 w 72"/>
                <a:gd name="T5" fmla="*/ 60 h 70"/>
                <a:gd name="T6" fmla="*/ 23 w 72"/>
                <a:gd name="T7" fmla="*/ 66 h 70"/>
                <a:gd name="T8" fmla="*/ 39 w 72"/>
                <a:gd name="T9" fmla="*/ 69 h 70"/>
                <a:gd name="T10" fmla="*/ 47 w 72"/>
                <a:gd name="T11" fmla="*/ 64 h 70"/>
                <a:gd name="T12" fmla="*/ 57 w 72"/>
                <a:gd name="T13" fmla="*/ 52 h 70"/>
                <a:gd name="T14" fmla="*/ 58 w 72"/>
                <a:gd name="T15" fmla="*/ 37 h 70"/>
                <a:gd name="T16" fmla="*/ 65 w 72"/>
                <a:gd name="T17" fmla="*/ 21 h 70"/>
                <a:gd name="T18" fmla="*/ 67 w 72"/>
                <a:gd name="T19" fmla="*/ 10 h 70"/>
                <a:gd name="T20" fmla="*/ 57 w 72"/>
                <a:gd name="T21" fmla="*/ 11 h 70"/>
                <a:gd name="T22" fmla="*/ 51 w 72"/>
                <a:gd name="T23" fmla="*/ 11 h 70"/>
                <a:gd name="T24" fmla="*/ 38 w 72"/>
                <a:gd name="T25" fmla="*/ 11 h 70"/>
                <a:gd name="T26" fmla="*/ 24 w 72"/>
                <a:gd name="T27" fmla="*/ 10 h 70"/>
                <a:gd name="T28" fmla="*/ 26 w 72"/>
                <a:gd name="T29" fmla="*/ 13 h 70"/>
                <a:gd name="T30" fmla="*/ 17 w 72"/>
                <a:gd name="T31" fmla="*/ 11 h 70"/>
                <a:gd name="T32" fmla="*/ 19 w 72"/>
                <a:gd name="T33" fmla="*/ 18 h 70"/>
                <a:gd name="T34" fmla="*/ 2 w 72"/>
                <a:gd name="T35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0">
                  <a:moveTo>
                    <a:pt x="2" y="32"/>
                  </a:moveTo>
                  <a:cubicBezTo>
                    <a:pt x="0" y="34"/>
                    <a:pt x="3" y="43"/>
                    <a:pt x="4" y="46"/>
                  </a:cubicBezTo>
                  <a:cubicBezTo>
                    <a:pt x="4" y="50"/>
                    <a:pt x="4" y="57"/>
                    <a:pt x="7" y="60"/>
                  </a:cubicBezTo>
                  <a:cubicBezTo>
                    <a:pt x="11" y="64"/>
                    <a:pt x="18" y="64"/>
                    <a:pt x="23" y="66"/>
                  </a:cubicBezTo>
                  <a:cubicBezTo>
                    <a:pt x="27" y="69"/>
                    <a:pt x="34" y="70"/>
                    <a:pt x="39" y="69"/>
                  </a:cubicBezTo>
                  <a:cubicBezTo>
                    <a:pt x="37" y="64"/>
                    <a:pt x="45" y="60"/>
                    <a:pt x="47" y="64"/>
                  </a:cubicBezTo>
                  <a:cubicBezTo>
                    <a:pt x="45" y="62"/>
                    <a:pt x="55" y="54"/>
                    <a:pt x="57" y="52"/>
                  </a:cubicBezTo>
                  <a:cubicBezTo>
                    <a:pt x="59" y="50"/>
                    <a:pt x="62" y="39"/>
                    <a:pt x="58" y="37"/>
                  </a:cubicBezTo>
                  <a:cubicBezTo>
                    <a:pt x="62" y="35"/>
                    <a:pt x="66" y="25"/>
                    <a:pt x="65" y="21"/>
                  </a:cubicBezTo>
                  <a:cubicBezTo>
                    <a:pt x="72" y="27"/>
                    <a:pt x="68" y="12"/>
                    <a:pt x="67" y="10"/>
                  </a:cubicBezTo>
                  <a:cubicBezTo>
                    <a:pt x="65" y="5"/>
                    <a:pt x="52" y="0"/>
                    <a:pt x="57" y="11"/>
                  </a:cubicBezTo>
                  <a:cubicBezTo>
                    <a:pt x="55" y="8"/>
                    <a:pt x="47" y="5"/>
                    <a:pt x="51" y="11"/>
                  </a:cubicBezTo>
                  <a:cubicBezTo>
                    <a:pt x="49" y="3"/>
                    <a:pt x="40" y="8"/>
                    <a:pt x="38" y="11"/>
                  </a:cubicBezTo>
                  <a:cubicBezTo>
                    <a:pt x="36" y="7"/>
                    <a:pt x="28" y="7"/>
                    <a:pt x="24" y="10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3" y="14"/>
                    <a:pt x="20" y="10"/>
                    <a:pt x="17" y="11"/>
                  </a:cubicBezTo>
                  <a:cubicBezTo>
                    <a:pt x="13" y="12"/>
                    <a:pt x="15" y="17"/>
                    <a:pt x="19" y="18"/>
                  </a:cubicBezTo>
                  <a:cubicBezTo>
                    <a:pt x="11" y="20"/>
                    <a:pt x="7" y="27"/>
                    <a:pt x="2" y="3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Freeform 500">
              <a:extLst>
                <a:ext uri="{FF2B5EF4-FFF2-40B4-BE49-F238E27FC236}">
                  <a16:creationId xmlns:a16="http://schemas.microsoft.com/office/drawing/2014/main" id="{53669109-9110-4B78-8E2F-004419150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722" y="3752426"/>
              <a:ext cx="155718" cy="151269"/>
            </a:xfrm>
            <a:custGeom>
              <a:avLst/>
              <a:gdLst>
                <a:gd name="T0" fmla="*/ 2 w 72"/>
                <a:gd name="T1" fmla="*/ 32 h 70"/>
                <a:gd name="T2" fmla="*/ 4 w 72"/>
                <a:gd name="T3" fmla="*/ 46 h 70"/>
                <a:gd name="T4" fmla="*/ 7 w 72"/>
                <a:gd name="T5" fmla="*/ 60 h 70"/>
                <a:gd name="T6" fmla="*/ 23 w 72"/>
                <a:gd name="T7" fmla="*/ 66 h 70"/>
                <a:gd name="T8" fmla="*/ 39 w 72"/>
                <a:gd name="T9" fmla="*/ 69 h 70"/>
                <a:gd name="T10" fmla="*/ 47 w 72"/>
                <a:gd name="T11" fmla="*/ 64 h 70"/>
                <a:gd name="T12" fmla="*/ 57 w 72"/>
                <a:gd name="T13" fmla="*/ 52 h 70"/>
                <a:gd name="T14" fmla="*/ 58 w 72"/>
                <a:gd name="T15" fmla="*/ 37 h 70"/>
                <a:gd name="T16" fmla="*/ 65 w 72"/>
                <a:gd name="T17" fmla="*/ 21 h 70"/>
                <a:gd name="T18" fmla="*/ 67 w 72"/>
                <a:gd name="T19" fmla="*/ 10 h 70"/>
                <a:gd name="T20" fmla="*/ 57 w 72"/>
                <a:gd name="T21" fmla="*/ 11 h 70"/>
                <a:gd name="T22" fmla="*/ 51 w 72"/>
                <a:gd name="T23" fmla="*/ 11 h 70"/>
                <a:gd name="T24" fmla="*/ 38 w 72"/>
                <a:gd name="T25" fmla="*/ 11 h 70"/>
                <a:gd name="T26" fmla="*/ 24 w 72"/>
                <a:gd name="T27" fmla="*/ 10 h 70"/>
                <a:gd name="T28" fmla="*/ 26 w 72"/>
                <a:gd name="T29" fmla="*/ 13 h 70"/>
                <a:gd name="T30" fmla="*/ 17 w 72"/>
                <a:gd name="T31" fmla="*/ 11 h 70"/>
                <a:gd name="T32" fmla="*/ 19 w 72"/>
                <a:gd name="T33" fmla="*/ 18 h 70"/>
                <a:gd name="T34" fmla="*/ 2 w 72"/>
                <a:gd name="T35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0">
                  <a:moveTo>
                    <a:pt x="2" y="32"/>
                  </a:moveTo>
                  <a:cubicBezTo>
                    <a:pt x="0" y="34"/>
                    <a:pt x="3" y="43"/>
                    <a:pt x="4" y="46"/>
                  </a:cubicBezTo>
                  <a:cubicBezTo>
                    <a:pt x="4" y="50"/>
                    <a:pt x="4" y="57"/>
                    <a:pt x="7" y="60"/>
                  </a:cubicBezTo>
                  <a:cubicBezTo>
                    <a:pt x="11" y="64"/>
                    <a:pt x="18" y="64"/>
                    <a:pt x="23" y="66"/>
                  </a:cubicBezTo>
                  <a:cubicBezTo>
                    <a:pt x="27" y="69"/>
                    <a:pt x="34" y="70"/>
                    <a:pt x="39" y="69"/>
                  </a:cubicBezTo>
                  <a:cubicBezTo>
                    <a:pt x="37" y="64"/>
                    <a:pt x="45" y="60"/>
                    <a:pt x="47" y="64"/>
                  </a:cubicBezTo>
                  <a:cubicBezTo>
                    <a:pt x="45" y="62"/>
                    <a:pt x="55" y="54"/>
                    <a:pt x="57" y="52"/>
                  </a:cubicBezTo>
                  <a:cubicBezTo>
                    <a:pt x="59" y="50"/>
                    <a:pt x="62" y="39"/>
                    <a:pt x="58" y="37"/>
                  </a:cubicBezTo>
                  <a:cubicBezTo>
                    <a:pt x="62" y="35"/>
                    <a:pt x="66" y="25"/>
                    <a:pt x="65" y="21"/>
                  </a:cubicBezTo>
                  <a:cubicBezTo>
                    <a:pt x="72" y="27"/>
                    <a:pt x="68" y="12"/>
                    <a:pt x="67" y="10"/>
                  </a:cubicBezTo>
                  <a:cubicBezTo>
                    <a:pt x="65" y="5"/>
                    <a:pt x="52" y="0"/>
                    <a:pt x="57" y="11"/>
                  </a:cubicBezTo>
                  <a:cubicBezTo>
                    <a:pt x="55" y="8"/>
                    <a:pt x="47" y="5"/>
                    <a:pt x="51" y="11"/>
                  </a:cubicBezTo>
                  <a:cubicBezTo>
                    <a:pt x="49" y="3"/>
                    <a:pt x="40" y="8"/>
                    <a:pt x="38" y="11"/>
                  </a:cubicBezTo>
                  <a:cubicBezTo>
                    <a:pt x="36" y="7"/>
                    <a:pt x="28" y="7"/>
                    <a:pt x="24" y="10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3" y="14"/>
                    <a:pt x="20" y="10"/>
                    <a:pt x="17" y="11"/>
                  </a:cubicBezTo>
                  <a:cubicBezTo>
                    <a:pt x="13" y="12"/>
                    <a:pt x="15" y="17"/>
                    <a:pt x="19" y="18"/>
                  </a:cubicBezTo>
                  <a:cubicBezTo>
                    <a:pt x="11" y="20"/>
                    <a:pt x="7" y="27"/>
                    <a:pt x="2" y="3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Freeform 501">
              <a:extLst>
                <a:ext uri="{FF2B5EF4-FFF2-40B4-BE49-F238E27FC236}">
                  <a16:creationId xmlns:a16="http://schemas.microsoft.com/office/drawing/2014/main" id="{A94B47CA-3F38-497C-B187-A40A3C03E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6332" y="3369804"/>
              <a:ext cx="102329" cy="258048"/>
            </a:xfrm>
            <a:custGeom>
              <a:avLst/>
              <a:gdLst>
                <a:gd name="T0" fmla="*/ 2 w 47"/>
                <a:gd name="T1" fmla="*/ 62 h 118"/>
                <a:gd name="T2" fmla="*/ 3 w 47"/>
                <a:gd name="T3" fmla="*/ 71 h 118"/>
                <a:gd name="T4" fmla="*/ 4 w 47"/>
                <a:gd name="T5" fmla="*/ 77 h 118"/>
                <a:gd name="T6" fmla="*/ 11 w 47"/>
                <a:gd name="T7" fmla="*/ 93 h 118"/>
                <a:gd name="T8" fmla="*/ 25 w 47"/>
                <a:gd name="T9" fmla="*/ 105 h 118"/>
                <a:gd name="T10" fmla="*/ 31 w 47"/>
                <a:gd name="T11" fmla="*/ 116 h 118"/>
                <a:gd name="T12" fmla="*/ 33 w 47"/>
                <a:gd name="T13" fmla="*/ 104 h 118"/>
                <a:gd name="T14" fmla="*/ 36 w 47"/>
                <a:gd name="T15" fmla="*/ 91 h 118"/>
                <a:gd name="T16" fmla="*/ 44 w 47"/>
                <a:gd name="T17" fmla="*/ 49 h 118"/>
                <a:gd name="T18" fmla="*/ 43 w 47"/>
                <a:gd name="T19" fmla="*/ 41 h 118"/>
                <a:gd name="T20" fmla="*/ 45 w 47"/>
                <a:gd name="T21" fmla="*/ 34 h 118"/>
                <a:gd name="T22" fmla="*/ 44 w 47"/>
                <a:gd name="T23" fmla="*/ 17 h 118"/>
                <a:gd name="T24" fmla="*/ 44 w 47"/>
                <a:gd name="T25" fmla="*/ 9 h 118"/>
                <a:gd name="T26" fmla="*/ 31 w 47"/>
                <a:gd name="T27" fmla="*/ 2 h 118"/>
                <a:gd name="T28" fmla="*/ 18 w 47"/>
                <a:gd name="T29" fmla="*/ 12 h 118"/>
                <a:gd name="T30" fmla="*/ 13 w 47"/>
                <a:gd name="T31" fmla="*/ 25 h 118"/>
                <a:gd name="T32" fmla="*/ 7 w 47"/>
                <a:gd name="T33" fmla="*/ 39 h 118"/>
                <a:gd name="T34" fmla="*/ 2 w 47"/>
                <a:gd name="T35" fmla="*/ 6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118">
                  <a:moveTo>
                    <a:pt x="2" y="62"/>
                  </a:moveTo>
                  <a:cubicBezTo>
                    <a:pt x="2" y="65"/>
                    <a:pt x="4" y="67"/>
                    <a:pt x="3" y="71"/>
                  </a:cubicBezTo>
                  <a:cubicBezTo>
                    <a:pt x="2" y="73"/>
                    <a:pt x="1" y="75"/>
                    <a:pt x="4" y="77"/>
                  </a:cubicBezTo>
                  <a:cubicBezTo>
                    <a:pt x="8" y="81"/>
                    <a:pt x="9" y="88"/>
                    <a:pt x="11" y="93"/>
                  </a:cubicBezTo>
                  <a:cubicBezTo>
                    <a:pt x="14" y="99"/>
                    <a:pt x="21" y="100"/>
                    <a:pt x="25" y="105"/>
                  </a:cubicBezTo>
                  <a:cubicBezTo>
                    <a:pt x="26" y="107"/>
                    <a:pt x="28" y="118"/>
                    <a:pt x="31" y="116"/>
                  </a:cubicBezTo>
                  <a:cubicBezTo>
                    <a:pt x="35" y="114"/>
                    <a:pt x="33" y="107"/>
                    <a:pt x="33" y="104"/>
                  </a:cubicBezTo>
                  <a:cubicBezTo>
                    <a:pt x="32" y="99"/>
                    <a:pt x="33" y="95"/>
                    <a:pt x="36" y="91"/>
                  </a:cubicBezTo>
                  <a:cubicBezTo>
                    <a:pt x="43" y="80"/>
                    <a:pt x="45" y="61"/>
                    <a:pt x="44" y="49"/>
                  </a:cubicBezTo>
                  <a:cubicBezTo>
                    <a:pt x="44" y="47"/>
                    <a:pt x="42" y="43"/>
                    <a:pt x="43" y="41"/>
                  </a:cubicBezTo>
                  <a:cubicBezTo>
                    <a:pt x="44" y="38"/>
                    <a:pt x="45" y="37"/>
                    <a:pt x="45" y="34"/>
                  </a:cubicBezTo>
                  <a:cubicBezTo>
                    <a:pt x="46" y="28"/>
                    <a:pt x="44" y="23"/>
                    <a:pt x="44" y="17"/>
                  </a:cubicBezTo>
                  <a:cubicBezTo>
                    <a:pt x="44" y="14"/>
                    <a:pt x="47" y="11"/>
                    <a:pt x="44" y="9"/>
                  </a:cubicBezTo>
                  <a:cubicBezTo>
                    <a:pt x="42" y="7"/>
                    <a:pt x="33" y="0"/>
                    <a:pt x="31" y="2"/>
                  </a:cubicBezTo>
                  <a:cubicBezTo>
                    <a:pt x="27" y="6"/>
                    <a:pt x="20" y="7"/>
                    <a:pt x="18" y="12"/>
                  </a:cubicBezTo>
                  <a:cubicBezTo>
                    <a:pt x="16" y="17"/>
                    <a:pt x="17" y="20"/>
                    <a:pt x="13" y="25"/>
                  </a:cubicBezTo>
                  <a:cubicBezTo>
                    <a:pt x="9" y="29"/>
                    <a:pt x="9" y="35"/>
                    <a:pt x="7" y="39"/>
                  </a:cubicBezTo>
                  <a:cubicBezTo>
                    <a:pt x="5" y="47"/>
                    <a:pt x="0" y="54"/>
                    <a:pt x="2" y="6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Freeform 502">
              <a:extLst>
                <a:ext uri="{FF2B5EF4-FFF2-40B4-BE49-F238E27FC236}">
                  <a16:creationId xmlns:a16="http://schemas.microsoft.com/office/drawing/2014/main" id="{3307B0A3-925E-449A-90A6-45FE9E2E8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6332" y="3369804"/>
              <a:ext cx="102329" cy="258048"/>
            </a:xfrm>
            <a:custGeom>
              <a:avLst/>
              <a:gdLst>
                <a:gd name="T0" fmla="*/ 2 w 47"/>
                <a:gd name="T1" fmla="*/ 62 h 118"/>
                <a:gd name="T2" fmla="*/ 3 w 47"/>
                <a:gd name="T3" fmla="*/ 71 h 118"/>
                <a:gd name="T4" fmla="*/ 4 w 47"/>
                <a:gd name="T5" fmla="*/ 77 h 118"/>
                <a:gd name="T6" fmla="*/ 11 w 47"/>
                <a:gd name="T7" fmla="*/ 93 h 118"/>
                <a:gd name="T8" fmla="*/ 25 w 47"/>
                <a:gd name="T9" fmla="*/ 105 h 118"/>
                <a:gd name="T10" fmla="*/ 31 w 47"/>
                <a:gd name="T11" fmla="*/ 116 h 118"/>
                <a:gd name="T12" fmla="*/ 33 w 47"/>
                <a:gd name="T13" fmla="*/ 104 h 118"/>
                <a:gd name="T14" fmla="*/ 36 w 47"/>
                <a:gd name="T15" fmla="*/ 91 h 118"/>
                <a:gd name="T16" fmla="*/ 44 w 47"/>
                <a:gd name="T17" fmla="*/ 49 h 118"/>
                <a:gd name="T18" fmla="*/ 43 w 47"/>
                <a:gd name="T19" fmla="*/ 41 h 118"/>
                <a:gd name="T20" fmla="*/ 45 w 47"/>
                <a:gd name="T21" fmla="*/ 34 h 118"/>
                <a:gd name="T22" fmla="*/ 44 w 47"/>
                <a:gd name="T23" fmla="*/ 17 h 118"/>
                <a:gd name="T24" fmla="*/ 44 w 47"/>
                <a:gd name="T25" fmla="*/ 9 h 118"/>
                <a:gd name="T26" fmla="*/ 31 w 47"/>
                <a:gd name="T27" fmla="*/ 2 h 118"/>
                <a:gd name="T28" fmla="*/ 18 w 47"/>
                <a:gd name="T29" fmla="*/ 12 h 118"/>
                <a:gd name="T30" fmla="*/ 13 w 47"/>
                <a:gd name="T31" fmla="*/ 25 h 118"/>
                <a:gd name="T32" fmla="*/ 7 w 47"/>
                <a:gd name="T33" fmla="*/ 39 h 118"/>
                <a:gd name="T34" fmla="*/ 2 w 47"/>
                <a:gd name="T35" fmla="*/ 6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118">
                  <a:moveTo>
                    <a:pt x="2" y="62"/>
                  </a:moveTo>
                  <a:cubicBezTo>
                    <a:pt x="2" y="65"/>
                    <a:pt x="4" y="67"/>
                    <a:pt x="3" y="71"/>
                  </a:cubicBezTo>
                  <a:cubicBezTo>
                    <a:pt x="2" y="73"/>
                    <a:pt x="1" y="75"/>
                    <a:pt x="4" y="77"/>
                  </a:cubicBezTo>
                  <a:cubicBezTo>
                    <a:pt x="8" y="81"/>
                    <a:pt x="9" y="88"/>
                    <a:pt x="11" y="93"/>
                  </a:cubicBezTo>
                  <a:cubicBezTo>
                    <a:pt x="14" y="99"/>
                    <a:pt x="21" y="100"/>
                    <a:pt x="25" y="105"/>
                  </a:cubicBezTo>
                  <a:cubicBezTo>
                    <a:pt x="26" y="107"/>
                    <a:pt x="28" y="118"/>
                    <a:pt x="31" y="116"/>
                  </a:cubicBezTo>
                  <a:cubicBezTo>
                    <a:pt x="35" y="114"/>
                    <a:pt x="33" y="107"/>
                    <a:pt x="33" y="104"/>
                  </a:cubicBezTo>
                  <a:cubicBezTo>
                    <a:pt x="32" y="99"/>
                    <a:pt x="33" y="95"/>
                    <a:pt x="36" y="91"/>
                  </a:cubicBezTo>
                  <a:cubicBezTo>
                    <a:pt x="43" y="80"/>
                    <a:pt x="45" y="61"/>
                    <a:pt x="44" y="49"/>
                  </a:cubicBezTo>
                  <a:cubicBezTo>
                    <a:pt x="44" y="47"/>
                    <a:pt x="42" y="43"/>
                    <a:pt x="43" y="41"/>
                  </a:cubicBezTo>
                  <a:cubicBezTo>
                    <a:pt x="44" y="38"/>
                    <a:pt x="45" y="37"/>
                    <a:pt x="45" y="34"/>
                  </a:cubicBezTo>
                  <a:cubicBezTo>
                    <a:pt x="46" y="28"/>
                    <a:pt x="44" y="23"/>
                    <a:pt x="44" y="17"/>
                  </a:cubicBezTo>
                  <a:cubicBezTo>
                    <a:pt x="44" y="14"/>
                    <a:pt x="47" y="11"/>
                    <a:pt x="44" y="9"/>
                  </a:cubicBezTo>
                  <a:cubicBezTo>
                    <a:pt x="42" y="7"/>
                    <a:pt x="33" y="0"/>
                    <a:pt x="31" y="2"/>
                  </a:cubicBezTo>
                  <a:cubicBezTo>
                    <a:pt x="27" y="6"/>
                    <a:pt x="20" y="7"/>
                    <a:pt x="18" y="12"/>
                  </a:cubicBezTo>
                  <a:cubicBezTo>
                    <a:pt x="16" y="17"/>
                    <a:pt x="17" y="20"/>
                    <a:pt x="13" y="25"/>
                  </a:cubicBezTo>
                  <a:cubicBezTo>
                    <a:pt x="9" y="29"/>
                    <a:pt x="9" y="35"/>
                    <a:pt x="7" y="39"/>
                  </a:cubicBezTo>
                  <a:cubicBezTo>
                    <a:pt x="5" y="47"/>
                    <a:pt x="0" y="54"/>
                    <a:pt x="2" y="6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Freeform 503">
              <a:extLst>
                <a:ext uri="{FF2B5EF4-FFF2-40B4-BE49-F238E27FC236}">
                  <a16:creationId xmlns:a16="http://schemas.microsoft.com/office/drawing/2014/main" id="{9BD75993-B983-4D91-B884-AA60FF74D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2385" y="5892441"/>
              <a:ext cx="160167" cy="93431"/>
            </a:xfrm>
            <a:custGeom>
              <a:avLst/>
              <a:gdLst>
                <a:gd name="T0" fmla="*/ 1 w 74"/>
                <a:gd name="T1" fmla="*/ 32 h 42"/>
                <a:gd name="T2" fmla="*/ 11 w 74"/>
                <a:gd name="T3" fmla="*/ 33 h 42"/>
                <a:gd name="T4" fmla="*/ 34 w 74"/>
                <a:gd name="T5" fmla="*/ 24 h 42"/>
                <a:gd name="T6" fmla="*/ 70 w 74"/>
                <a:gd name="T7" fmla="*/ 5 h 42"/>
                <a:gd name="T8" fmla="*/ 59 w 74"/>
                <a:gd name="T9" fmla="*/ 2 h 42"/>
                <a:gd name="T10" fmla="*/ 39 w 74"/>
                <a:gd name="T11" fmla="*/ 6 h 42"/>
                <a:gd name="T12" fmla="*/ 16 w 74"/>
                <a:gd name="T13" fmla="*/ 9 h 42"/>
                <a:gd name="T14" fmla="*/ 6 w 74"/>
                <a:gd name="T15" fmla="*/ 11 h 42"/>
                <a:gd name="T16" fmla="*/ 0 w 74"/>
                <a:gd name="T17" fmla="*/ 19 h 42"/>
                <a:gd name="T18" fmla="*/ 2 w 74"/>
                <a:gd name="T19" fmla="*/ 3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42">
                  <a:moveTo>
                    <a:pt x="1" y="32"/>
                  </a:moveTo>
                  <a:cubicBezTo>
                    <a:pt x="2" y="42"/>
                    <a:pt x="4" y="37"/>
                    <a:pt x="11" y="33"/>
                  </a:cubicBezTo>
                  <a:cubicBezTo>
                    <a:pt x="17" y="29"/>
                    <a:pt x="27" y="27"/>
                    <a:pt x="34" y="24"/>
                  </a:cubicBezTo>
                  <a:cubicBezTo>
                    <a:pt x="46" y="20"/>
                    <a:pt x="62" y="16"/>
                    <a:pt x="70" y="5"/>
                  </a:cubicBezTo>
                  <a:cubicBezTo>
                    <a:pt x="74" y="0"/>
                    <a:pt x="62" y="1"/>
                    <a:pt x="59" y="2"/>
                  </a:cubicBezTo>
                  <a:cubicBezTo>
                    <a:pt x="52" y="4"/>
                    <a:pt x="46" y="5"/>
                    <a:pt x="39" y="6"/>
                  </a:cubicBezTo>
                  <a:cubicBezTo>
                    <a:pt x="31" y="7"/>
                    <a:pt x="24" y="7"/>
                    <a:pt x="16" y="9"/>
                  </a:cubicBezTo>
                  <a:cubicBezTo>
                    <a:pt x="13" y="9"/>
                    <a:pt x="9" y="9"/>
                    <a:pt x="6" y="11"/>
                  </a:cubicBezTo>
                  <a:cubicBezTo>
                    <a:pt x="3" y="13"/>
                    <a:pt x="3" y="17"/>
                    <a:pt x="0" y="19"/>
                  </a:cubicBezTo>
                  <a:cubicBezTo>
                    <a:pt x="7" y="22"/>
                    <a:pt x="5" y="25"/>
                    <a:pt x="2" y="3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Freeform 504">
              <a:extLst>
                <a:ext uri="{FF2B5EF4-FFF2-40B4-BE49-F238E27FC236}">
                  <a16:creationId xmlns:a16="http://schemas.microsoft.com/office/drawing/2014/main" id="{FA96EAE9-8721-4BE7-8ED7-16FA2BED4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2385" y="5892441"/>
              <a:ext cx="160167" cy="93431"/>
            </a:xfrm>
            <a:custGeom>
              <a:avLst/>
              <a:gdLst>
                <a:gd name="T0" fmla="*/ 1 w 74"/>
                <a:gd name="T1" fmla="*/ 32 h 42"/>
                <a:gd name="T2" fmla="*/ 11 w 74"/>
                <a:gd name="T3" fmla="*/ 33 h 42"/>
                <a:gd name="T4" fmla="*/ 34 w 74"/>
                <a:gd name="T5" fmla="*/ 24 h 42"/>
                <a:gd name="T6" fmla="*/ 70 w 74"/>
                <a:gd name="T7" fmla="*/ 5 h 42"/>
                <a:gd name="T8" fmla="*/ 59 w 74"/>
                <a:gd name="T9" fmla="*/ 2 h 42"/>
                <a:gd name="T10" fmla="*/ 39 w 74"/>
                <a:gd name="T11" fmla="*/ 6 h 42"/>
                <a:gd name="T12" fmla="*/ 16 w 74"/>
                <a:gd name="T13" fmla="*/ 9 h 42"/>
                <a:gd name="T14" fmla="*/ 6 w 74"/>
                <a:gd name="T15" fmla="*/ 11 h 42"/>
                <a:gd name="T16" fmla="*/ 0 w 74"/>
                <a:gd name="T17" fmla="*/ 19 h 42"/>
                <a:gd name="T18" fmla="*/ 2 w 74"/>
                <a:gd name="T19" fmla="*/ 3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42">
                  <a:moveTo>
                    <a:pt x="1" y="32"/>
                  </a:moveTo>
                  <a:cubicBezTo>
                    <a:pt x="2" y="42"/>
                    <a:pt x="4" y="37"/>
                    <a:pt x="11" y="33"/>
                  </a:cubicBezTo>
                  <a:cubicBezTo>
                    <a:pt x="17" y="29"/>
                    <a:pt x="27" y="27"/>
                    <a:pt x="34" y="24"/>
                  </a:cubicBezTo>
                  <a:cubicBezTo>
                    <a:pt x="46" y="20"/>
                    <a:pt x="62" y="16"/>
                    <a:pt x="70" y="5"/>
                  </a:cubicBezTo>
                  <a:cubicBezTo>
                    <a:pt x="74" y="0"/>
                    <a:pt x="62" y="1"/>
                    <a:pt x="59" y="2"/>
                  </a:cubicBezTo>
                  <a:cubicBezTo>
                    <a:pt x="52" y="4"/>
                    <a:pt x="46" y="5"/>
                    <a:pt x="39" y="6"/>
                  </a:cubicBezTo>
                  <a:cubicBezTo>
                    <a:pt x="31" y="7"/>
                    <a:pt x="24" y="7"/>
                    <a:pt x="16" y="9"/>
                  </a:cubicBezTo>
                  <a:cubicBezTo>
                    <a:pt x="13" y="9"/>
                    <a:pt x="9" y="9"/>
                    <a:pt x="6" y="11"/>
                  </a:cubicBezTo>
                  <a:cubicBezTo>
                    <a:pt x="3" y="13"/>
                    <a:pt x="3" y="17"/>
                    <a:pt x="0" y="19"/>
                  </a:cubicBezTo>
                  <a:cubicBezTo>
                    <a:pt x="7" y="22"/>
                    <a:pt x="5" y="25"/>
                    <a:pt x="2" y="3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Freeform 505">
              <a:extLst>
                <a:ext uri="{FF2B5EF4-FFF2-40B4-BE49-F238E27FC236}">
                  <a16:creationId xmlns:a16="http://schemas.microsoft.com/office/drawing/2014/main" id="{1FADC0D5-BDD1-47C9-B3BE-F61D739CA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6750" y="5959178"/>
              <a:ext cx="40042" cy="26695"/>
            </a:xfrm>
            <a:custGeom>
              <a:avLst/>
              <a:gdLst>
                <a:gd name="T0" fmla="*/ 0 w 18"/>
                <a:gd name="T1" fmla="*/ 8 h 12"/>
                <a:gd name="T2" fmla="*/ 18 w 18"/>
                <a:gd name="T3" fmla="*/ 0 h 12"/>
                <a:gd name="T4" fmla="*/ 12 w 18"/>
                <a:gd name="T5" fmla="*/ 12 h 12"/>
                <a:gd name="T6" fmla="*/ 10 w 18"/>
                <a:gd name="T7" fmla="*/ 8 h 12"/>
                <a:gd name="T8" fmla="*/ 0 w 18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5" y="4"/>
                    <a:pt x="11" y="1"/>
                    <a:pt x="18" y="0"/>
                  </a:cubicBezTo>
                  <a:cubicBezTo>
                    <a:pt x="17" y="5"/>
                    <a:pt x="12" y="7"/>
                    <a:pt x="12" y="12"/>
                  </a:cubicBezTo>
                  <a:cubicBezTo>
                    <a:pt x="11" y="11"/>
                    <a:pt x="11" y="9"/>
                    <a:pt x="10" y="8"/>
                  </a:cubicBezTo>
                  <a:cubicBezTo>
                    <a:pt x="7" y="12"/>
                    <a:pt x="3" y="9"/>
                    <a:pt x="0" y="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Freeform 506">
              <a:extLst>
                <a:ext uri="{FF2B5EF4-FFF2-40B4-BE49-F238E27FC236}">
                  <a16:creationId xmlns:a16="http://schemas.microsoft.com/office/drawing/2014/main" id="{CDAFDB9C-97B2-4A6F-969B-BACB80F6D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6750" y="5959178"/>
              <a:ext cx="40042" cy="26695"/>
            </a:xfrm>
            <a:custGeom>
              <a:avLst/>
              <a:gdLst>
                <a:gd name="T0" fmla="*/ 0 w 18"/>
                <a:gd name="T1" fmla="*/ 8 h 12"/>
                <a:gd name="T2" fmla="*/ 18 w 18"/>
                <a:gd name="T3" fmla="*/ 0 h 12"/>
                <a:gd name="T4" fmla="*/ 12 w 18"/>
                <a:gd name="T5" fmla="*/ 12 h 12"/>
                <a:gd name="T6" fmla="*/ 10 w 18"/>
                <a:gd name="T7" fmla="*/ 8 h 12"/>
                <a:gd name="T8" fmla="*/ 0 w 18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0" y="8"/>
                  </a:moveTo>
                  <a:cubicBezTo>
                    <a:pt x="5" y="4"/>
                    <a:pt x="11" y="1"/>
                    <a:pt x="18" y="0"/>
                  </a:cubicBezTo>
                  <a:cubicBezTo>
                    <a:pt x="17" y="5"/>
                    <a:pt x="12" y="7"/>
                    <a:pt x="12" y="12"/>
                  </a:cubicBezTo>
                  <a:cubicBezTo>
                    <a:pt x="11" y="11"/>
                    <a:pt x="11" y="9"/>
                    <a:pt x="10" y="8"/>
                  </a:cubicBezTo>
                  <a:cubicBezTo>
                    <a:pt x="7" y="12"/>
                    <a:pt x="3" y="9"/>
                    <a:pt x="0" y="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Freeform 507">
              <a:extLst>
                <a:ext uri="{FF2B5EF4-FFF2-40B4-BE49-F238E27FC236}">
                  <a16:creationId xmlns:a16="http://schemas.microsoft.com/office/drawing/2014/main" id="{B0F714CD-6642-4AAC-899F-9364BB8F1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2160" y="3578911"/>
              <a:ext cx="17796" cy="35593"/>
            </a:xfrm>
            <a:custGeom>
              <a:avLst/>
              <a:gdLst>
                <a:gd name="T0" fmla="*/ 0 w 7"/>
                <a:gd name="T1" fmla="*/ 15 h 15"/>
                <a:gd name="T2" fmla="*/ 0 w 7"/>
                <a:gd name="T3" fmla="*/ 0 h 15"/>
                <a:gd name="T4" fmla="*/ 0 w 7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0" y="15"/>
                  </a:moveTo>
                  <a:cubicBezTo>
                    <a:pt x="7" y="12"/>
                    <a:pt x="3" y="5"/>
                    <a:pt x="0" y="0"/>
                  </a:cubicBezTo>
                  <a:cubicBezTo>
                    <a:pt x="1" y="5"/>
                    <a:pt x="1" y="10"/>
                    <a:pt x="0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Freeform 508">
              <a:extLst>
                <a:ext uri="{FF2B5EF4-FFF2-40B4-BE49-F238E27FC236}">
                  <a16:creationId xmlns:a16="http://schemas.microsoft.com/office/drawing/2014/main" id="{F89A5C4A-0DE9-4B49-BB1B-E48CFFFEE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2160" y="3578911"/>
              <a:ext cx="17796" cy="35593"/>
            </a:xfrm>
            <a:custGeom>
              <a:avLst/>
              <a:gdLst>
                <a:gd name="T0" fmla="*/ 0 w 7"/>
                <a:gd name="T1" fmla="*/ 15 h 15"/>
                <a:gd name="T2" fmla="*/ 0 w 7"/>
                <a:gd name="T3" fmla="*/ 0 h 15"/>
                <a:gd name="T4" fmla="*/ 0 w 7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5">
                  <a:moveTo>
                    <a:pt x="0" y="15"/>
                  </a:moveTo>
                  <a:cubicBezTo>
                    <a:pt x="7" y="12"/>
                    <a:pt x="3" y="5"/>
                    <a:pt x="0" y="0"/>
                  </a:cubicBezTo>
                  <a:cubicBezTo>
                    <a:pt x="1" y="5"/>
                    <a:pt x="1" y="10"/>
                    <a:pt x="0" y="1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Freeform 509">
              <a:extLst>
                <a:ext uri="{FF2B5EF4-FFF2-40B4-BE49-F238E27FC236}">
                  <a16:creationId xmlns:a16="http://schemas.microsoft.com/office/drawing/2014/main" id="{C3B46430-8EA2-427A-BAF2-D75F40E6B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481" y="1216441"/>
              <a:ext cx="507197" cy="618424"/>
            </a:xfrm>
            <a:custGeom>
              <a:avLst/>
              <a:gdLst>
                <a:gd name="T0" fmla="*/ 15 w 233"/>
                <a:gd name="T1" fmla="*/ 14 h 285"/>
                <a:gd name="T2" fmla="*/ 21 w 233"/>
                <a:gd name="T3" fmla="*/ 19 h 285"/>
                <a:gd name="T4" fmla="*/ 28 w 233"/>
                <a:gd name="T5" fmla="*/ 24 h 285"/>
                <a:gd name="T6" fmla="*/ 22 w 233"/>
                <a:gd name="T7" fmla="*/ 25 h 285"/>
                <a:gd name="T8" fmla="*/ 30 w 233"/>
                <a:gd name="T9" fmla="*/ 30 h 285"/>
                <a:gd name="T10" fmla="*/ 25 w 233"/>
                <a:gd name="T11" fmla="*/ 35 h 285"/>
                <a:gd name="T12" fmla="*/ 20 w 233"/>
                <a:gd name="T13" fmla="*/ 31 h 285"/>
                <a:gd name="T14" fmla="*/ 19 w 233"/>
                <a:gd name="T15" fmla="*/ 42 h 285"/>
                <a:gd name="T16" fmla="*/ 34 w 233"/>
                <a:gd name="T17" fmla="*/ 61 h 285"/>
                <a:gd name="T18" fmla="*/ 44 w 233"/>
                <a:gd name="T19" fmla="*/ 80 h 285"/>
                <a:gd name="T20" fmla="*/ 79 w 233"/>
                <a:gd name="T21" fmla="*/ 106 h 285"/>
                <a:gd name="T22" fmla="*/ 89 w 233"/>
                <a:gd name="T23" fmla="*/ 124 h 285"/>
                <a:gd name="T24" fmla="*/ 105 w 233"/>
                <a:gd name="T25" fmla="*/ 143 h 285"/>
                <a:gd name="T26" fmla="*/ 127 w 233"/>
                <a:gd name="T27" fmla="*/ 180 h 285"/>
                <a:gd name="T28" fmla="*/ 155 w 233"/>
                <a:gd name="T29" fmla="*/ 212 h 285"/>
                <a:gd name="T30" fmla="*/ 160 w 233"/>
                <a:gd name="T31" fmla="*/ 230 h 285"/>
                <a:gd name="T32" fmla="*/ 174 w 233"/>
                <a:gd name="T33" fmla="*/ 246 h 285"/>
                <a:gd name="T34" fmla="*/ 181 w 233"/>
                <a:gd name="T35" fmla="*/ 265 h 285"/>
                <a:gd name="T36" fmla="*/ 201 w 233"/>
                <a:gd name="T37" fmla="*/ 285 h 285"/>
                <a:gd name="T38" fmla="*/ 198 w 233"/>
                <a:gd name="T39" fmla="*/ 274 h 285"/>
                <a:gd name="T40" fmla="*/ 196 w 233"/>
                <a:gd name="T41" fmla="*/ 265 h 285"/>
                <a:gd name="T42" fmla="*/ 203 w 233"/>
                <a:gd name="T43" fmla="*/ 260 h 285"/>
                <a:gd name="T44" fmla="*/ 221 w 233"/>
                <a:gd name="T45" fmla="*/ 264 h 285"/>
                <a:gd name="T46" fmla="*/ 233 w 233"/>
                <a:gd name="T47" fmla="*/ 278 h 285"/>
                <a:gd name="T48" fmla="*/ 226 w 233"/>
                <a:gd name="T49" fmla="*/ 263 h 285"/>
                <a:gd name="T50" fmla="*/ 221 w 233"/>
                <a:gd name="T51" fmla="*/ 256 h 285"/>
                <a:gd name="T52" fmla="*/ 210 w 233"/>
                <a:gd name="T53" fmla="*/ 253 h 285"/>
                <a:gd name="T54" fmla="*/ 216 w 233"/>
                <a:gd name="T55" fmla="*/ 256 h 285"/>
                <a:gd name="T56" fmla="*/ 198 w 233"/>
                <a:gd name="T57" fmla="*/ 242 h 285"/>
                <a:gd name="T58" fmla="*/ 171 w 233"/>
                <a:gd name="T59" fmla="*/ 222 h 285"/>
                <a:gd name="T60" fmla="*/ 155 w 233"/>
                <a:gd name="T61" fmla="*/ 183 h 285"/>
                <a:gd name="T62" fmla="*/ 154 w 233"/>
                <a:gd name="T63" fmla="*/ 172 h 285"/>
                <a:gd name="T64" fmla="*/ 164 w 233"/>
                <a:gd name="T65" fmla="*/ 170 h 285"/>
                <a:gd name="T66" fmla="*/ 153 w 233"/>
                <a:gd name="T67" fmla="*/ 168 h 285"/>
                <a:gd name="T68" fmla="*/ 182 w 233"/>
                <a:gd name="T69" fmla="*/ 174 h 285"/>
                <a:gd name="T70" fmla="*/ 198 w 233"/>
                <a:gd name="T71" fmla="*/ 184 h 285"/>
                <a:gd name="T72" fmla="*/ 210 w 233"/>
                <a:gd name="T73" fmla="*/ 192 h 285"/>
                <a:gd name="T74" fmla="*/ 201 w 233"/>
                <a:gd name="T75" fmla="*/ 184 h 285"/>
                <a:gd name="T76" fmla="*/ 189 w 233"/>
                <a:gd name="T77" fmla="*/ 177 h 285"/>
                <a:gd name="T78" fmla="*/ 164 w 233"/>
                <a:gd name="T79" fmla="*/ 153 h 285"/>
                <a:gd name="T80" fmla="*/ 111 w 233"/>
                <a:gd name="T81" fmla="*/ 103 h 285"/>
                <a:gd name="T82" fmla="*/ 108 w 233"/>
                <a:gd name="T83" fmla="*/ 102 h 285"/>
                <a:gd name="T84" fmla="*/ 98 w 233"/>
                <a:gd name="T85" fmla="*/ 92 h 285"/>
                <a:gd name="T86" fmla="*/ 100 w 233"/>
                <a:gd name="T87" fmla="*/ 95 h 285"/>
                <a:gd name="T88" fmla="*/ 94 w 233"/>
                <a:gd name="T89" fmla="*/ 91 h 285"/>
                <a:gd name="T90" fmla="*/ 87 w 233"/>
                <a:gd name="T91" fmla="*/ 84 h 285"/>
                <a:gd name="T92" fmla="*/ 71 w 233"/>
                <a:gd name="T93" fmla="*/ 63 h 285"/>
                <a:gd name="T94" fmla="*/ 75 w 233"/>
                <a:gd name="T95" fmla="*/ 69 h 285"/>
                <a:gd name="T96" fmla="*/ 45 w 233"/>
                <a:gd name="T97" fmla="*/ 35 h 285"/>
                <a:gd name="T98" fmla="*/ 65 w 233"/>
                <a:gd name="T99" fmla="*/ 51 h 285"/>
                <a:gd name="T100" fmla="*/ 49 w 233"/>
                <a:gd name="T101" fmla="*/ 35 h 285"/>
                <a:gd name="T102" fmla="*/ 27 w 233"/>
                <a:gd name="T103" fmla="*/ 20 h 285"/>
                <a:gd name="T104" fmla="*/ 33 w 233"/>
                <a:gd name="T105" fmla="*/ 24 h 285"/>
                <a:gd name="T106" fmla="*/ 26 w 233"/>
                <a:gd name="T107" fmla="*/ 18 h 285"/>
                <a:gd name="T108" fmla="*/ 23 w 233"/>
                <a:gd name="T109" fmla="*/ 11 h 285"/>
                <a:gd name="T110" fmla="*/ 7 w 233"/>
                <a:gd name="T111" fmla="*/ 0 h 285"/>
                <a:gd name="T112" fmla="*/ 0 w 233"/>
                <a:gd name="T113" fmla="*/ 5 h 285"/>
                <a:gd name="T114" fmla="*/ 15 w 233"/>
                <a:gd name="T115" fmla="*/ 14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" h="285">
                  <a:moveTo>
                    <a:pt x="15" y="14"/>
                  </a:moveTo>
                  <a:cubicBezTo>
                    <a:pt x="18" y="15"/>
                    <a:pt x="21" y="17"/>
                    <a:pt x="21" y="19"/>
                  </a:cubicBezTo>
                  <a:cubicBezTo>
                    <a:pt x="22" y="23"/>
                    <a:pt x="26" y="21"/>
                    <a:pt x="28" y="24"/>
                  </a:cubicBezTo>
                  <a:cubicBezTo>
                    <a:pt x="26" y="24"/>
                    <a:pt x="24" y="25"/>
                    <a:pt x="22" y="25"/>
                  </a:cubicBezTo>
                  <a:cubicBezTo>
                    <a:pt x="23" y="28"/>
                    <a:pt x="27" y="28"/>
                    <a:pt x="30" y="30"/>
                  </a:cubicBezTo>
                  <a:cubicBezTo>
                    <a:pt x="29" y="31"/>
                    <a:pt x="28" y="35"/>
                    <a:pt x="25" y="35"/>
                  </a:cubicBezTo>
                  <a:cubicBezTo>
                    <a:pt x="22" y="35"/>
                    <a:pt x="23" y="32"/>
                    <a:pt x="20" y="31"/>
                  </a:cubicBezTo>
                  <a:cubicBezTo>
                    <a:pt x="8" y="27"/>
                    <a:pt x="15" y="38"/>
                    <a:pt x="19" y="42"/>
                  </a:cubicBezTo>
                  <a:cubicBezTo>
                    <a:pt x="24" y="48"/>
                    <a:pt x="31" y="53"/>
                    <a:pt x="34" y="61"/>
                  </a:cubicBezTo>
                  <a:cubicBezTo>
                    <a:pt x="37" y="68"/>
                    <a:pt x="39" y="73"/>
                    <a:pt x="44" y="80"/>
                  </a:cubicBezTo>
                  <a:cubicBezTo>
                    <a:pt x="52" y="91"/>
                    <a:pt x="69" y="96"/>
                    <a:pt x="79" y="106"/>
                  </a:cubicBezTo>
                  <a:cubicBezTo>
                    <a:pt x="84" y="111"/>
                    <a:pt x="86" y="118"/>
                    <a:pt x="89" y="124"/>
                  </a:cubicBezTo>
                  <a:cubicBezTo>
                    <a:pt x="93" y="131"/>
                    <a:pt x="100" y="136"/>
                    <a:pt x="105" y="143"/>
                  </a:cubicBezTo>
                  <a:cubicBezTo>
                    <a:pt x="114" y="155"/>
                    <a:pt x="122" y="166"/>
                    <a:pt x="127" y="180"/>
                  </a:cubicBezTo>
                  <a:cubicBezTo>
                    <a:pt x="132" y="195"/>
                    <a:pt x="147" y="199"/>
                    <a:pt x="155" y="212"/>
                  </a:cubicBezTo>
                  <a:cubicBezTo>
                    <a:pt x="158" y="217"/>
                    <a:pt x="157" y="224"/>
                    <a:pt x="160" y="230"/>
                  </a:cubicBezTo>
                  <a:cubicBezTo>
                    <a:pt x="164" y="236"/>
                    <a:pt x="171" y="240"/>
                    <a:pt x="174" y="246"/>
                  </a:cubicBezTo>
                  <a:cubicBezTo>
                    <a:pt x="177" y="252"/>
                    <a:pt x="177" y="260"/>
                    <a:pt x="181" y="265"/>
                  </a:cubicBezTo>
                  <a:cubicBezTo>
                    <a:pt x="186" y="273"/>
                    <a:pt x="193" y="280"/>
                    <a:pt x="201" y="285"/>
                  </a:cubicBezTo>
                  <a:cubicBezTo>
                    <a:pt x="199" y="282"/>
                    <a:pt x="200" y="278"/>
                    <a:pt x="198" y="274"/>
                  </a:cubicBezTo>
                  <a:cubicBezTo>
                    <a:pt x="197" y="271"/>
                    <a:pt x="196" y="268"/>
                    <a:pt x="196" y="265"/>
                  </a:cubicBezTo>
                  <a:cubicBezTo>
                    <a:pt x="195" y="260"/>
                    <a:pt x="198" y="253"/>
                    <a:pt x="203" y="260"/>
                  </a:cubicBezTo>
                  <a:cubicBezTo>
                    <a:pt x="206" y="264"/>
                    <a:pt x="217" y="261"/>
                    <a:pt x="221" y="264"/>
                  </a:cubicBezTo>
                  <a:cubicBezTo>
                    <a:pt x="226" y="267"/>
                    <a:pt x="230" y="274"/>
                    <a:pt x="233" y="278"/>
                  </a:cubicBezTo>
                  <a:cubicBezTo>
                    <a:pt x="232" y="273"/>
                    <a:pt x="230" y="268"/>
                    <a:pt x="226" y="263"/>
                  </a:cubicBezTo>
                  <a:cubicBezTo>
                    <a:pt x="224" y="261"/>
                    <a:pt x="223" y="258"/>
                    <a:pt x="221" y="256"/>
                  </a:cubicBezTo>
                  <a:cubicBezTo>
                    <a:pt x="217" y="253"/>
                    <a:pt x="214" y="256"/>
                    <a:pt x="210" y="253"/>
                  </a:cubicBezTo>
                  <a:cubicBezTo>
                    <a:pt x="212" y="255"/>
                    <a:pt x="214" y="256"/>
                    <a:pt x="216" y="256"/>
                  </a:cubicBezTo>
                  <a:cubicBezTo>
                    <a:pt x="210" y="261"/>
                    <a:pt x="201" y="246"/>
                    <a:pt x="198" y="242"/>
                  </a:cubicBezTo>
                  <a:cubicBezTo>
                    <a:pt x="191" y="233"/>
                    <a:pt x="179" y="230"/>
                    <a:pt x="171" y="222"/>
                  </a:cubicBezTo>
                  <a:cubicBezTo>
                    <a:pt x="161" y="211"/>
                    <a:pt x="161" y="196"/>
                    <a:pt x="155" y="183"/>
                  </a:cubicBezTo>
                  <a:cubicBezTo>
                    <a:pt x="153" y="180"/>
                    <a:pt x="149" y="175"/>
                    <a:pt x="154" y="172"/>
                  </a:cubicBezTo>
                  <a:cubicBezTo>
                    <a:pt x="157" y="170"/>
                    <a:pt x="161" y="170"/>
                    <a:pt x="164" y="170"/>
                  </a:cubicBezTo>
                  <a:cubicBezTo>
                    <a:pt x="161" y="169"/>
                    <a:pt x="157" y="170"/>
                    <a:pt x="153" y="168"/>
                  </a:cubicBezTo>
                  <a:cubicBezTo>
                    <a:pt x="158" y="164"/>
                    <a:pt x="178" y="172"/>
                    <a:pt x="182" y="174"/>
                  </a:cubicBezTo>
                  <a:cubicBezTo>
                    <a:pt x="187" y="177"/>
                    <a:pt x="193" y="180"/>
                    <a:pt x="198" y="184"/>
                  </a:cubicBezTo>
                  <a:cubicBezTo>
                    <a:pt x="202" y="187"/>
                    <a:pt x="205" y="191"/>
                    <a:pt x="210" y="192"/>
                  </a:cubicBezTo>
                  <a:cubicBezTo>
                    <a:pt x="206" y="190"/>
                    <a:pt x="204" y="187"/>
                    <a:pt x="201" y="184"/>
                  </a:cubicBezTo>
                  <a:cubicBezTo>
                    <a:pt x="197" y="181"/>
                    <a:pt x="193" y="179"/>
                    <a:pt x="189" y="177"/>
                  </a:cubicBezTo>
                  <a:cubicBezTo>
                    <a:pt x="179" y="170"/>
                    <a:pt x="172" y="161"/>
                    <a:pt x="164" y="153"/>
                  </a:cubicBezTo>
                  <a:cubicBezTo>
                    <a:pt x="146" y="136"/>
                    <a:pt x="128" y="120"/>
                    <a:pt x="111" y="103"/>
                  </a:cubicBezTo>
                  <a:cubicBezTo>
                    <a:pt x="117" y="110"/>
                    <a:pt x="108" y="103"/>
                    <a:pt x="108" y="102"/>
                  </a:cubicBezTo>
                  <a:cubicBezTo>
                    <a:pt x="105" y="98"/>
                    <a:pt x="102" y="95"/>
                    <a:pt x="98" y="92"/>
                  </a:cubicBezTo>
                  <a:cubicBezTo>
                    <a:pt x="99" y="93"/>
                    <a:pt x="99" y="94"/>
                    <a:pt x="100" y="95"/>
                  </a:cubicBezTo>
                  <a:cubicBezTo>
                    <a:pt x="97" y="96"/>
                    <a:pt x="95" y="93"/>
                    <a:pt x="94" y="91"/>
                  </a:cubicBezTo>
                  <a:cubicBezTo>
                    <a:pt x="93" y="87"/>
                    <a:pt x="91" y="86"/>
                    <a:pt x="87" y="84"/>
                  </a:cubicBezTo>
                  <a:cubicBezTo>
                    <a:pt x="81" y="81"/>
                    <a:pt x="73" y="70"/>
                    <a:pt x="71" y="63"/>
                  </a:cubicBezTo>
                  <a:cubicBezTo>
                    <a:pt x="72" y="65"/>
                    <a:pt x="74" y="67"/>
                    <a:pt x="75" y="69"/>
                  </a:cubicBezTo>
                  <a:cubicBezTo>
                    <a:pt x="75" y="50"/>
                    <a:pt x="49" y="51"/>
                    <a:pt x="45" y="35"/>
                  </a:cubicBezTo>
                  <a:cubicBezTo>
                    <a:pt x="52" y="35"/>
                    <a:pt x="60" y="47"/>
                    <a:pt x="65" y="51"/>
                  </a:cubicBezTo>
                  <a:cubicBezTo>
                    <a:pt x="60" y="46"/>
                    <a:pt x="55" y="39"/>
                    <a:pt x="49" y="35"/>
                  </a:cubicBezTo>
                  <a:cubicBezTo>
                    <a:pt x="41" y="31"/>
                    <a:pt x="35" y="24"/>
                    <a:pt x="27" y="20"/>
                  </a:cubicBezTo>
                  <a:cubicBezTo>
                    <a:pt x="29" y="21"/>
                    <a:pt x="31" y="22"/>
                    <a:pt x="33" y="24"/>
                  </a:cubicBezTo>
                  <a:cubicBezTo>
                    <a:pt x="31" y="22"/>
                    <a:pt x="29" y="20"/>
                    <a:pt x="26" y="18"/>
                  </a:cubicBezTo>
                  <a:cubicBezTo>
                    <a:pt x="23" y="17"/>
                    <a:pt x="25" y="14"/>
                    <a:pt x="23" y="11"/>
                  </a:cubicBezTo>
                  <a:cubicBezTo>
                    <a:pt x="19" y="6"/>
                    <a:pt x="12" y="4"/>
                    <a:pt x="7" y="0"/>
                  </a:cubicBezTo>
                  <a:cubicBezTo>
                    <a:pt x="7" y="4"/>
                    <a:pt x="3" y="6"/>
                    <a:pt x="0" y="5"/>
                  </a:cubicBezTo>
                  <a:cubicBezTo>
                    <a:pt x="5" y="7"/>
                    <a:pt x="11" y="10"/>
                    <a:pt x="15" y="1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Freeform 510">
              <a:extLst>
                <a:ext uri="{FF2B5EF4-FFF2-40B4-BE49-F238E27FC236}">
                  <a16:creationId xmlns:a16="http://schemas.microsoft.com/office/drawing/2014/main" id="{FB80CEDF-8C9D-4C10-B388-EDF3BB8D6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5481" y="1216441"/>
              <a:ext cx="507197" cy="618424"/>
            </a:xfrm>
            <a:custGeom>
              <a:avLst/>
              <a:gdLst>
                <a:gd name="T0" fmla="*/ 15 w 233"/>
                <a:gd name="T1" fmla="*/ 14 h 285"/>
                <a:gd name="T2" fmla="*/ 21 w 233"/>
                <a:gd name="T3" fmla="*/ 19 h 285"/>
                <a:gd name="T4" fmla="*/ 28 w 233"/>
                <a:gd name="T5" fmla="*/ 24 h 285"/>
                <a:gd name="T6" fmla="*/ 22 w 233"/>
                <a:gd name="T7" fmla="*/ 25 h 285"/>
                <a:gd name="T8" fmla="*/ 30 w 233"/>
                <a:gd name="T9" fmla="*/ 30 h 285"/>
                <a:gd name="T10" fmla="*/ 25 w 233"/>
                <a:gd name="T11" fmla="*/ 35 h 285"/>
                <a:gd name="T12" fmla="*/ 20 w 233"/>
                <a:gd name="T13" fmla="*/ 31 h 285"/>
                <a:gd name="T14" fmla="*/ 19 w 233"/>
                <a:gd name="T15" fmla="*/ 42 h 285"/>
                <a:gd name="T16" fmla="*/ 34 w 233"/>
                <a:gd name="T17" fmla="*/ 61 h 285"/>
                <a:gd name="T18" fmla="*/ 44 w 233"/>
                <a:gd name="T19" fmla="*/ 80 h 285"/>
                <a:gd name="T20" fmla="*/ 79 w 233"/>
                <a:gd name="T21" fmla="*/ 106 h 285"/>
                <a:gd name="T22" fmla="*/ 89 w 233"/>
                <a:gd name="T23" fmla="*/ 124 h 285"/>
                <a:gd name="T24" fmla="*/ 105 w 233"/>
                <a:gd name="T25" fmla="*/ 143 h 285"/>
                <a:gd name="T26" fmla="*/ 127 w 233"/>
                <a:gd name="T27" fmla="*/ 180 h 285"/>
                <a:gd name="T28" fmla="*/ 155 w 233"/>
                <a:gd name="T29" fmla="*/ 212 h 285"/>
                <a:gd name="T30" fmla="*/ 160 w 233"/>
                <a:gd name="T31" fmla="*/ 230 h 285"/>
                <a:gd name="T32" fmla="*/ 174 w 233"/>
                <a:gd name="T33" fmla="*/ 246 h 285"/>
                <a:gd name="T34" fmla="*/ 181 w 233"/>
                <a:gd name="T35" fmla="*/ 265 h 285"/>
                <a:gd name="T36" fmla="*/ 201 w 233"/>
                <a:gd name="T37" fmla="*/ 285 h 285"/>
                <a:gd name="T38" fmla="*/ 198 w 233"/>
                <a:gd name="T39" fmla="*/ 274 h 285"/>
                <a:gd name="T40" fmla="*/ 196 w 233"/>
                <a:gd name="T41" fmla="*/ 265 h 285"/>
                <a:gd name="T42" fmla="*/ 203 w 233"/>
                <a:gd name="T43" fmla="*/ 260 h 285"/>
                <a:gd name="T44" fmla="*/ 221 w 233"/>
                <a:gd name="T45" fmla="*/ 264 h 285"/>
                <a:gd name="T46" fmla="*/ 233 w 233"/>
                <a:gd name="T47" fmla="*/ 278 h 285"/>
                <a:gd name="T48" fmla="*/ 226 w 233"/>
                <a:gd name="T49" fmla="*/ 263 h 285"/>
                <a:gd name="T50" fmla="*/ 221 w 233"/>
                <a:gd name="T51" fmla="*/ 256 h 285"/>
                <a:gd name="T52" fmla="*/ 210 w 233"/>
                <a:gd name="T53" fmla="*/ 253 h 285"/>
                <a:gd name="T54" fmla="*/ 216 w 233"/>
                <a:gd name="T55" fmla="*/ 256 h 285"/>
                <a:gd name="T56" fmla="*/ 198 w 233"/>
                <a:gd name="T57" fmla="*/ 242 h 285"/>
                <a:gd name="T58" fmla="*/ 171 w 233"/>
                <a:gd name="T59" fmla="*/ 222 h 285"/>
                <a:gd name="T60" fmla="*/ 155 w 233"/>
                <a:gd name="T61" fmla="*/ 183 h 285"/>
                <a:gd name="T62" fmla="*/ 154 w 233"/>
                <a:gd name="T63" fmla="*/ 172 h 285"/>
                <a:gd name="T64" fmla="*/ 164 w 233"/>
                <a:gd name="T65" fmla="*/ 170 h 285"/>
                <a:gd name="T66" fmla="*/ 153 w 233"/>
                <a:gd name="T67" fmla="*/ 168 h 285"/>
                <a:gd name="T68" fmla="*/ 182 w 233"/>
                <a:gd name="T69" fmla="*/ 174 h 285"/>
                <a:gd name="T70" fmla="*/ 198 w 233"/>
                <a:gd name="T71" fmla="*/ 184 h 285"/>
                <a:gd name="T72" fmla="*/ 210 w 233"/>
                <a:gd name="T73" fmla="*/ 192 h 285"/>
                <a:gd name="T74" fmla="*/ 201 w 233"/>
                <a:gd name="T75" fmla="*/ 184 h 285"/>
                <a:gd name="T76" fmla="*/ 189 w 233"/>
                <a:gd name="T77" fmla="*/ 177 h 285"/>
                <a:gd name="T78" fmla="*/ 164 w 233"/>
                <a:gd name="T79" fmla="*/ 153 h 285"/>
                <a:gd name="T80" fmla="*/ 111 w 233"/>
                <a:gd name="T81" fmla="*/ 103 h 285"/>
                <a:gd name="T82" fmla="*/ 108 w 233"/>
                <a:gd name="T83" fmla="*/ 102 h 285"/>
                <a:gd name="T84" fmla="*/ 98 w 233"/>
                <a:gd name="T85" fmla="*/ 92 h 285"/>
                <a:gd name="T86" fmla="*/ 100 w 233"/>
                <a:gd name="T87" fmla="*/ 95 h 285"/>
                <a:gd name="T88" fmla="*/ 94 w 233"/>
                <a:gd name="T89" fmla="*/ 91 h 285"/>
                <a:gd name="T90" fmla="*/ 87 w 233"/>
                <a:gd name="T91" fmla="*/ 84 h 285"/>
                <a:gd name="T92" fmla="*/ 71 w 233"/>
                <a:gd name="T93" fmla="*/ 63 h 285"/>
                <a:gd name="T94" fmla="*/ 75 w 233"/>
                <a:gd name="T95" fmla="*/ 69 h 285"/>
                <a:gd name="T96" fmla="*/ 45 w 233"/>
                <a:gd name="T97" fmla="*/ 35 h 285"/>
                <a:gd name="T98" fmla="*/ 65 w 233"/>
                <a:gd name="T99" fmla="*/ 51 h 285"/>
                <a:gd name="T100" fmla="*/ 49 w 233"/>
                <a:gd name="T101" fmla="*/ 35 h 285"/>
                <a:gd name="T102" fmla="*/ 27 w 233"/>
                <a:gd name="T103" fmla="*/ 20 h 285"/>
                <a:gd name="T104" fmla="*/ 33 w 233"/>
                <a:gd name="T105" fmla="*/ 24 h 285"/>
                <a:gd name="T106" fmla="*/ 26 w 233"/>
                <a:gd name="T107" fmla="*/ 18 h 285"/>
                <a:gd name="T108" fmla="*/ 23 w 233"/>
                <a:gd name="T109" fmla="*/ 11 h 285"/>
                <a:gd name="T110" fmla="*/ 7 w 233"/>
                <a:gd name="T111" fmla="*/ 0 h 285"/>
                <a:gd name="T112" fmla="*/ 0 w 233"/>
                <a:gd name="T113" fmla="*/ 5 h 285"/>
                <a:gd name="T114" fmla="*/ 15 w 233"/>
                <a:gd name="T115" fmla="*/ 14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3" h="285">
                  <a:moveTo>
                    <a:pt x="15" y="14"/>
                  </a:moveTo>
                  <a:cubicBezTo>
                    <a:pt x="18" y="15"/>
                    <a:pt x="21" y="17"/>
                    <a:pt x="21" y="19"/>
                  </a:cubicBezTo>
                  <a:cubicBezTo>
                    <a:pt x="22" y="23"/>
                    <a:pt x="26" y="21"/>
                    <a:pt x="28" y="24"/>
                  </a:cubicBezTo>
                  <a:cubicBezTo>
                    <a:pt x="26" y="24"/>
                    <a:pt x="24" y="25"/>
                    <a:pt x="22" y="25"/>
                  </a:cubicBezTo>
                  <a:cubicBezTo>
                    <a:pt x="23" y="28"/>
                    <a:pt x="27" y="28"/>
                    <a:pt x="30" y="30"/>
                  </a:cubicBezTo>
                  <a:cubicBezTo>
                    <a:pt x="29" y="31"/>
                    <a:pt x="28" y="35"/>
                    <a:pt x="25" y="35"/>
                  </a:cubicBezTo>
                  <a:cubicBezTo>
                    <a:pt x="22" y="35"/>
                    <a:pt x="23" y="32"/>
                    <a:pt x="20" y="31"/>
                  </a:cubicBezTo>
                  <a:cubicBezTo>
                    <a:pt x="8" y="27"/>
                    <a:pt x="15" y="38"/>
                    <a:pt x="19" y="42"/>
                  </a:cubicBezTo>
                  <a:cubicBezTo>
                    <a:pt x="24" y="48"/>
                    <a:pt x="31" y="53"/>
                    <a:pt x="34" y="61"/>
                  </a:cubicBezTo>
                  <a:cubicBezTo>
                    <a:pt x="37" y="68"/>
                    <a:pt x="39" y="73"/>
                    <a:pt x="44" y="80"/>
                  </a:cubicBezTo>
                  <a:cubicBezTo>
                    <a:pt x="52" y="91"/>
                    <a:pt x="69" y="96"/>
                    <a:pt x="79" y="106"/>
                  </a:cubicBezTo>
                  <a:cubicBezTo>
                    <a:pt x="84" y="111"/>
                    <a:pt x="86" y="118"/>
                    <a:pt x="89" y="124"/>
                  </a:cubicBezTo>
                  <a:cubicBezTo>
                    <a:pt x="93" y="131"/>
                    <a:pt x="100" y="136"/>
                    <a:pt x="105" y="143"/>
                  </a:cubicBezTo>
                  <a:cubicBezTo>
                    <a:pt x="114" y="155"/>
                    <a:pt x="122" y="166"/>
                    <a:pt x="127" y="180"/>
                  </a:cubicBezTo>
                  <a:cubicBezTo>
                    <a:pt x="132" y="195"/>
                    <a:pt x="147" y="199"/>
                    <a:pt x="155" y="212"/>
                  </a:cubicBezTo>
                  <a:cubicBezTo>
                    <a:pt x="158" y="217"/>
                    <a:pt x="157" y="224"/>
                    <a:pt x="160" y="230"/>
                  </a:cubicBezTo>
                  <a:cubicBezTo>
                    <a:pt x="164" y="236"/>
                    <a:pt x="171" y="240"/>
                    <a:pt x="174" y="246"/>
                  </a:cubicBezTo>
                  <a:cubicBezTo>
                    <a:pt x="177" y="252"/>
                    <a:pt x="177" y="260"/>
                    <a:pt x="181" y="265"/>
                  </a:cubicBezTo>
                  <a:cubicBezTo>
                    <a:pt x="186" y="273"/>
                    <a:pt x="193" y="280"/>
                    <a:pt x="201" y="285"/>
                  </a:cubicBezTo>
                  <a:cubicBezTo>
                    <a:pt x="199" y="282"/>
                    <a:pt x="200" y="278"/>
                    <a:pt x="198" y="274"/>
                  </a:cubicBezTo>
                  <a:cubicBezTo>
                    <a:pt x="197" y="271"/>
                    <a:pt x="196" y="268"/>
                    <a:pt x="196" y="265"/>
                  </a:cubicBezTo>
                  <a:cubicBezTo>
                    <a:pt x="195" y="260"/>
                    <a:pt x="198" y="253"/>
                    <a:pt x="203" y="260"/>
                  </a:cubicBezTo>
                  <a:cubicBezTo>
                    <a:pt x="206" y="264"/>
                    <a:pt x="217" y="261"/>
                    <a:pt x="221" y="264"/>
                  </a:cubicBezTo>
                  <a:cubicBezTo>
                    <a:pt x="226" y="267"/>
                    <a:pt x="230" y="274"/>
                    <a:pt x="233" y="278"/>
                  </a:cubicBezTo>
                  <a:cubicBezTo>
                    <a:pt x="232" y="273"/>
                    <a:pt x="230" y="268"/>
                    <a:pt x="226" y="263"/>
                  </a:cubicBezTo>
                  <a:cubicBezTo>
                    <a:pt x="224" y="261"/>
                    <a:pt x="223" y="258"/>
                    <a:pt x="221" y="256"/>
                  </a:cubicBezTo>
                  <a:cubicBezTo>
                    <a:pt x="217" y="253"/>
                    <a:pt x="214" y="256"/>
                    <a:pt x="210" y="253"/>
                  </a:cubicBezTo>
                  <a:cubicBezTo>
                    <a:pt x="212" y="255"/>
                    <a:pt x="214" y="256"/>
                    <a:pt x="216" y="256"/>
                  </a:cubicBezTo>
                  <a:cubicBezTo>
                    <a:pt x="210" y="261"/>
                    <a:pt x="201" y="246"/>
                    <a:pt x="198" y="242"/>
                  </a:cubicBezTo>
                  <a:cubicBezTo>
                    <a:pt x="191" y="233"/>
                    <a:pt x="179" y="230"/>
                    <a:pt x="171" y="222"/>
                  </a:cubicBezTo>
                  <a:cubicBezTo>
                    <a:pt x="161" y="211"/>
                    <a:pt x="161" y="196"/>
                    <a:pt x="155" y="183"/>
                  </a:cubicBezTo>
                  <a:cubicBezTo>
                    <a:pt x="153" y="180"/>
                    <a:pt x="149" y="175"/>
                    <a:pt x="154" y="172"/>
                  </a:cubicBezTo>
                  <a:cubicBezTo>
                    <a:pt x="157" y="170"/>
                    <a:pt x="161" y="170"/>
                    <a:pt x="164" y="170"/>
                  </a:cubicBezTo>
                  <a:cubicBezTo>
                    <a:pt x="161" y="169"/>
                    <a:pt x="157" y="170"/>
                    <a:pt x="153" y="168"/>
                  </a:cubicBezTo>
                  <a:cubicBezTo>
                    <a:pt x="158" y="164"/>
                    <a:pt x="178" y="172"/>
                    <a:pt x="182" y="174"/>
                  </a:cubicBezTo>
                  <a:cubicBezTo>
                    <a:pt x="187" y="177"/>
                    <a:pt x="193" y="180"/>
                    <a:pt x="198" y="184"/>
                  </a:cubicBezTo>
                  <a:cubicBezTo>
                    <a:pt x="202" y="187"/>
                    <a:pt x="205" y="191"/>
                    <a:pt x="210" y="192"/>
                  </a:cubicBezTo>
                  <a:cubicBezTo>
                    <a:pt x="206" y="190"/>
                    <a:pt x="204" y="187"/>
                    <a:pt x="201" y="184"/>
                  </a:cubicBezTo>
                  <a:cubicBezTo>
                    <a:pt x="197" y="181"/>
                    <a:pt x="193" y="179"/>
                    <a:pt x="189" y="177"/>
                  </a:cubicBezTo>
                  <a:cubicBezTo>
                    <a:pt x="179" y="170"/>
                    <a:pt x="172" y="161"/>
                    <a:pt x="164" y="153"/>
                  </a:cubicBezTo>
                  <a:cubicBezTo>
                    <a:pt x="146" y="136"/>
                    <a:pt x="128" y="120"/>
                    <a:pt x="111" y="103"/>
                  </a:cubicBezTo>
                  <a:cubicBezTo>
                    <a:pt x="117" y="110"/>
                    <a:pt x="108" y="103"/>
                    <a:pt x="108" y="102"/>
                  </a:cubicBezTo>
                  <a:cubicBezTo>
                    <a:pt x="105" y="98"/>
                    <a:pt x="102" y="95"/>
                    <a:pt x="98" y="92"/>
                  </a:cubicBezTo>
                  <a:cubicBezTo>
                    <a:pt x="99" y="93"/>
                    <a:pt x="99" y="94"/>
                    <a:pt x="100" y="95"/>
                  </a:cubicBezTo>
                  <a:cubicBezTo>
                    <a:pt x="97" y="96"/>
                    <a:pt x="95" y="93"/>
                    <a:pt x="94" y="91"/>
                  </a:cubicBezTo>
                  <a:cubicBezTo>
                    <a:pt x="93" y="87"/>
                    <a:pt x="91" y="86"/>
                    <a:pt x="87" y="84"/>
                  </a:cubicBezTo>
                  <a:cubicBezTo>
                    <a:pt x="81" y="81"/>
                    <a:pt x="73" y="70"/>
                    <a:pt x="71" y="63"/>
                  </a:cubicBezTo>
                  <a:cubicBezTo>
                    <a:pt x="72" y="65"/>
                    <a:pt x="74" y="67"/>
                    <a:pt x="75" y="69"/>
                  </a:cubicBezTo>
                  <a:cubicBezTo>
                    <a:pt x="75" y="50"/>
                    <a:pt x="49" y="51"/>
                    <a:pt x="45" y="35"/>
                  </a:cubicBezTo>
                  <a:cubicBezTo>
                    <a:pt x="52" y="35"/>
                    <a:pt x="60" y="47"/>
                    <a:pt x="65" y="51"/>
                  </a:cubicBezTo>
                  <a:cubicBezTo>
                    <a:pt x="60" y="46"/>
                    <a:pt x="55" y="39"/>
                    <a:pt x="49" y="35"/>
                  </a:cubicBezTo>
                  <a:cubicBezTo>
                    <a:pt x="41" y="31"/>
                    <a:pt x="35" y="24"/>
                    <a:pt x="27" y="20"/>
                  </a:cubicBezTo>
                  <a:cubicBezTo>
                    <a:pt x="29" y="21"/>
                    <a:pt x="31" y="22"/>
                    <a:pt x="33" y="24"/>
                  </a:cubicBezTo>
                  <a:cubicBezTo>
                    <a:pt x="31" y="22"/>
                    <a:pt x="29" y="20"/>
                    <a:pt x="26" y="18"/>
                  </a:cubicBezTo>
                  <a:cubicBezTo>
                    <a:pt x="23" y="17"/>
                    <a:pt x="25" y="14"/>
                    <a:pt x="23" y="11"/>
                  </a:cubicBezTo>
                  <a:cubicBezTo>
                    <a:pt x="19" y="6"/>
                    <a:pt x="12" y="4"/>
                    <a:pt x="7" y="0"/>
                  </a:cubicBezTo>
                  <a:cubicBezTo>
                    <a:pt x="7" y="4"/>
                    <a:pt x="3" y="6"/>
                    <a:pt x="0" y="5"/>
                  </a:cubicBezTo>
                  <a:cubicBezTo>
                    <a:pt x="5" y="7"/>
                    <a:pt x="11" y="10"/>
                    <a:pt x="15" y="1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Freeform 511">
              <a:extLst>
                <a:ext uri="{FF2B5EF4-FFF2-40B4-BE49-F238E27FC236}">
                  <a16:creationId xmlns:a16="http://schemas.microsoft.com/office/drawing/2014/main" id="{FCB76D79-842C-4DFF-AE9C-56E1E242C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5133" y="1932746"/>
              <a:ext cx="44491" cy="62287"/>
            </a:xfrm>
            <a:custGeom>
              <a:avLst/>
              <a:gdLst>
                <a:gd name="T0" fmla="*/ 6 w 19"/>
                <a:gd name="T1" fmla="*/ 0 h 28"/>
                <a:gd name="T2" fmla="*/ 3 w 19"/>
                <a:gd name="T3" fmla="*/ 18 h 28"/>
                <a:gd name="T4" fmla="*/ 6 w 19"/>
                <a:gd name="T5" fmla="*/ 27 h 28"/>
                <a:gd name="T6" fmla="*/ 19 w 19"/>
                <a:gd name="T7" fmla="*/ 5 h 28"/>
                <a:gd name="T8" fmla="*/ 19 w 19"/>
                <a:gd name="T9" fmla="*/ 2 h 28"/>
                <a:gd name="T10" fmla="*/ 6 w 19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6" y="0"/>
                  </a:moveTo>
                  <a:cubicBezTo>
                    <a:pt x="4" y="6"/>
                    <a:pt x="6" y="12"/>
                    <a:pt x="3" y="18"/>
                  </a:cubicBezTo>
                  <a:cubicBezTo>
                    <a:pt x="2" y="22"/>
                    <a:pt x="0" y="28"/>
                    <a:pt x="6" y="27"/>
                  </a:cubicBezTo>
                  <a:cubicBezTo>
                    <a:pt x="4" y="20"/>
                    <a:pt x="11" y="3"/>
                    <a:pt x="19" y="5"/>
                  </a:cubicBezTo>
                  <a:cubicBezTo>
                    <a:pt x="19" y="4"/>
                    <a:pt x="19" y="3"/>
                    <a:pt x="19" y="2"/>
                  </a:cubicBezTo>
                  <a:cubicBezTo>
                    <a:pt x="14" y="4"/>
                    <a:pt x="10" y="2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Freeform 512">
              <a:extLst>
                <a:ext uri="{FF2B5EF4-FFF2-40B4-BE49-F238E27FC236}">
                  <a16:creationId xmlns:a16="http://schemas.microsoft.com/office/drawing/2014/main" id="{647DC1AE-984A-4129-A76B-B6A6B8396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5133" y="1932746"/>
              <a:ext cx="44491" cy="62287"/>
            </a:xfrm>
            <a:custGeom>
              <a:avLst/>
              <a:gdLst>
                <a:gd name="T0" fmla="*/ 6 w 19"/>
                <a:gd name="T1" fmla="*/ 0 h 28"/>
                <a:gd name="T2" fmla="*/ 3 w 19"/>
                <a:gd name="T3" fmla="*/ 18 h 28"/>
                <a:gd name="T4" fmla="*/ 6 w 19"/>
                <a:gd name="T5" fmla="*/ 27 h 28"/>
                <a:gd name="T6" fmla="*/ 19 w 19"/>
                <a:gd name="T7" fmla="*/ 5 h 28"/>
                <a:gd name="T8" fmla="*/ 19 w 19"/>
                <a:gd name="T9" fmla="*/ 2 h 28"/>
                <a:gd name="T10" fmla="*/ 6 w 19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6" y="0"/>
                  </a:moveTo>
                  <a:cubicBezTo>
                    <a:pt x="4" y="6"/>
                    <a:pt x="6" y="12"/>
                    <a:pt x="3" y="18"/>
                  </a:cubicBezTo>
                  <a:cubicBezTo>
                    <a:pt x="2" y="22"/>
                    <a:pt x="0" y="28"/>
                    <a:pt x="6" y="27"/>
                  </a:cubicBezTo>
                  <a:cubicBezTo>
                    <a:pt x="4" y="20"/>
                    <a:pt x="11" y="3"/>
                    <a:pt x="19" y="5"/>
                  </a:cubicBezTo>
                  <a:cubicBezTo>
                    <a:pt x="19" y="4"/>
                    <a:pt x="19" y="3"/>
                    <a:pt x="19" y="2"/>
                  </a:cubicBezTo>
                  <a:cubicBezTo>
                    <a:pt x="14" y="4"/>
                    <a:pt x="10" y="2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Freeform 513">
              <a:extLst>
                <a:ext uri="{FF2B5EF4-FFF2-40B4-BE49-F238E27FC236}">
                  <a16:creationId xmlns:a16="http://schemas.microsoft.com/office/drawing/2014/main" id="{8386D4CB-9B1B-400B-BC52-65C4061BE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8522" y="1857111"/>
              <a:ext cx="93431" cy="84533"/>
            </a:xfrm>
            <a:custGeom>
              <a:avLst/>
              <a:gdLst>
                <a:gd name="T0" fmla="*/ 31 w 43"/>
                <a:gd name="T1" fmla="*/ 1 h 39"/>
                <a:gd name="T2" fmla="*/ 23 w 43"/>
                <a:gd name="T3" fmla="*/ 8 h 39"/>
                <a:gd name="T4" fmla="*/ 10 w 43"/>
                <a:gd name="T5" fmla="*/ 4 h 39"/>
                <a:gd name="T6" fmla="*/ 12 w 43"/>
                <a:gd name="T7" fmla="*/ 8 h 39"/>
                <a:gd name="T8" fmla="*/ 10 w 43"/>
                <a:gd name="T9" fmla="*/ 16 h 39"/>
                <a:gd name="T10" fmla="*/ 7 w 43"/>
                <a:gd name="T11" fmla="*/ 15 h 39"/>
                <a:gd name="T12" fmla="*/ 6 w 43"/>
                <a:gd name="T13" fmla="*/ 29 h 39"/>
                <a:gd name="T14" fmla="*/ 5 w 43"/>
                <a:gd name="T15" fmla="*/ 39 h 39"/>
                <a:gd name="T16" fmla="*/ 12 w 43"/>
                <a:gd name="T17" fmla="*/ 19 h 39"/>
                <a:gd name="T18" fmla="*/ 25 w 43"/>
                <a:gd name="T19" fmla="*/ 11 h 39"/>
                <a:gd name="T20" fmla="*/ 31 w 43"/>
                <a:gd name="T21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39">
                  <a:moveTo>
                    <a:pt x="31" y="1"/>
                  </a:moveTo>
                  <a:cubicBezTo>
                    <a:pt x="27" y="0"/>
                    <a:pt x="26" y="6"/>
                    <a:pt x="23" y="8"/>
                  </a:cubicBezTo>
                  <a:cubicBezTo>
                    <a:pt x="19" y="13"/>
                    <a:pt x="14" y="6"/>
                    <a:pt x="10" y="4"/>
                  </a:cubicBezTo>
                  <a:cubicBezTo>
                    <a:pt x="9" y="6"/>
                    <a:pt x="11" y="7"/>
                    <a:pt x="12" y="8"/>
                  </a:cubicBezTo>
                  <a:cubicBezTo>
                    <a:pt x="14" y="11"/>
                    <a:pt x="9" y="13"/>
                    <a:pt x="10" y="16"/>
                  </a:cubicBezTo>
                  <a:cubicBezTo>
                    <a:pt x="9" y="16"/>
                    <a:pt x="8" y="16"/>
                    <a:pt x="7" y="15"/>
                  </a:cubicBezTo>
                  <a:cubicBezTo>
                    <a:pt x="8" y="19"/>
                    <a:pt x="0" y="28"/>
                    <a:pt x="6" y="29"/>
                  </a:cubicBezTo>
                  <a:cubicBezTo>
                    <a:pt x="1" y="30"/>
                    <a:pt x="0" y="37"/>
                    <a:pt x="5" y="39"/>
                  </a:cubicBezTo>
                  <a:cubicBezTo>
                    <a:pt x="6" y="32"/>
                    <a:pt x="16" y="27"/>
                    <a:pt x="12" y="19"/>
                  </a:cubicBezTo>
                  <a:cubicBezTo>
                    <a:pt x="19" y="23"/>
                    <a:pt x="21" y="14"/>
                    <a:pt x="25" y="11"/>
                  </a:cubicBezTo>
                  <a:cubicBezTo>
                    <a:pt x="26" y="10"/>
                    <a:pt x="43" y="5"/>
                    <a:pt x="31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Freeform 514">
              <a:extLst>
                <a:ext uri="{FF2B5EF4-FFF2-40B4-BE49-F238E27FC236}">
                  <a16:creationId xmlns:a16="http://schemas.microsoft.com/office/drawing/2014/main" id="{724F65E9-C3E7-4CD3-B171-53A29D53E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8522" y="1857111"/>
              <a:ext cx="93431" cy="84533"/>
            </a:xfrm>
            <a:custGeom>
              <a:avLst/>
              <a:gdLst>
                <a:gd name="T0" fmla="*/ 31 w 43"/>
                <a:gd name="T1" fmla="*/ 1 h 39"/>
                <a:gd name="T2" fmla="*/ 23 w 43"/>
                <a:gd name="T3" fmla="*/ 8 h 39"/>
                <a:gd name="T4" fmla="*/ 10 w 43"/>
                <a:gd name="T5" fmla="*/ 4 h 39"/>
                <a:gd name="T6" fmla="*/ 12 w 43"/>
                <a:gd name="T7" fmla="*/ 8 h 39"/>
                <a:gd name="T8" fmla="*/ 10 w 43"/>
                <a:gd name="T9" fmla="*/ 16 h 39"/>
                <a:gd name="T10" fmla="*/ 7 w 43"/>
                <a:gd name="T11" fmla="*/ 15 h 39"/>
                <a:gd name="T12" fmla="*/ 6 w 43"/>
                <a:gd name="T13" fmla="*/ 29 h 39"/>
                <a:gd name="T14" fmla="*/ 5 w 43"/>
                <a:gd name="T15" fmla="*/ 39 h 39"/>
                <a:gd name="T16" fmla="*/ 12 w 43"/>
                <a:gd name="T17" fmla="*/ 19 h 39"/>
                <a:gd name="T18" fmla="*/ 25 w 43"/>
                <a:gd name="T19" fmla="*/ 11 h 39"/>
                <a:gd name="T20" fmla="*/ 31 w 43"/>
                <a:gd name="T21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39">
                  <a:moveTo>
                    <a:pt x="31" y="1"/>
                  </a:moveTo>
                  <a:cubicBezTo>
                    <a:pt x="27" y="0"/>
                    <a:pt x="26" y="6"/>
                    <a:pt x="23" y="8"/>
                  </a:cubicBezTo>
                  <a:cubicBezTo>
                    <a:pt x="19" y="13"/>
                    <a:pt x="14" y="6"/>
                    <a:pt x="10" y="4"/>
                  </a:cubicBezTo>
                  <a:cubicBezTo>
                    <a:pt x="9" y="6"/>
                    <a:pt x="11" y="7"/>
                    <a:pt x="12" y="8"/>
                  </a:cubicBezTo>
                  <a:cubicBezTo>
                    <a:pt x="14" y="11"/>
                    <a:pt x="9" y="13"/>
                    <a:pt x="10" y="16"/>
                  </a:cubicBezTo>
                  <a:cubicBezTo>
                    <a:pt x="9" y="16"/>
                    <a:pt x="8" y="16"/>
                    <a:pt x="7" y="15"/>
                  </a:cubicBezTo>
                  <a:cubicBezTo>
                    <a:pt x="8" y="19"/>
                    <a:pt x="0" y="28"/>
                    <a:pt x="6" y="29"/>
                  </a:cubicBezTo>
                  <a:cubicBezTo>
                    <a:pt x="1" y="30"/>
                    <a:pt x="0" y="37"/>
                    <a:pt x="5" y="39"/>
                  </a:cubicBezTo>
                  <a:cubicBezTo>
                    <a:pt x="6" y="32"/>
                    <a:pt x="16" y="27"/>
                    <a:pt x="12" y="19"/>
                  </a:cubicBezTo>
                  <a:cubicBezTo>
                    <a:pt x="19" y="23"/>
                    <a:pt x="21" y="14"/>
                    <a:pt x="25" y="11"/>
                  </a:cubicBezTo>
                  <a:cubicBezTo>
                    <a:pt x="26" y="10"/>
                    <a:pt x="43" y="5"/>
                    <a:pt x="31" y="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Freeform 515">
              <a:extLst>
                <a:ext uri="{FF2B5EF4-FFF2-40B4-BE49-F238E27FC236}">
                  <a16:creationId xmlns:a16="http://schemas.microsoft.com/office/drawing/2014/main" id="{5F0E00F8-2052-4B90-B4DC-A0E4927CD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0767" y="1981686"/>
              <a:ext cx="13347" cy="17796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3 h 7"/>
                <a:gd name="T4" fmla="*/ 6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4" y="0"/>
                    <a:pt x="2" y="1"/>
                    <a:pt x="0" y="3"/>
                  </a:cubicBezTo>
                  <a:cubicBezTo>
                    <a:pt x="3" y="7"/>
                    <a:pt x="7" y="4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Freeform 516">
              <a:extLst>
                <a:ext uri="{FF2B5EF4-FFF2-40B4-BE49-F238E27FC236}">
                  <a16:creationId xmlns:a16="http://schemas.microsoft.com/office/drawing/2014/main" id="{832C0249-67F6-4D51-A95A-C7B907042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0767" y="1981686"/>
              <a:ext cx="13347" cy="17796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3 h 7"/>
                <a:gd name="T4" fmla="*/ 6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4" y="0"/>
                    <a:pt x="2" y="1"/>
                    <a:pt x="0" y="3"/>
                  </a:cubicBezTo>
                  <a:cubicBezTo>
                    <a:pt x="3" y="7"/>
                    <a:pt x="7" y="4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Freeform 517">
              <a:extLst>
                <a:ext uri="{FF2B5EF4-FFF2-40B4-BE49-F238E27FC236}">
                  <a16:creationId xmlns:a16="http://schemas.microsoft.com/office/drawing/2014/main" id="{8839CB10-CD5F-49C8-9637-5402C4C60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6402" y="1803722"/>
              <a:ext cx="40042" cy="62287"/>
            </a:xfrm>
            <a:custGeom>
              <a:avLst/>
              <a:gdLst>
                <a:gd name="T0" fmla="*/ 7 w 18"/>
                <a:gd name="T1" fmla="*/ 8 h 28"/>
                <a:gd name="T2" fmla="*/ 3 w 18"/>
                <a:gd name="T3" fmla="*/ 23 h 28"/>
                <a:gd name="T4" fmla="*/ 18 w 18"/>
                <a:gd name="T5" fmla="*/ 3 h 28"/>
                <a:gd name="T6" fmla="*/ 7 w 18"/>
                <a:gd name="T7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8">
                  <a:moveTo>
                    <a:pt x="7" y="8"/>
                  </a:moveTo>
                  <a:cubicBezTo>
                    <a:pt x="5" y="13"/>
                    <a:pt x="0" y="17"/>
                    <a:pt x="3" y="23"/>
                  </a:cubicBezTo>
                  <a:cubicBezTo>
                    <a:pt x="5" y="28"/>
                    <a:pt x="17" y="5"/>
                    <a:pt x="18" y="3"/>
                  </a:cubicBezTo>
                  <a:cubicBezTo>
                    <a:pt x="13" y="0"/>
                    <a:pt x="11" y="6"/>
                    <a:pt x="7" y="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518">
              <a:extLst>
                <a:ext uri="{FF2B5EF4-FFF2-40B4-BE49-F238E27FC236}">
                  <a16:creationId xmlns:a16="http://schemas.microsoft.com/office/drawing/2014/main" id="{E3F0932A-13EC-4BA1-90FC-9924041C3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6402" y="1803722"/>
              <a:ext cx="40042" cy="62287"/>
            </a:xfrm>
            <a:custGeom>
              <a:avLst/>
              <a:gdLst>
                <a:gd name="T0" fmla="*/ 7 w 18"/>
                <a:gd name="T1" fmla="*/ 8 h 28"/>
                <a:gd name="T2" fmla="*/ 3 w 18"/>
                <a:gd name="T3" fmla="*/ 23 h 28"/>
                <a:gd name="T4" fmla="*/ 18 w 18"/>
                <a:gd name="T5" fmla="*/ 3 h 28"/>
                <a:gd name="T6" fmla="*/ 7 w 18"/>
                <a:gd name="T7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8">
                  <a:moveTo>
                    <a:pt x="7" y="8"/>
                  </a:moveTo>
                  <a:cubicBezTo>
                    <a:pt x="5" y="13"/>
                    <a:pt x="0" y="17"/>
                    <a:pt x="3" y="23"/>
                  </a:cubicBezTo>
                  <a:cubicBezTo>
                    <a:pt x="5" y="28"/>
                    <a:pt x="17" y="5"/>
                    <a:pt x="18" y="3"/>
                  </a:cubicBezTo>
                  <a:cubicBezTo>
                    <a:pt x="13" y="0"/>
                    <a:pt x="11" y="6"/>
                    <a:pt x="7" y="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519">
              <a:extLst>
                <a:ext uri="{FF2B5EF4-FFF2-40B4-BE49-F238E27FC236}">
                  <a16:creationId xmlns:a16="http://schemas.microsoft.com/office/drawing/2014/main" id="{B0033269-39FD-4B68-A2A9-FDD4D7E51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2037" y="1741434"/>
              <a:ext cx="17796" cy="26695"/>
            </a:xfrm>
            <a:custGeom>
              <a:avLst/>
              <a:gdLst>
                <a:gd name="T0" fmla="*/ 6 w 8"/>
                <a:gd name="T1" fmla="*/ 0 h 12"/>
                <a:gd name="T2" fmla="*/ 0 w 8"/>
                <a:gd name="T3" fmla="*/ 9 h 12"/>
                <a:gd name="T4" fmla="*/ 2 w 8"/>
                <a:gd name="T5" fmla="*/ 12 h 12"/>
                <a:gd name="T6" fmla="*/ 8 w 8"/>
                <a:gd name="T7" fmla="*/ 0 h 12"/>
                <a:gd name="T8" fmla="*/ 6 w 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0"/>
                  </a:moveTo>
                  <a:cubicBezTo>
                    <a:pt x="5" y="3"/>
                    <a:pt x="4" y="10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5" y="9"/>
                    <a:pt x="6" y="4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Freeform 520">
              <a:extLst>
                <a:ext uri="{FF2B5EF4-FFF2-40B4-BE49-F238E27FC236}">
                  <a16:creationId xmlns:a16="http://schemas.microsoft.com/office/drawing/2014/main" id="{5F8834AE-D8C2-4EAF-AE73-7966A468E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2037" y="1741434"/>
              <a:ext cx="17796" cy="26695"/>
            </a:xfrm>
            <a:custGeom>
              <a:avLst/>
              <a:gdLst>
                <a:gd name="T0" fmla="*/ 6 w 8"/>
                <a:gd name="T1" fmla="*/ 0 h 12"/>
                <a:gd name="T2" fmla="*/ 0 w 8"/>
                <a:gd name="T3" fmla="*/ 9 h 12"/>
                <a:gd name="T4" fmla="*/ 2 w 8"/>
                <a:gd name="T5" fmla="*/ 12 h 12"/>
                <a:gd name="T6" fmla="*/ 8 w 8"/>
                <a:gd name="T7" fmla="*/ 0 h 12"/>
                <a:gd name="T8" fmla="*/ 6 w 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6" y="0"/>
                  </a:moveTo>
                  <a:cubicBezTo>
                    <a:pt x="5" y="3"/>
                    <a:pt x="4" y="10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5" y="9"/>
                    <a:pt x="6" y="4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521">
              <a:extLst>
                <a:ext uri="{FF2B5EF4-FFF2-40B4-BE49-F238E27FC236}">
                  <a16:creationId xmlns:a16="http://schemas.microsoft.com/office/drawing/2014/main" id="{3BE058B8-D23F-4945-A2A8-FEE57B655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6358" y="3276373"/>
              <a:ext cx="351479" cy="436011"/>
            </a:xfrm>
            <a:custGeom>
              <a:avLst/>
              <a:gdLst>
                <a:gd name="T0" fmla="*/ 9 w 163"/>
                <a:gd name="T1" fmla="*/ 0 h 201"/>
                <a:gd name="T2" fmla="*/ 30 w 163"/>
                <a:gd name="T3" fmla="*/ 12 h 201"/>
                <a:gd name="T4" fmla="*/ 34 w 163"/>
                <a:gd name="T5" fmla="*/ 13 h 201"/>
                <a:gd name="T6" fmla="*/ 48 w 163"/>
                <a:gd name="T7" fmla="*/ 15 h 201"/>
                <a:gd name="T8" fmla="*/ 62 w 163"/>
                <a:gd name="T9" fmla="*/ 45 h 201"/>
                <a:gd name="T10" fmla="*/ 125 w 163"/>
                <a:gd name="T11" fmla="*/ 49 h 201"/>
                <a:gd name="T12" fmla="*/ 127 w 163"/>
                <a:gd name="T13" fmla="*/ 83 h 201"/>
                <a:gd name="T14" fmla="*/ 111 w 163"/>
                <a:gd name="T15" fmla="*/ 86 h 201"/>
                <a:gd name="T16" fmla="*/ 115 w 163"/>
                <a:gd name="T17" fmla="*/ 121 h 201"/>
                <a:gd name="T18" fmla="*/ 129 w 163"/>
                <a:gd name="T19" fmla="*/ 123 h 201"/>
                <a:gd name="T20" fmla="*/ 130 w 163"/>
                <a:gd name="T21" fmla="*/ 100 h 201"/>
                <a:gd name="T22" fmla="*/ 147 w 163"/>
                <a:gd name="T23" fmla="*/ 125 h 201"/>
                <a:gd name="T24" fmla="*/ 163 w 163"/>
                <a:gd name="T25" fmla="*/ 183 h 201"/>
                <a:gd name="T26" fmla="*/ 154 w 163"/>
                <a:gd name="T27" fmla="*/ 201 h 201"/>
                <a:gd name="T28" fmla="*/ 142 w 163"/>
                <a:gd name="T29" fmla="*/ 173 h 201"/>
                <a:gd name="T30" fmla="*/ 132 w 163"/>
                <a:gd name="T31" fmla="*/ 151 h 201"/>
                <a:gd name="T32" fmla="*/ 114 w 163"/>
                <a:gd name="T33" fmla="*/ 135 h 201"/>
                <a:gd name="T34" fmla="*/ 107 w 163"/>
                <a:gd name="T35" fmla="*/ 136 h 201"/>
                <a:gd name="T36" fmla="*/ 96 w 163"/>
                <a:gd name="T37" fmla="*/ 124 h 201"/>
                <a:gd name="T38" fmla="*/ 92 w 163"/>
                <a:gd name="T39" fmla="*/ 111 h 201"/>
                <a:gd name="T40" fmla="*/ 91 w 163"/>
                <a:gd name="T41" fmla="*/ 107 h 201"/>
                <a:gd name="T42" fmla="*/ 87 w 163"/>
                <a:gd name="T43" fmla="*/ 104 h 201"/>
                <a:gd name="T44" fmla="*/ 81 w 163"/>
                <a:gd name="T45" fmla="*/ 109 h 201"/>
                <a:gd name="T46" fmla="*/ 89 w 163"/>
                <a:gd name="T47" fmla="*/ 123 h 201"/>
                <a:gd name="T48" fmla="*/ 91 w 163"/>
                <a:gd name="T49" fmla="*/ 142 h 201"/>
                <a:gd name="T50" fmla="*/ 91 w 163"/>
                <a:gd name="T51" fmla="*/ 155 h 201"/>
                <a:gd name="T52" fmla="*/ 89 w 163"/>
                <a:gd name="T53" fmla="*/ 162 h 201"/>
                <a:gd name="T54" fmla="*/ 81 w 163"/>
                <a:gd name="T55" fmla="*/ 164 h 201"/>
                <a:gd name="T56" fmla="*/ 80 w 163"/>
                <a:gd name="T57" fmla="*/ 159 h 201"/>
                <a:gd name="T58" fmla="*/ 78 w 163"/>
                <a:gd name="T59" fmla="*/ 159 h 201"/>
                <a:gd name="T60" fmla="*/ 75 w 163"/>
                <a:gd name="T61" fmla="*/ 155 h 201"/>
                <a:gd name="T62" fmla="*/ 70 w 163"/>
                <a:gd name="T63" fmla="*/ 162 h 201"/>
                <a:gd name="T64" fmla="*/ 67 w 163"/>
                <a:gd name="T65" fmla="*/ 147 h 201"/>
                <a:gd name="T66" fmla="*/ 63 w 163"/>
                <a:gd name="T67" fmla="*/ 149 h 201"/>
                <a:gd name="T68" fmla="*/ 61 w 163"/>
                <a:gd name="T69" fmla="*/ 160 h 201"/>
                <a:gd name="T70" fmla="*/ 52 w 163"/>
                <a:gd name="T71" fmla="*/ 156 h 201"/>
                <a:gd name="T72" fmla="*/ 43 w 163"/>
                <a:gd name="T73" fmla="*/ 128 h 201"/>
                <a:gd name="T74" fmla="*/ 38 w 163"/>
                <a:gd name="T75" fmla="*/ 116 h 201"/>
                <a:gd name="T76" fmla="*/ 29 w 163"/>
                <a:gd name="T77" fmla="*/ 98 h 201"/>
                <a:gd name="T78" fmla="*/ 31 w 163"/>
                <a:gd name="T79" fmla="*/ 81 h 201"/>
                <a:gd name="T80" fmla="*/ 9 w 163"/>
                <a:gd name="T81" fmla="*/ 66 h 201"/>
                <a:gd name="T82" fmla="*/ 21 w 163"/>
                <a:gd name="T83" fmla="*/ 49 h 201"/>
                <a:gd name="T84" fmla="*/ 29 w 163"/>
                <a:gd name="T85" fmla="*/ 40 h 201"/>
                <a:gd name="T86" fmla="*/ 11 w 163"/>
                <a:gd name="T87" fmla="*/ 28 h 201"/>
                <a:gd name="T88" fmla="*/ 8 w 163"/>
                <a:gd name="T89" fmla="*/ 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3" h="201">
                  <a:moveTo>
                    <a:pt x="8" y="3"/>
                  </a:moveTo>
                  <a:cubicBezTo>
                    <a:pt x="8" y="2"/>
                    <a:pt x="9" y="1"/>
                    <a:pt x="9" y="0"/>
                  </a:cubicBezTo>
                  <a:cubicBezTo>
                    <a:pt x="12" y="2"/>
                    <a:pt x="18" y="4"/>
                    <a:pt x="20" y="8"/>
                  </a:cubicBezTo>
                  <a:cubicBezTo>
                    <a:pt x="21" y="11"/>
                    <a:pt x="27" y="11"/>
                    <a:pt x="30" y="12"/>
                  </a:cubicBezTo>
                  <a:cubicBezTo>
                    <a:pt x="29" y="10"/>
                    <a:pt x="28" y="8"/>
                    <a:pt x="26" y="6"/>
                  </a:cubicBezTo>
                  <a:cubicBezTo>
                    <a:pt x="31" y="5"/>
                    <a:pt x="32" y="10"/>
                    <a:pt x="34" y="13"/>
                  </a:cubicBezTo>
                  <a:cubicBezTo>
                    <a:pt x="36" y="18"/>
                    <a:pt x="43" y="19"/>
                    <a:pt x="47" y="22"/>
                  </a:cubicBezTo>
                  <a:cubicBezTo>
                    <a:pt x="48" y="19"/>
                    <a:pt x="49" y="17"/>
                    <a:pt x="48" y="15"/>
                  </a:cubicBezTo>
                  <a:cubicBezTo>
                    <a:pt x="57" y="14"/>
                    <a:pt x="59" y="31"/>
                    <a:pt x="59" y="37"/>
                  </a:cubicBezTo>
                  <a:cubicBezTo>
                    <a:pt x="59" y="40"/>
                    <a:pt x="58" y="44"/>
                    <a:pt x="62" y="45"/>
                  </a:cubicBezTo>
                  <a:cubicBezTo>
                    <a:pt x="69" y="47"/>
                    <a:pt x="76" y="49"/>
                    <a:pt x="83" y="49"/>
                  </a:cubicBezTo>
                  <a:cubicBezTo>
                    <a:pt x="97" y="49"/>
                    <a:pt x="111" y="48"/>
                    <a:pt x="125" y="49"/>
                  </a:cubicBezTo>
                  <a:cubicBezTo>
                    <a:pt x="131" y="50"/>
                    <a:pt x="149" y="61"/>
                    <a:pt x="134" y="59"/>
                  </a:cubicBezTo>
                  <a:cubicBezTo>
                    <a:pt x="138" y="68"/>
                    <a:pt x="128" y="76"/>
                    <a:pt x="127" y="83"/>
                  </a:cubicBezTo>
                  <a:cubicBezTo>
                    <a:pt x="124" y="81"/>
                    <a:pt x="121" y="86"/>
                    <a:pt x="119" y="83"/>
                  </a:cubicBezTo>
                  <a:cubicBezTo>
                    <a:pt x="120" y="87"/>
                    <a:pt x="114" y="86"/>
                    <a:pt x="111" y="86"/>
                  </a:cubicBezTo>
                  <a:cubicBezTo>
                    <a:pt x="113" y="90"/>
                    <a:pt x="108" y="97"/>
                    <a:pt x="108" y="101"/>
                  </a:cubicBezTo>
                  <a:cubicBezTo>
                    <a:pt x="107" y="107"/>
                    <a:pt x="113" y="116"/>
                    <a:pt x="115" y="121"/>
                  </a:cubicBezTo>
                  <a:cubicBezTo>
                    <a:pt x="116" y="119"/>
                    <a:pt x="116" y="117"/>
                    <a:pt x="116" y="115"/>
                  </a:cubicBezTo>
                  <a:cubicBezTo>
                    <a:pt x="119" y="117"/>
                    <a:pt x="123" y="132"/>
                    <a:pt x="129" y="123"/>
                  </a:cubicBezTo>
                  <a:cubicBezTo>
                    <a:pt x="131" y="120"/>
                    <a:pt x="127" y="114"/>
                    <a:pt x="129" y="110"/>
                  </a:cubicBezTo>
                  <a:cubicBezTo>
                    <a:pt x="131" y="106"/>
                    <a:pt x="132" y="105"/>
                    <a:pt x="130" y="100"/>
                  </a:cubicBezTo>
                  <a:cubicBezTo>
                    <a:pt x="134" y="104"/>
                    <a:pt x="138" y="95"/>
                    <a:pt x="141" y="101"/>
                  </a:cubicBezTo>
                  <a:cubicBezTo>
                    <a:pt x="144" y="109"/>
                    <a:pt x="145" y="117"/>
                    <a:pt x="147" y="125"/>
                  </a:cubicBezTo>
                  <a:cubicBezTo>
                    <a:pt x="150" y="135"/>
                    <a:pt x="154" y="144"/>
                    <a:pt x="156" y="154"/>
                  </a:cubicBezTo>
                  <a:cubicBezTo>
                    <a:pt x="159" y="163"/>
                    <a:pt x="159" y="174"/>
                    <a:pt x="163" y="183"/>
                  </a:cubicBezTo>
                  <a:cubicBezTo>
                    <a:pt x="160" y="184"/>
                    <a:pt x="155" y="178"/>
                    <a:pt x="152" y="179"/>
                  </a:cubicBezTo>
                  <a:cubicBezTo>
                    <a:pt x="146" y="180"/>
                    <a:pt x="154" y="197"/>
                    <a:pt x="154" y="201"/>
                  </a:cubicBezTo>
                  <a:cubicBezTo>
                    <a:pt x="151" y="196"/>
                    <a:pt x="146" y="191"/>
                    <a:pt x="145" y="186"/>
                  </a:cubicBezTo>
                  <a:cubicBezTo>
                    <a:pt x="143" y="181"/>
                    <a:pt x="143" y="178"/>
                    <a:pt x="142" y="173"/>
                  </a:cubicBezTo>
                  <a:cubicBezTo>
                    <a:pt x="141" y="164"/>
                    <a:pt x="128" y="154"/>
                    <a:pt x="135" y="144"/>
                  </a:cubicBezTo>
                  <a:cubicBezTo>
                    <a:pt x="134" y="146"/>
                    <a:pt x="132" y="149"/>
                    <a:pt x="132" y="151"/>
                  </a:cubicBezTo>
                  <a:cubicBezTo>
                    <a:pt x="130" y="143"/>
                    <a:pt x="120" y="136"/>
                    <a:pt x="120" y="128"/>
                  </a:cubicBezTo>
                  <a:cubicBezTo>
                    <a:pt x="120" y="131"/>
                    <a:pt x="116" y="133"/>
                    <a:pt x="114" y="135"/>
                  </a:cubicBezTo>
                  <a:cubicBezTo>
                    <a:pt x="113" y="136"/>
                    <a:pt x="113" y="137"/>
                    <a:pt x="113" y="138"/>
                  </a:cubicBezTo>
                  <a:cubicBezTo>
                    <a:pt x="111" y="139"/>
                    <a:pt x="108" y="138"/>
                    <a:pt x="107" y="136"/>
                  </a:cubicBezTo>
                  <a:cubicBezTo>
                    <a:pt x="108" y="137"/>
                    <a:pt x="108" y="138"/>
                    <a:pt x="107" y="139"/>
                  </a:cubicBezTo>
                  <a:cubicBezTo>
                    <a:pt x="103" y="141"/>
                    <a:pt x="97" y="126"/>
                    <a:pt x="96" y="124"/>
                  </a:cubicBezTo>
                  <a:cubicBezTo>
                    <a:pt x="94" y="122"/>
                    <a:pt x="94" y="120"/>
                    <a:pt x="94" y="118"/>
                  </a:cubicBezTo>
                  <a:cubicBezTo>
                    <a:pt x="94" y="115"/>
                    <a:pt x="93" y="114"/>
                    <a:pt x="92" y="111"/>
                  </a:cubicBezTo>
                  <a:cubicBezTo>
                    <a:pt x="91" y="108"/>
                    <a:pt x="95" y="107"/>
                    <a:pt x="94" y="105"/>
                  </a:cubicBezTo>
                  <a:cubicBezTo>
                    <a:pt x="93" y="107"/>
                    <a:pt x="96" y="106"/>
                    <a:pt x="91" y="107"/>
                  </a:cubicBezTo>
                  <a:cubicBezTo>
                    <a:pt x="91" y="106"/>
                    <a:pt x="91" y="105"/>
                    <a:pt x="92" y="104"/>
                  </a:cubicBezTo>
                  <a:cubicBezTo>
                    <a:pt x="90" y="105"/>
                    <a:pt x="89" y="105"/>
                    <a:pt x="87" y="104"/>
                  </a:cubicBezTo>
                  <a:cubicBezTo>
                    <a:pt x="88" y="105"/>
                    <a:pt x="93" y="112"/>
                    <a:pt x="89" y="111"/>
                  </a:cubicBezTo>
                  <a:cubicBezTo>
                    <a:pt x="86" y="111"/>
                    <a:pt x="82" y="109"/>
                    <a:pt x="81" y="109"/>
                  </a:cubicBezTo>
                  <a:cubicBezTo>
                    <a:pt x="84" y="111"/>
                    <a:pt x="90" y="113"/>
                    <a:pt x="92" y="117"/>
                  </a:cubicBezTo>
                  <a:cubicBezTo>
                    <a:pt x="94" y="120"/>
                    <a:pt x="91" y="122"/>
                    <a:pt x="89" y="123"/>
                  </a:cubicBezTo>
                  <a:cubicBezTo>
                    <a:pt x="92" y="126"/>
                    <a:pt x="90" y="130"/>
                    <a:pt x="88" y="133"/>
                  </a:cubicBezTo>
                  <a:cubicBezTo>
                    <a:pt x="93" y="133"/>
                    <a:pt x="91" y="138"/>
                    <a:pt x="91" y="142"/>
                  </a:cubicBezTo>
                  <a:cubicBezTo>
                    <a:pt x="92" y="141"/>
                    <a:pt x="92" y="140"/>
                    <a:pt x="93" y="139"/>
                  </a:cubicBezTo>
                  <a:cubicBezTo>
                    <a:pt x="98" y="143"/>
                    <a:pt x="99" y="153"/>
                    <a:pt x="91" y="155"/>
                  </a:cubicBezTo>
                  <a:cubicBezTo>
                    <a:pt x="92" y="153"/>
                    <a:pt x="91" y="151"/>
                    <a:pt x="90" y="149"/>
                  </a:cubicBezTo>
                  <a:cubicBezTo>
                    <a:pt x="91" y="154"/>
                    <a:pt x="90" y="158"/>
                    <a:pt x="89" y="162"/>
                  </a:cubicBezTo>
                  <a:cubicBezTo>
                    <a:pt x="88" y="168"/>
                    <a:pt x="81" y="166"/>
                    <a:pt x="84" y="161"/>
                  </a:cubicBezTo>
                  <a:cubicBezTo>
                    <a:pt x="83" y="162"/>
                    <a:pt x="82" y="163"/>
                    <a:pt x="81" y="164"/>
                  </a:cubicBezTo>
                  <a:cubicBezTo>
                    <a:pt x="80" y="159"/>
                    <a:pt x="86" y="157"/>
                    <a:pt x="86" y="152"/>
                  </a:cubicBezTo>
                  <a:cubicBezTo>
                    <a:pt x="85" y="155"/>
                    <a:pt x="82" y="157"/>
                    <a:pt x="80" y="159"/>
                  </a:cubicBezTo>
                  <a:cubicBezTo>
                    <a:pt x="80" y="157"/>
                    <a:pt x="81" y="155"/>
                    <a:pt x="82" y="153"/>
                  </a:cubicBezTo>
                  <a:cubicBezTo>
                    <a:pt x="81" y="155"/>
                    <a:pt x="79" y="157"/>
                    <a:pt x="78" y="159"/>
                  </a:cubicBezTo>
                  <a:cubicBezTo>
                    <a:pt x="76" y="153"/>
                    <a:pt x="75" y="148"/>
                    <a:pt x="78" y="142"/>
                  </a:cubicBezTo>
                  <a:cubicBezTo>
                    <a:pt x="71" y="145"/>
                    <a:pt x="77" y="151"/>
                    <a:pt x="75" y="155"/>
                  </a:cubicBezTo>
                  <a:cubicBezTo>
                    <a:pt x="73" y="158"/>
                    <a:pt x="77" y="158"/>
                    <a:pt x="76" y="162"/>
                  </a:cubicBezTo>
                  <a:cubicBezTo>
                    <a:pt x="74" y="165"/>
                    <a:pt x="71" y="164"/>
                    <a:pt x="70" y="162"/>
                  </a:cubicBezTo>
                  <a:cubicBezTo>
                    <a:pt x="69" y="163"/>
                    <a:pt x="69" y="165"/>
                    <a:pt x="69" y="167"/>
                  </a:cubicBezTo>
                  <a:cubicBezTo>
                    <a:pt x="65" y="167"/>
                    <a:pt x="67" y="150"/>
                    <a:pt x="67" y="147"/>
                  </a:cubicBezTo>
                  <a:cubicBezTo>
                    <a:pt x="66" y="151"/>
                    <a:pt x="67" y="155"/>
                    <a:pt x="67" y="159"/>
                  </a:cubicBezTo>
                  <a:cubicBezTo>
                    <a:pt x="65" y="156"/>
                    <a:pt x="63" y="152"/>
                    <a:pt x="63" y="149"/>
                  </a:cubicBezTo>
                  <a:cubicBezTo>
                    <a:pt x="63" y="155"/>
                    <a:pt x="69" y="163"/>
                    <a:pt x="63" y="169"/>
                  </a:cubicBezTo>
                  <a:cubicBezTo>
                    <a:pt x="61" y="166"/>
                    <a:pt x="63" y="163"/>
                    <a:pt x="61" y="160"/>
                  </a:cubicBezTo>
                  <a:cubicBezTo>
                    <a:pt x="62" y="163"/>
                    <a:pt x="60" y="169"/>
                    <a:pt x="58" y="171"/>
                  </a:cubicBezTo>
                  <a:cubicBezTo>
                    <a:pt x="58" y="166"/>
                    <a:pt x="52" y="162"/>
                    <a:pt x="52" y="156"/>
                  </a:cubicBezTo>
                  <a:cubicBezTo>
                    <a:pt x="51" y="149"/>
                    <a:pt x="47" y="144"/>
                    <a:pt x="46" y="137"/>
                  </a:cubicBezTo>
                  <a:cubicBezTo>
                    <a:pt x="45" y="134"/>
                    <a:pt x="44" y="131"/>
                    <a:pt x="43" y="128"/>
                  </a:cubicBezTo>
                  <a:cubicBezTo>
                    <a:pt x="42" y="124"/>
                    <a:pt x="43" y="122"/>
                    <a:pt x="43" y="118"/>
                  </a:cubicBezTo>
                  <a:cubicBezTo>
                    <a:pt x="43" y="116"/>
                    <a:pt x="40" y="116"/>
                    <a:pt x="38" y="116"/>
                  </a:cubicBezTo>
                  <a:cubicBezTo>
                    <a:pt x="35" y="115"/>
                    <a:pt x="37" y="111"/>
                    <a:pt x="37" y="109"/>
                  </a:cubicBezTo>
                  <a:cubicBezTo>
                    <a:pt x="38" y="104"/>
                    <a:pt x="29" y="104"/>
                    <a:pt x="29" y="98"/>
                  </a:cubicBezTo>
                  <a:cubicBezTo>
                    <a:pt x="29" y="95"/>
                    <a:pt x="33" y="94"/>
                    <a:pt x="33" y="91"/>
                  </a:cubicBezTo>
                  <a:cubicBezTo>
                    <a:pt x="34" y="88"/>
                    <a:pt x="33" y="84"/>
                    <a:pt x="31" y="81"/>
                  </a:cubicBezTo>
                  <a:cubicBezTo>
                    <a:pt x="30" y="77"/>
                    <a:pt x="21" y="77"/>
                    <a:pt x="16" y="74"/>
                  </a:cubicBezTo>
                  <a:cubicBezTo>
                    <a:pt x="14" y="72"/>
                    <a:pt x="10" y="70"/>
                    <a:pt x="9" y="66"/>
                  </a:cubicBezTo>
                  <a:cubicBezTo>
                    <a:pt x="9" y="63"/>
                    <a:pt x="12" y="60"/>
                    <a:pt x="13" y="57"/>
                  </a:cubicBezTo>
                  <a:cubicBezTo>
                    <a:pt x="17" y="65"/>
                    <a:pt x="19" y="49"/>
                    <a:pt x="21" y="49"/>
                  </a:cubicBezTo>
                  <a:cubicBezTo>
                    <a:pt x="24" y="48"/>
                    <a:pt x="31" y="48"/>
                    <a:pt x="34" y="49"/>
                  </a:cubicBezTo>
                  <a:cubicBezTo>
                    <a:pt x="37" y="43"/>
                    <a:pt x="30" y="45"/>
                    <a:pt x="29" y="40"/>
                  </a:cubicBezTo>
                  <a:cubicBezTo>
                    <a:pt x="28" y="36"/>
                    <a:pt x="23" y="39"/>
                    <a:pt x="21" y="37"/>
                  </a:cubicBezTo>
                  <a:cubicBezTo>
                    <a:pt x="17" y="35"/>
                    <a:pt x="15" y="30"/>
                    <a:pt x="11" y="28"/>
                  </a:cubicBezTo>
                  <a:cubicBezTo>
                    <a:pt x="0" y="24"/>
                    <a:pt x="6" y="11"/>
                    <a:pt x="15" y="7"/>
                  </a:cubicBezTo>
                  <a:cubicBezTo>
                    <a:pt x="14" y="5"/>
                    <a:pt x="11" y="3"/>
                    <a:pt x="8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522">
              <a:extLst>
                <a:ext uri="{FF2B5EF4-FFF2-40B4-BE49-F238E27FC236}">
                  <a16:creationId xmlns:a16="http://schemas.microsoft.com/office/drawing/2014/main" id="{23295DD6-D9B1-4C95-B292-144316157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6358" y="3276373"/>
              <a:ext cx="351479" cy="436011"/>
            </a:xfrm>
            <a:custGeom>
              <a:avLst/>
              <a:gdLst>
                <a:gd name="T0" fmla="*/ 9 w 163"/>
                <a:gd name="T1" fmla="*/ 0 h 201"/>
                <a:gd name="T2" fmla="*/ 30 w 163"/>
                <a:gd name="T3" fmla="*/ 12 h 201"/>
                <a:gd name="T4" fmla="*/ 34 w 163"/>
                <a:gd name="T5" fmla="*/ 13 h 201"/>
                <a:gd name="T6" fmla="*/ 48 w 163"/>
                <a:gd name="T7" fmla="*/ 15 h 201"/>
                <a:gd name="T8" fmla="*/ 62 w 163"/>
                <a:gd name="T9" fmla="*/ 45 h 201"/>
                <a:gd name="T10" fmla="*/ 125 w 163"/>
                <a:gd name="T11" fmla="*/ 49 h 201"/>
                <a:gd name="T12" fmla="*/ 127 w 163"/>
                <a:gd name="T13" fmla="*/ 83 h 201"/>
                <a:gd name="T14" fmla="*/ 111 w 163"/>
                <a:gd name="T15" fmla="*/ 86 h 201"/>
                <a:gd name="T16" fmla="*/ 115 w 163"/>
                <a:gd name="T17" fmla="*/ 121 h 201"/>
                <a:gd name="T18" fmla="*/ 129 w 163"/>
                <a:gd name="T19" fmla="*/ 123 h 201"/>
                <a:gd name="T20" fmla="*/ 130 w 163"/>
                <a:gd name="T21" fmla="*/ 100 h 201"/>
                <a:gd name="T22" fmla="*/ 147 w 163"/>
                <a:gd name="T23" fmla="*/ 125 h 201"/>
                <a:gd name="T24" fmla="*/ 163 w 163"/>
                <a:gd name="T25" fmla="*/ 183 h 201"/>
                <a:gd name="T26" fmla="*/ 154 w 163"/>
                <a:gd name="T27" fmla="*/ 201 h 201"/>
                <a:gd name="T28" fmla="*/ 142 w 163"/>
                <a:gd name="T29" fmla="*/ 173 h 201"/>
                <a:gd name="T30" fmla="*/ 132 w 163"/>
                <a:gd name="T31" fmla="*/ 151 h 201"/>
                <a:gd name="T32" fmla="*/ 114 w 163"/>
                <a:gd name="T33" fmla="*/ 135 h 201"/>
                <a:gd name="T34" fmla="*/ 107 w 163"/>
                <a:gd name="T35" fmla="*/ 136 h 201"/>
                <a:gd name="T36" fmla="*/ 96 w 163"/>
                <a:gd name="T37" fmla="*/ 124 h 201"/>
                <a:gd name="T38" fmla="*/ 92 w 163"/>
                <a:gd name="T39" fmla="*/ 111 h 201"/>
                <a:gd name="T40" fmla="*/ 91 w 163"/>
                <a:gd name="T41" fmla="*/ 107 h 201"/>
                <a:gd name="T42" fmla="*/ 87 w 163"/>
                <a:gd name="T43" fmla="*/ 104 h 201"/>
                <a:gd name="T44" fmla="*/ 81 w 163"/>
                <a:gd name="T45" fmla="*/ 109 h 201"/>
                <a:gd name="T46" fmla="*/ 89 w 163"/>
                <a:gd name="T47" fmla="*/ 123 h 201"/>
                <a:gd name="T48" fmla="*/ 91 w 163"/>
                <a:gd name="T49" fmla="*/ 142 h 201"/>
                <a:gd name="T50" fmla="*/ 91 w 163"/>
                <a:gd name="T51" fmla="*/ 155 h 201"/>
                <a:gd name="T52" fmla="*/ 89 w 163"/>
                <a:gd name="T53" fmla="*/ 162 h 201"/>
                <a:gd name="T54" fmla="*/ 81 w 163"/>
                <a:gd name="T55" fmla="*/ 164 h 201"/>
                <a:gd name="T56" fmla="*/ 80 w 163"/>
                <a:gd name="T57" fmla="*/ 159 h 201"/>
                <a:gd name="T58" fmla="*/ 78 w 163"/>
                <a:gd name="T59" fmla="*/ 159 h 201"/>
                <a:gd name="T60" fmla="*/ 75 w 163"/>
                <a:gd name="T61" fmla="*/ 155 h 201"/>
                <a:gd name="T62" fmla="*/ 70 w 163"/>
                <a:gd name="T63" fmla="*/ 162 h 201"/>
                <a:gd name="T64" fmla="*/ 67 w 163"/>
                <a:gd name="T65" fmla="*/ 147 h 201"/>
                <a:gd name="T66" fmla="*/ 63 w 163"/>
                <a:gd name="T67" fmla="*/ 149 h 201"/>
                <a:gd name="T68" fmla="*/ 61 w 163"/>
                <a:gd name="T69" fmla="*/ 160 h 201"/>
                <a:gd name="T70" fmla="*/ 52 w 163"/>
                <a:gd name="T71" fmla="*/ 156 h 201"/>
                <a:gd name="T72" fmla="*/ 43 w 163"/>
                <a:gd name="T73" fmla="*/ 128 h 201"/>
                <a:gd name="T74" fmla="*/ 38 w 163"/>
                <a:gd name="T75" fmla="*/ 116 h 201"/>
                <a:gd name="T76" fmla="*/ 29 w 163"/>
                <a:gd name="T77" fmla="*/ 98 h 201"/>
                <a:gd name="T78" fmla="*/ 31 w 163"/>
                <a:gd name="T79" fmla="*/ 81 h 201"/>
                <a:gd name="T80" fmla="*/ 9 w 163"/>
                <a:gd name="T81" fmla="*/ 66 h 201"/>
                <a:gd name="T82" fmla="*/ 21 w 163"/>
                <a:gd name="T83" fmla="*/ 49 h 201"/>
                <a:gd name="T84" fmla="*/ 29 w 163"/>
                <a:gd name="T85" fmla="*/ 40 h 201"/>
                <a:gd name="T86" fmla="*/ 11 w 163"/>
                <a:gd name="T87" fmla="*/ 28 h 201"/>
                <a:gd name="T88" fmla="*/ 8 w 163"/>
                <a:gd name="T89" fmla="*/ 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3" h="201">
                  <a:moveTo>
                    <a:pt x="8" y="3"/>
                  </a:moveTo>
                  <a:cubicBezTo>
                    <a:pt x="8" y="2"/>
                    <a:pt x="9" y="1"/>
                    <a:pt x="9" y="0"/>
                  </a:cubicBezTo>
                  <a:cubicBezTo>
                    <a:pt x="12" y="2"/>
                    <a:pt x="18" y="4"/>
                    <a:pt x="20" y="8"/>
                  </a:cubicBezTo>
                  <a:cubicBezTo>
                    <a:pt x="21" y="11"/>
                    <a:pt x="27" y="11"/>
                    <a:pt x="30" y="12"/>
                  </a:cubicBezTo>
                  <a:cubicBezTo>
                    <a:pt x="29" y="10"/>
                    <a:pt x="28" y="8"/>
                    <a:pt x="26" y="6"/>
                  </a:cubicBezTo>
                  <a:cubicBezTo>
                    <a:pt x="31" y="5"/>
                    <a:pt x="32" y="10"/>
                    <a:pt x="34" y="13"/>
                  </a:cubicBezTo>
                  <a:cubicBezTo>
                    <a:pt x="36" y="18"/>
                    <a:pt x="43" y="19"/>
                    <a:pt x="47" y="22"/>
                  </a:cubicBezTo>
                  <a:cubicBezTo>
                    <a:pt x="48" y="19"/>
                    <a:pt x="49" y="17"/>
                    <a:pt x="48" y="15"/>
                  </a:cubicBezTo>
                  <a:cubicBezTo>
                    <a:pt x="57" y="14"/>
                    <a:pt x="59" y="31"/>
                    <a:pt x="59" y="37"/>
                  </a:cubicBezTo>
                  <a:cubicBezTo>
                    <a:pt x="59" y="40"/>
                    <a:pt x="58" y="44"/>
                    <a:pt x="62" y="45"/>
                  </a:cubicBezTo>
                  <a:cubicBezTo>
                    <a:pt x="69" y="47"/>
                    <a:pt x="76" y="49"/>
                    <a:pt x="83" y="49"/>
                  </a:cubicBezTo>
                  <a:cubicBezTo>
                    <a:pt x="97" y="49"/>
                    <a:pt x="111" y="48"/>
                    <a:pt x="125" y="49"/>
                  </a:cubicBezTo>
                  <a:cubicBezTo>
                    <a:pt x="131" y="50"/>
                    <a:pt x="149" y="61"/>
                    <a:pt x="134" y="59"/>
                  </a:cubicBezTo>
                  <a:cubicBezTo>
                    <a:pt x="138" y="68"/>
                    <a:pt x="128" y="76"/>
                    <a:pt x="127" y="83"/>
                  </a:cubicBezTo>
                  <a:cubicBezTo>
                    <a:pt x="124" y="81"/>
                    <a:pt x="121" y="86"/>
                    <a:pt x="119" y="83"/>
                  </a:cubicBezTo>
                  <a:cubicBezTo>
                    <a:pt x="120" y="87"/>
                    <a:pt x="114" y="86"/>
                    <a:pt x="111" y="86"/>
                  </a:cubicBezTo>
                  <a:cubicBezTo>
                    <a:pt x="113" y="90"/>
                    <a:pt x="108" y="97"/>
                    <a:pt x="108" y="101"/>
                  </a:cubicBezTo>
                  <a:cubicBezTo>
                    <a:pt x="107" y="107"/>
                    <a:pt x="113" y="116"/>
                    <a:pt x="115" y="121"/>
                  </a:cubicBezTo>
                  <a:cubicBezTo>
                    <a:pt x="116" y="119"/>
                    <a:pt x="116" y="117"/>
                    <a:pt x="116" y="115"/>
                  </a:cubicBezTo>
                  <a:cubicBezTo>
                    <a:pt x="119" y="117"/>
                    <a:pt x="123" y="132"/>
                    <a:pt x="129" y="123"/>
                  </a:cubicBezTo>
                  <a:cubicBezTo>
                    <a:pt x="131" y="120"/>
                    <a:pt x="127" y="114"/>
                    <a:pt x="129" y="110"/>
                  </a:cubicBezTo>
                  <a:cubicBezTo>
                    <a:pt x="131" y="106"/>
                    <a:pt x="132" y="105"/>
                    <a:pt x="130" y="100"/>
                  </a:cubicBezTo>
                  <a:cubicBezTo>
                    <a:pt x="134" y="104"/>
                    <a:pt x="138" y="95"/>
                    <a:pt x="141" y="101"/>
                  </a:cubicBezTo>
                  <a:cubicBezTo>
                    <a:pt x="144" y="109"/>
                    <a:pt x="145" y="117"/>
                    <a:pt x="147" y="125"/>
                  </a:cubicBezTo>
                  <a:cubicBezTo>
                    <a:pt x="150" y="135"/>
                    <a:pt x="154" y="144"/>
                    <a:pt x="156" y="154"/>
                  </a:cubicBezTo>
                  <a:cubicBezTo>
                    <a:pt x="159" y="163"/>
                    <a:pt x="159" y="174"/>
                    <a:pt x="163" y="183"/>
                  </a:cubicBezTo>
                  <a:cubicBezTo>
                    <a:pt x="160" y="184"/>
                    <a:pt x="155" y="178"/>
                    <a:pt x="152" y="179"/>
                  </a:cubicBezTo>
                  <a:cubicBezTo>
                    <a:pt x="146" y="180"/>
                    <a:pt x="154" y="197"/>
                    <a:pt x="154" y="201"/>
                  </a:cubicBezTo>
                  <a:cubicBezTo>
                    <a:pt x="151" y="196"/>
                    <a:pt x="146" y="191"/>
                    <a:pt x="145" y="186"/>
                  </a:cubicBezTo>
                  <a:cubicBezTo>
                    <a:pt x="143" y="181"/>
                    <a:pt x="143" y="178"/>
                    <a:pt x="142" y="173"/>
                  </a:cubicBezTo>
                  <a:cubicBezTo>
                    <a:pt x="141" y="164"/>
                    <a:pt x="128" y="154"/>
                    <a:pt x="135" y="144"/>
                  </a:cubicBezTo>
                  <a:cubicBezTo>
                    <a:pt x="134" y="146"/>
                    <a:pt x="132" y="149"/>
                    <a:pt x="132" y="151"/>
                  </a:cubicBezTo>
                  <a:cubicBezTo>
                    <a:pt x="130" y="143"/>
                    <a:pt x="120" y="136"/>
                    <a:pt x="120" y="128"/>
                  </a:cubicBezTo>
                  <a:cubicBezTo>
                    <a:pt x="120" y="131"/>
                    <a:pt x="116" y="133"/>
                    <a:pt x="114" y="135"/>
                  </a:cubicBezTo>
                  <a:cubicBezTo>
                    <a:pt x="113" y="136"/>
                    <a:pt x="113" y="137"/>
                    <a:pt x="113" y="138"/>
                  </a:cubicBezTo>
                  <a:cubicBezTo>
                    <a:pt x="111" y="139"/>
                    <a:pt x="108" y="138"/>
                    <a:pt x="107" y="136"/>
                  </a:cubicBezTo>
                  <a:cubicBezTo>
                    <a:pt x="108" y="137"/>
                    <a:pt x="108" y="138"/>
                    <a:pt x="107" y="139"/>
                  </a:cubicBezTo>
                  <a:cubicBezTo>
                    <a:pt x="103" y="141"/>
                    <a:pt x="97" y="126"/>
                    <a:pt x="96" y="124"/>
                  </a:cubicBezTo>
                  <a:cubicBezTo>
                    <a:pt x="94" y="122"/>
                    <a:pt x="94" y="120"/>
                    <a:pt x="94" y="118"/>
                  </a:cubicBezTo>
                  <a:cubicBezTo>
                    <a:pt x="94" y="115"/>
                    <a:pt x="93" y="114"/>
                    <a:pt x="92" y="111"/>
                  </a:cubicBezTo>
                  <a:cubicBezTo>
                    <a:pt x="91" y="108"/>
                    <a:pt x="95" y="107"/>
                    <a:pt x="94" y="105"/>
                  </a:cubicBezTo>
                  <a:cubicBezTo>
                    <a:pt x="93" y="107"/>
                    <a:pt x="96" y="106"/>
                    <a:pt x="91" y="107"/>
                  </a:cubicBezTo>
                  <a:cubicBezTo>
                    <a:pt x="91" y="106"/>
                    <a:pt x="91" y="105"/>
                    <a:pt x="92" y="104"/>
                  </a:cubicBezTo>
                  <a:cubicBezTo>
                    <a:pt x="90" y="105"/>
                    <a:pt x="89" y="105"/>
                    <a:pt x="87" y="104"/>
                  </a:cubicBezTo>
                  <a:cubicBezTo>
                    <a:pt x="88" y="105"/>
                    <a:pt x="93" y="112"/>
                    <a:pt x="89" y="111"/>
                  </a:cubicBezTo>
                  <a:cubicBezTo>
                    <a:pt x="86" y="111"/>
                    <a:pt x="82" y="109"/>
                    <a:pt x="81" y="109"/>
                  </a:cubicBezTo>
                  <a:cubicBezTo>
                    <a:pt x="84" y="111"/>
                    <a:pt x="90" y="113"/>
                    <a:pt x="92" y="117"/>
                  </a:cubicBezTo>
                  <a:cubicBezTo>
                    <a:pt x="94" y="120"/>
                    <a:pt x="91" y="122"/>
                    <a:pt x="89" y="123"/>
                  </a:cubicBezTo>
                  <a:cubicBezTo>
                    <a:pt x="92" y="126"/>
                    <a:pt x="90" y="130"/>
                    <a:pt x="88" y="133"/>
                  </a:cubicBezTo>
                  <a:cubicBezTo>
                    <a:pt x="93" y="133"/>
                    <a:pt x="91" y="138"/>
                    <a:pt x="91" y="142"/>
                  </a:cubicBezTo>
                  <a:cubicBezTo>
                    <a:pt x="92" y="141"/>
                    <a:pt x="92" y="140"/>
                    <a:pt x="93" y="139"/>
                  </a:cubicBezTo>
                  <a:cubicBezTo>
                    <a:pt x="98" y="143"/>
                    <a:pt x="99" y="153"/>
                    <a:pt x="91" y="155"/>
                  </a:cubicBezTo>
                  <a:cubicBezTo>
                    <a:pt x="92" y="153"/>
                    <a:pt x="91" y="151"/>
                    <a:pt x="90" y="149"/>
                  </a:cubicBezTo>
                  <a:cubicBezTo>
                    <a:pt x="91" y="154"/>
                    <a:pt x="90" y="158"/>
                    <a:pt x="89" y="162"/>
                  </a:cubicBezTo>
                  <a:cubicBezTo>
                    <a:pt x="88" y="168"/>
                    <a:pt x="81" y="166"/>
                    <a:pt x="84" y="161"/>
                  </a:cubicBezTo>
                  <a:cubicBezTo>
                    <a:pt x="83" y="162"/>
                    <a:pt x="82" y="163"/>
                    <a:pt x="81" y="164"/>
                  </a:cubicBezTo>
                  <a:cubicBezTo>
                    <a:pt x="80" y="159"/>
                    <a:pt x="86" y="157"/>
                    <a:pt x="86" y="152"/>
                  </a:cubicBezTo>
                  <a:cubicBezTo>
                    <a:pt x="85" y="155"/>
                    <a:pt x="82" y="157"/>
                    <a:pt x="80" y="159"/>
                  </a:cubicBezTo>
                  <a:cubicBezTo>
                    <a:pt x="80" y="157"/>
                    <a:pt x="81" y="155"/>
                    <a:pt x="82" y="153"/>
                  </a:cubicBezTo>
                  <a:cubicBezTo>
                    <a:pt x="81" y="155"/>
                    <a:pt x="79" y="157"/>
                    <a:pt x="78" y="159"/>
                  </a:cubicBezTo>
                  <a:cubicBezTo>
                    <a:pt x="76" y="153"/>
                    <a:pt x="75" y="148"/>
                    <a:pt x="78" y="142"/>
                  </a:cubicBezTo>
                  <a:cubicBezTo>
                    <a:pt x="71" y="145"/>
                    <a:pt x="77" y="151"/>
                    <a:pt x="75" y="155"/>
                  </a:cubicBezTo>
                  <a:cubicBezTo>
                    <a:pt x="73" y="158"/>
                    <a:pt x="77" y="158"/>
                    <a:pt x="76" y="162"/>
                  </a:cubicBezTo>
                  <a:cubicBezTo>
                    <a:pt x="74" y="165"/>
                    <a:pt x="71" y="164"/>
                    <a:pt x="70" y="162"/>
                  </a:cubicBezTo>
                  <a:cubicBezTo>
                    <a:pt x="69" y="163"/>
                    <a:pt x="69" y="165"/>
                    <a:pt x="69" y="167"/>
                  </a:cubicBezTo>
                  <a:cubicBezTo>
                    <a:pt x="65" y="167"/>
                    <a:pt x="67" y="150"/>
                    <a:pt x="67" y="147"/>
                  </a:cubicBezTo>
                  <a:cubicBezTo>
                    <a:pt x="66" y="151"/>
                    <a:pt x="67" y="155"/>
                    <a:pt x="67" y="159"/>
                  </a:cubicBezTo>
                  <a:cubicBezTo>
                    <a:pt x="65" y="156"/>
                    <a:pt x="63" y="152"/>
                    <a:pt x="63" y="149"/>
                  </a:cubicBezTo>
                  <a:cubicBezTo>
                    <a:pt x="63" y="155"/>
                    <a:pt x="69" y="163"/>
                    <a:pt x="63" y="169"/>
                  </a:cubicBezTo>
                  <a:cubicBezTo>
                    <a:pt x="61" y="166"/>
                    <a:pt x="63" y="163"/>
                    <a:pt x="61" y="160"/>
                  </a:cubicBezTo>
                  <a:cubicBezTo>
                    <a:pt x="62" y="163"/>
                    <a:pt x="60" y="169"/>
                    <a:pt x="58" y="171"/>
                  </a:cubicBezTo>
                  <a:cubicBezTo>
                    <a:pt x="58" y="166"/>
                    <a:pt x="52" y="162"/>
                    <a:pt x="52" y="156"/>
                  </a:cubicBezTo>
                  <a:cubicBezTo>
                    <a:pt x="51" y="149"/>
                    <a:pt x="47" y="144"/>
                    <a:pt x="46" y="137"/>
                  </a:cubicBezTo>
                  <a:cubicBezTo>
                    <a:pt x="45" y="134"/>
                    <a:pt x="44" y="131"/>
                    <a:pt x="43" y="128"/>
                  </a:cubicBezTo>
                  <a:cubicBezTo>
                    <a:pt x="42" y="124"/>
                    <a:pt x="43" y="122"/>
                    <a:pt x="43" y="118"/>
                  </a:cubicBezTo>
                  <a:cubicBezTo>
                    <a:pt x="43" y="116"/>
                    <a:pt x="40" y="116"/>
                    <a:pt x="38" y="116"/>
                  </a:cubicBezTo>
                  <a:cubicBezTo>
                    <a:pt x="35" y="115"/>
                    <a:pt x="37" y="111"/>
                    <a:pt x="37" y="109"/>
                  </a:cubicBezTo>
                  <a:cubicBezTo>
                    <a:pt x="38" y="104"/>
                    <a:pt x="29" y="104"/>
                    <a:pt x="29" y="98"/>
                  </a:cubicBezTo>
                  <a:cubicBezTo>
                    <a:pt x="29" y="95"/>
                    <a:pt x="33" y="94"/>
                    <a:pt x="33" y="91"/>
                  </a:cubicBezTo>
                  <a:cubicBezTo>
                    <a:pt x="34" y="88"/>
                    <a:pt x="33" y="84"/>
                    <a:pt x="31" y="81"/>
                  </a:cubicBezTo>
                  <a:cubicBezTo>
                    <a:pt x="30" y="77"/>
                    <a:pt x="21" y="77"/>
                    <a:pt x="16" y="74"/>
                  </a:cubicBezTo>
                  <a:cubicBezTo>
                    <a:pt x="14" y="72"/>
                    <a:pt x="10" y="70"/>
                    <a:pt x="9" y="66"/>
                  </a:cubicBezTo>
                  <a:cubicBezTo>
                    <a:pt x="9" y="63"/>
                    <a:pt x="12" y="60"/>
                    <a:pt x="13" y="57"/>
                  </a:cubicBezTo>
                  <a:cubicBezTo>
                    <a:pt x="17" y="65"/>
                    <a:pt x="19" y="49"/>
                    <a:pt x="21" y="49"/>
                  </a:cubicBezTo>
                  <a:cubicBezTo>
                    <a:pt x="24" y="48"/>
                    <a:pt x="31" y="48"/>
                    <a:pt x="34" y="49"/>
                  </a:cubicBezTo>
                  <a:cubicBezTo>
                    <a:pt x="37" y="43"/>
                    <a:pt x="30" y="45"/>
                    <a:pt x="29" y="40"/>
                  </a:cubicBezTo>
                  <a:cubicBezTo>
                    <a:pt x="28" y="36"/>
                    <a:pt x="23" y="39"/>
                    <a:pt x="21" y="37"/>
                  </a:cubicBezTo>
                  <a:cubicBezTo>
                    <a:pt x="17" y="35"/>
                    <a:pt x="15" y="30"/>
                    <a:pt x="11" y="28"/>
                  </a:cubicBezTo>
                  <a:cubicBezTo>
                    <a:pt x="0" y="24"/>
                    <a:pt x="6" y="11"/>
                    <a:pt x="15" y="7"/>
                  </a:cubicBezTo>
                  <a:cubicBezTo>
                    <a:pt x="14" y="5"/>
                    <a:pt x="11" y="3"/>
                    <a:pt x="8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523">
              <a:extLst>
                <a:ext uri="{FF2B5EF4-FFF2-40B4-BE49-F238E27FC236}">
                  <a16:creationId xmlns:a16="http://schemas.microsoft.com/office/drawing/2014/main" id="{24489BBE-7400-4DAD-878A-0BFE90FD9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7810" y="2697990"/>
              <a:ext cx="13347" cy="13347"/>
            </a:xfrm>
            <a:custGeom>
              <a:avLst/>
              <a:gdLst>
                <a:gd name="T0" fmla="*/ 4 w 6"/>
                <a:gd name="T1" fmla="*/ 3 h 8"/>
                <a:gd name="T2" fmla="*/ 0 w 6"/>
                <a:gd name="T3" fmla="*/ 1 h 8"/>
                <a:gd name="T4" fmla="*/ 4 w 6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4" y="3"/>
                  </a:moveTo>
                  <a:cubicBezTo>
                    <a:pt x="3" y="1"/>
                    <a:pt x="2" y="0"/>
                    <a:pt x="0" y="1"/>
                  </a:cubicBezTo>
                  <a:cubicBezTo>
                    <a:pt x="1" y="8"/>
                    <a:pt x="6" y="7"/>
                    <a:pt x="4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524">
              <a:extLst>
                <a:ext uri="{FF2B5EF4-FFF2-40B4-BE49-F238E27FC236}">
                  <a16:creationId xmlns:a16="http://schemas.microsoft.com/office/drawing/2014/main" id="{19124927-13A2-4C0B-8512-8B7D84923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7810" y="2697990"/>
              <a:ext cx="13347" cy="13347"/>
            </a:xfrm>
            <a:custGeom>
              <a:avLst/>
              <a:gdLst>
                <a:gd name="T0" fmla="*/ 4 w 6"/>
                <a:gd name="T1" fmla="*/ 3 h 8"/>
                <a:gd name="T2" fmla="*/ 0 w 6"/>
                <a:gd name="T3" fmla="*/ 1 h 8"/>
                <a:gd name="T4" fmla="*/ 4 w 6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4" y="3"/>
                  </a:moveTo>
                  <a:cubicBezTo>
                    <a:pt x="3" y="1"/>
                    <a:pt x="2" y="0"/>
                    <a:pt x="0" y="1"/>
                  </a:cubicBezTo>
                  <a:cubicBezTo>
                    <a:pt x="1" y="8"/>
                    <a:pt x="6" y="7"/>
                    <a:pt x="4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525">
              <a:extLst>
                <a:ext uri="{FF2B5EF4-FFF2-40B4-BE49-F238E27FC236}">
                  <a16:creationId xmlns:a16="http://schemas.microsoft.com/office/drawing/2014/main" id="{D60D0DCB-3245-46B1-86A0-EA82709C4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2809218"/>
              <a:ext cx="17796" cy="13347"/>
            </a:xfrm>
            <a:custGeom>
              <a:avLst/>
              <a:gdLst>
                <a:gd name="T0" fmla="*/ 1 w 8"/>
                <a:gd name="T1" fmla="*/ 3 h 6"/>
                <a:gd name="T2" fmla="*/ 2 w 8"/>
                <a:gd name="T3" fmla="*/ 6 h 6"/>
                <a:gd name="T4" fmla="*/ 8 w 8"/>
                <a:gd name="T5" fmla="*/ 4 h 6"/>
                <a:gd name="T6" fmla="*/ 0 w 8"/>
                <a:gd name="T7" fmla="*/ 0 h 6"/>
                <a:gd name="T8" fmla="*/ 1 w 8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1" y="3"/>
                  </a:moveTo>
                  <a:cubicBezTo>
                    <a:pt x="1" y="4"/>
                    <a:pt x="2" y="5"/>
                    <a:pt x="2" y="6"/>
                  </a:cubicBezTo>
                  <a:cubicBezTo>
                    <a:pt x="4" y="5"/>
                    <a:pt x="6" y="4"/>
                    <a:pt x="8" y="4"/>
                  </a:cubicBezTo>
                  <a:cubicBezTo>
                    <a:pt x="6" y="0"/>
                    <a:pt x="3" y="1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526">
              <a:extLst>
                <a:ext uri="{FF2B5EF4-FFF2-40B4-BE49-F238E27FC236}">
                  <a16:creationId xmlns:a16="http://schemas.microsoft.com/office/drawing/2014/main" id="{5AD881E6-8E53-4FFB-8B15-C1C8B5B74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6708" y="2809218"/>
              <a:ext cx="17796" cy="13347"/>
            </a:xfrm>
            <a:custGeom>
              <a:avLst/>
              <a:gdLst>
                <a:gd name="T0" fmla="*/ 1 w 8"/>
                <a:gd name="T1" fmla="*/ 3 h 6"/>
                <a:gd name="T2" fmla="*/ 2 w 8"/>
                <a:gd name="T3" fmla="*/ 6 h 6"/>
                <a:gd name="T4" fmla="*/ 8 w 8"/>
                <a:gd name="T5" fmla="*/ 4 h 6"/>
                <a:gd name="T6" fmla="*/ 0 w 8"/>
                <a:gd name="T7" fmla="*/ 0 h 6"/>
                <a:gd name="T8" fmla="*/ 1 w 8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1" y="3"/>
                  </a:moveTo>
                  <a:cubicBezTo>
                    <a:pt x="1" y="4"/>
                    <a:pt x="2" y="5"/>
                    <a:pt x="2" y="6"/>
                  </a:cubicBezTo>
                  <a:cubicBezTo>
                    <a:pt x="4" y="5"/>
                    <a:pt x="6" y="4"/>
                    <a:pt x="8" y="4"/>
                  </a:cubicBezTo>
                  <a:cubicBezTo>
                    <a:pt x="6" y="0"/>
                    <a:pt x="3" y="1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527">
              <a:extLst>
                <a:ext uri="{FF2B5EF4-FFF2-40B4-BE49-F238E27FC236}">
                  <a16:creationId xmlns:a16="http://schemas.microsoft.com/office/drawing/2014/main" id="{7D41B04F-47A2-4BA4-AFA8-136DB19EC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6750" y="2720236"/>
              <a:ext cx="173515" cy="222455"/>
            </a:xfrm>
            <a:custGeom>
              <a:avLst/>
              <a:gdLst>
                <a:gd name="T0" fmla="*/ 7 w 80"/>
                <a:gd name="T1" fmla="*/ 22 h 102"/>
                <a:gd name="T2" fmla="*/ 1 w 80"/>
                <a:gd name="T3" fmla="*/ 22 h 102"/>
                <a:gd name="T4" fmla="*/ 5 w 80"/>
                <a:gd name="T5" fmla="*/ 29 h 102"/>
                <a:gd name="T6" fmla="*/ 14 w 80"/>
                <a:gd name="T7" fmla="*/ 33 h 102"/>
                <a:gd name="T8" fmla="*/ 19 w 80"/>
                <a:gd name="T9" fmla="*/ 39 h 102"/>
                <a:gd name="T10" fmla="*/ 13 w 80"/>
                <a:gd name="T11" fmla="*/ 38 h 102"/>
                <a:gd name="T12" fmla="*/ 10 w 80"/>
                <a:gd name="T13" fmla="*/ 32 h 102"/>
                <a:gd name="T14" fmla="*/ 16 w 80"/>
                <a:gd name="T15" fmla="*/ 46 h 102"/>
                <a:gd name="T16" fmla="*/ 26 w 80"/>
                <a:gd name="T17" fmla="*/ 42 h 102"/>
                <a:gd name="T18" fmla="*/ 29 w 80"/>
                <a:gd name="T19" fmla="*/ 46 h 102"/>
                <a:gd name="T20" fmla="*/ 23 w 80"/>
                <a:gd name="T21" fmla="*/ 39 h 102"/>
                <a:gd name="T22" fmla="*/ 19 w 80"/>
                <a:gd name="T23" fmla="*/ 29 h 102"/>
                <a:gd name="T24" fmla="*/ 35 w 80"/>
                <a:gd name="T25" fmla="*/ 39 h 102"/>
                <a:gd name="T26" fmla="*/ 39 w 80"/>
                <a:gd name="T27" fmla="*/ 60 h 102"/>
                <a:gd name="T28" fmla="*/ 35 w 80"/>
                <a:gd name="T29" fmla="*/ 69 h 102"/>
                <a:gd name="T30" fmla="*/ 40 w 80"/>
                <a:gd name="T31" fmla="*/ 76 h 102"/>
                <a:gd name="T32" fmla="*/ 41 w 80"/>
                <a:gd name="T33" fmla="*/ 88 h 102"/>
                <a:gd name="T34" fmla="*/ 51 w 80"/>
                <a:gd name="T35" fmla="*/ 94 h 102"/>
                <a:gd name="T36" fmla="*/ 57 w 80"/>
                <a:gd name="T37" fmla="*/ 97 h 102"/>
                <a:gd name="T38" fmla="*/ 56 w 80"/>
                <a:gd name="T39" fmla="*/ 92 h 102"/>
                <a:gd name="T40" fmla="*/ 52 w 80"/>
                <a:gd name="T41" fmla="*/ 79 h 102"/>
                <a:gd name="T42" fmla="*/ 55 w 80"/>
                <a:gd name="T43" fmla="*/ 81 h 102"/>
                <a:gd name="T44" fmla="*/ 60 w 80"/>
                <a:gd name="T45" fmla="*/ 90 h 102"/>
                <a:gd name="T46" fmla="*/ 61 w 80"/>
                <a:gd name="T47" fmla="*/ 102 h 102"/>
                <a:gd name="T48" fmla="*/ 72 w 80"/>
                <a:gd name="T49" fmla="*/ 93 h 102"/>
                <a:gd name="T50" fmla="*/ 76 w 80"/>
                <a:gd name="T51" fmla="*/ 89 h 102"/>
                <a:gd name="T52" fmla="*/ 73 w 80"/>
                <a:gd name="T53" fmla="*/ 57 h 102"/>
                <a:gd name="T54" fmla="*/ 72 w 80"/>
                <a:gd name="T55" fmla="*/ 47 h 102"/>
                <a:gd name="T56" fmla="*/ 73 w 80"/>
                <a:gd name="T57" fmla="*/ 34 h 102"/>
                <a:gd name="T58" fmla="*/ 75 w 80"/>
                <a:gd name="T59" fmla="*/ 31 h 102"/>
                <a:gd name="T60" fmla="*/ 68 w 80"/>
                <a:gd name="T61" fmla="*/ 26 h 102"/>
                <a:gd name="T62" fmla="*/ 57 w 80"/>
                <a:gd name="T63" fmla="*/ 23 h 102"/>
                <a:gd name="T64" fmla="*/ 57 w 80"/>
                <a:gd name="T65" fmla="*/ 10 h 102"/>
                <a:gd name="T66" fmla="*/ 37 w 80"/>
                <a:gd name="T67" fmla="*/ 9 h 102"/>
                <a:gd name="T68" fmla="*/ 29 w 80"/>
                <a:gd name="T69" fmla="*/ 1 h 102"/>
                <a:gd name="T70" fmla="*/ 20 w 80"/>
                <a:gd name="T71" fmla="*/ 13 h 102"/>
                <a:gd name="T72" fmla="*/ 11 w 80"/>
                <a:gd name="T73" fmla="*/ 18 h 102"/>
                <a:gd name="T74" fmla="*/ 7 w 80"/>
                <a:gd name="T75" fmla="*/ 2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102">
                  <a:moveTo>
                    <a:pt x="7" y="22"/>
                  </a:moveTo>
                  <a:cubicBezTo>
                    <a:pt x="6" y="21"/>
                    <a:pt x="2" y="21"/>
                    <a:pt x="1" y="22"/>
                  </a:cubicBezTo>
                  <a:cubicBezTo>
                    <a:pt x="0" y="23"/>
                    <a:pt x="4" y="28"/>
                    <a:pt x="5" y="29"/>
                  </a:cubicBezTo>
                  <a:cubicBezTo>
                    <a:pt x="7" y="31"/>
                    <a:pt x="11" y="31"/>
                    <a:pt x="14" y="33"/>
                  </a:cubicBezTo>
                  <a:cubicBezTo>
                    <a:pt x="17" y="34"/>
                    <a:pt x="17" y="38"/>
                    <a:pt x="19" y="39"/>
                  </a:cubicBezTo>
                  <a:cubicBezTo>
                    <a:pt x="18" y="38"/>
                    <a:pt x="15" y="39"/>
                    <a:pt x="13" y="38"/>
                  </a:cubicBezTo>
                  <a:cubicBezTo>
                    <a:pt x="12" y="37"/>
                    <a:pt x="11" y="34"/>
                    <a:pt x="10" y="32"/>
                  </a:cubicBezTo>
                  <a:cubicBezTo>
                    <a:pt x="4" y="37"/>
                    <a:pt x="16" y="41"/>
                    <a:pt x="16" y="46"/>
                  </a:cubicBezTo>
                  <a:cubicBezTo>
                    <a:pt x="17" y="44"/>
                    <a:pt x="24" y="38"/>
                    <a:pt x="26" y="42"/>
                  </a:cubicBezTo>
                  <a:cubicBezTo>
                    <a:pt x="26" y="44"/>
                    <a:pt x="25" y="47"/>
                    <a:pt x="29" y="46"/>
                  </a:cubicBezTo>
                  <a:cubicBezTo>
                    <a:pt x="33" y="46"/>
                    <a:pt x="30" y="35"/>
                    <a:pt x="23" y="39"/>
                  </a:cubicBezTo>
                  <a:cubicBezTo>
                    <a:pt x="25" y="35"/>
                    <a:pt x="22" y="32"/>
                    <a:pt x="19" y="29"/>
                  </a:cubicBezTo>
                  <a:cubicBezTo>
                    <a:pt x="23" y="23"/>
                    <a:pt x="33" y="36"/>
                    <a:pt x="35" y="39"/>
                  </a:cubicBezTo>
                  <a:cubicBezTo>
                    <a:pt x="39" y="45"/>
                    <a:pt x="43" y="53"/>
                    <a:pt x="39" y="60"/>
                  </a:cubicBezTo>
                  <a:cubicBezTo>
                    <a:pt x="37" y="64"/>
                    <a:pt x="34" y="63"/>
                    <a:pt x="35" y="69"/>
                  </a:cubicBezTo>
                  <a:cubicBezTo>
                    <a:pt x="36" y="72"/>
                    <a:pt x="38" y="74"/>
                    <a:pt x="40" y="76"/>
                  </a:cubicBezTo>
                  <a:cubicBezTo>
                    <a:pt x="41" y="78"/>
                    <a:pt x="49" y="91"/>
                    <a:pt x="41" y="88"/>
                  </a:cubicBezTo>
                  <a:cubicBezTo>
                    <a:pt x="44" y="91"/>
                    <a:pt x="46" y="94"/>
                    <a:pt x="51" y="94"/>
                  </a:cubicBezTo>
                  <a:cubicBezTo>
                    <a:pt x="53" y="94"/>
                    <a:pt x="54" y="97"/>
                    <a:pt x="57" y="97"/>
                  </a:cubicBezTo>
                  <a:cubicBezTo>
                    <a:pt x="60" y="96"/>
                    <a:pt x="58" y="93"/>
                    <a:pt x="56" y="92"/>
                  </a:cubicBezTo>
                  <a:cubicBezTo>
                    <a:pt x="52" y="90"/>
                    <a:pt x="50" y="83"/>
                    <a:pt x="52" y="79"/>
                  </a:cubicBezTo>
                  <a:cubicBezTo>
                    <a:pt x="55" y="75"/>
                    <a:pt x="61" y="83"/>
                    <a:pt x="55" y="81"/>
                  </a:cubicBezTo>
                  <a:cubicBezTo>
                    <a:pt x="56" y="84"/>
                    <a:pt x="59" y="87"/>
                    <a:pt x="60" y="90"/>
                  </a:cubicBezTo>
                  <a:cubicBezTo>
                    <a:pt x="62" y="94"/>
                    <a:pt x="61" y="98"/>
                    <a:pt x="61" y="102"/>
                  </a:cubicBezTo>
                  <a:cubicBezTo>
                    <a:pt x="66" y="100"/>
                    <a:pt x="68" y="96"/>
                    <a:pt x="72" y="93"/>
                  </a:cubicBezTo>
                  <a:cubicBezTo>
                    <a:pt x="64" y="88"/>
                    <a:pt x="69" y="86"/>
                    <a:pt x="76" y="89"/>
                  </a:cubicBezTo>
                  <a:cubicBezTo>
                    <a:pt x="80" y="80"/>
                    <a:pt x="72" y="67"/>
                    <a:pt x="73" y="57"/>
                  </a:cubicBezTo>
                  <a:cubicBezTo>
                    <a:pt x="73" y="56"/>
                    <a:pt x="71" y="48"/>
                    <a:pt x="72" y="47"/>
                  </a:cubicBezTo>
                  <a:cubicBezTo>
                    <a:pt x="75" y="42"/>
                    <a:pt x="80" y="38"/>
                    <a:pt x="73" y="34"/>
                  </a:cubicBezTo>
                  <a:cubicBezTo>
                    <a:pt x="74" y="33"/>
                    <a:pt x="74" y="32"/>
                    <a:pt x="75" y="31"/>
                  </a:cubicBezTo>
                  <a:cubicBezTo>
                    <a:pt x="71" y="32"/>
                    <a:pt x="70" y="29"/>
                    <a:pt x="68" y="26"/>
                  </a:cubicBezTo>
                  <a:cubicBezTo>
                    <a:pt x="65" y="24"/>
                    <a:pt x="60" y="26"/>
                    <a:pt x="57" y="23"/>
                  </a:cubicBezTo>
                  <a:cubicBezTo>
                    <a:pt x="61" y="20"/>
                    <a:pt x="62" y="13"/>
                    <a:pt x="57" y="10"/>
                  </a:cubicBezTo>
                  <a:cubicBezTo>
                    <a:pt x="50" y="7"/>
                    <a:pt x="44" y="18"/>
                    <a:pt x="37" y="9"/>
                  </a:cubicBezTo>
                  <a:cubicBezTo>
                    <a:pt x="33" y="3"/>
                    <a:pt x="36" y="0"/>
                    <a:pt x="29" y="1"/>
                  </a:cubicBezTo>
                  <a:cubicBezTo>
                    <a:pt x="23" y="2"/>
                    <a:pt x="16" y="6"/>
                    <a:pt x="20" y="13"/>
                  </a:cubicBezTo>
                  <a:cubicBezTo>
                    <a:pt x="13" y="13"/>
                    <a:pt x="16" y="13"/>
                    <a:pt x="11" y="18"/>
                  </a:cubicBezTo>
                  <a:cubicBezTo>
                    <a:pt x="8" y="11"/>
                    <a:pt x="6" y="18"/>
                    <a:pt x="7" y="2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Freeform 528">
              <a:extLst>
                <a:ext uri="{FF2B5EF4-FFF2-40B4-BE49-F238E27FC236}">
                  <a16:creationId xmlns:a16="http://schemas.microsoft.com/office/drawing/2014/main" id="{EA272550-1790-46DE-ABEA-8AEBFFD49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6750" y="2720236"/>
              <a:ext cx="173515" cy="222455"/>
            </a:xfrm>
            <a:custGeom>
              <a:avLst/>
              <a:gdLst>
                <a:gd name="T0" fmla="*/ 7 w 80"/>
                <a:gd name="T1" fmla="*/ 22 h 102"/>
                <a:gd name="T2" fmla="*/ 1 w 80"/>
                <a:gd name="T3" fmla="*/ 22 h 102"/>
                <a:gd name="T4" fmla="*/ 5 w 80"/>
                <a:gd name="T5" fmla="*/ 29 h 102"/>
                <a:gd name="T6" fmla="*/ 14 w 80"/>
                <a:gd name="T7" fmla="*/ 33 h 102"/>
                <a:gd name="T8" fmla="*/ 19 w 80"/>
                <a:gd name="T9" fmla="*/ 39 h 102"/>
                <a:gd name="T10" fmla="*/ 13 w 80"/>
                <a:gd name="T11" fmla="*/ 38 h 102"/>
                <a:gd name="T12" fmla="*/ 10 w 80"/>
                <a:gd name="T13" fmla="*/ 32 h 102"/>
                <a:gd name="T14" fmla="*/ 16 w 80"/>
                <a:gd name="T15" fmla="*/ 46 h 102"/>
                <a:gd name="T16" fmla="*/ 26 w 80"/>
                <a:gd name="T17" fmla="*/ 42 h 102"/>
                <a:gd name="T18" fmla="*/ 29 w 80"/>
                <a:gd name="T19" fmla="*/ 46 h 102"/>
                <a:gd name="T20" fmla="*/ 23 w 80"/>
                <a:gd name="T21" fmla="*/ 39 h 102"/>
                <a:gd name="T22" fmla="*/ 19 w 80"/>
                <a:gd name="T23" fmla="*/ 29 h 102"/>
                <a:gd name="T24" fmla="*/ 35 w 80"/>
                <a:gd name="T25" fmla="*/ 39 h 102"/>
                <a:gd name="T26" fmla="*/ 39 w 80"/>
                <a:gd name="T27" fmla="*/ 60 h 102"/>
                <a:gd name="T28" fmla="*/ 35 w 80"/>
                <a:gd name="T29" fmla="*/ 69 h 102"/>
                <a:gd name="T30" fmla="*/ 40 w 80"/>
                <a:gd name="T31" fmla="*/ 76 h 102"/>
                <a:gd name="T32" fmla="*/ 41 w 80"/>
                <a:gd name="T33" fmla="*/ 88 h 102"/>
                <a:gd name="T34" fmla="*/ 51 w 80"/>
                <a:gd name="T35" fmla="*/ 94 h 102"/>
                <a:gd name="T36" fmla="*/ 57 w 80"/>
                <a:gd name="T37" fmla="*/ 97 h 102"/>
                <a:gd name="T38" fmla="*/ 56 w 80"/>
                <a:gd name="T39" fmla="*/ 92 h 102"/>
                <a:gd name="T40" fmla="*/ 52 w 80"/>
                <a:gd name="T41" fmla="*/ 79 h 102"/>
                <a:gd name="T42" fmla="*/ 55 w 80"/>
                <a:gd name="T43" fmla="*/ 81 h 102"/>
                <a:gd name="T44" fmla="*/ 60 w 80"/>
                <a:gd name="T45" fmla="*/ 90 h 102"/>
                <a:gd name="T46" fmla="*/ 61 w 80"/>
                <a:gd name="T47" fmla="*/ 102 h 102"/>
                <a:gd name="T48" fmla="*/ 72 w 80"/>
                <a:gd name="T49" fmla="*/ 93 h 102"/>
                <a:gd name="T50" fmla="*/ 76 w 80"/>
                <a:gd name="T51" fmla="*/ 89 h 102"/>
                <a:gd name="T52" fmla="*/ 73 w 80"/>
                <a:gd name="T53" fmla="*/ 57 h 102"/>
                <a:gd name="T54" fmla="*/ 72 w 80"/>
                <a:gd name="T55" fmla="*/ 47 h 102"/>
                <a:gd name="T56" fmla="*/ 73 w 80"/>
                <a:gd name="T57" fmla="*/ 34 h 102"/>
                <a:gd name="T58" fmla="*/ 75 w 80"/>
                <a:gd name="T59" fmla="*/ 31 h 102"/>
                <a:gd name="T60" fmla="*/ 68 w 80"/>
                <a:gd name="T61" fmla="*/ 26 h 102"/>
                <a:gd name="T62" fmla="*/ 57 w 80"/>
                <a:gd name="T63" fmla="*/ 23 h 102"/>
                <a:gd name="T64" fmla="*/ 57 w 80"/>
                <a:gd name="T65" fmla="*/ 10 h 102"/>
                <a:gd name="T66" fmla="*/ 37 w 80"/>
                <a:gd name="T67" fmla="*/ 9 h 102"/>
                <a:gd name="T68" fmla="*/ 29 w 80"/>
                <a:gd name="T69" fmla="*/ 1 h 102"/>
                <a:gd name="T70" fmla="*/ 20 w 80"/>
                <a:gd name="T71" fmla="*/ 13 h 102"/>
                <a:gd name="T72" fmla="*/ 11 w 80"/>
                <a:gd name="T73" fmla="*/ 18 h 102"/>
                <a:gd name="T74" fmla="*/ 7 w 80"/>
                <a:gd name="T75" fmla="*/ 2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102">
                  <a:moveTo>
                    <a:pt x="7" y="22"/>
                  </a:moveTo>
                  <a:cubicBezTo>
                    <a:pt x="6" y="21"/>
                    <a:pt x="2" y="21"/>
                    <a:pt x="1" y="22"/>
                  </a:cubicBezTo>
                  <a:cubicBezTo>
                    <a:pt x="0" y="23"/>
                    <a:pt x="4" y="28"/>
                    <a:pt x="5" y="29"/>
                  </a:cubicBezTo>
                  <a:cubicBezTo>
                    <a:pt x="7" y="31"/>
                    <a:pt x="11" y="31"/>
                    <a:pt x="14" y="33"/>
                  </a:cubicBezTo>
                  <a:cubicBezTo>
                    <a:pt x="17" y="34"/>
                    <a:pt x="17" y="38"/>
                    <a:pt x="19" y="39"/>
                  </a:cubicBezTo>
                  <a:cubicBezTo>
                    <a:pt x="18" y="38"/>
                    <a:pt x="15" y="39"/>
                    <a:pt x="13" y="38"/>
                  </a:cubicBezTo>
                  <a:cubicBezTo>
                    <a:pt x="12" y="37"/>
                    <a:pt x="11" y="34"/>
                    <a:pt x="10" y="32"/>
                  </a:cubicBezTo>
                  <a:cubicBezTo>
                    <a:pt x="4" y="37"/>
                    <a:pt x="16" y="41"/>
                    <a:pt x="16" y="46"/>
                  </a:cubicBezTo>
                  <a:cubicBezTo>
                    <a:pt x="17" y="44"/>
                    <a:pt x="24" y="38"/>
                    <a:pt x="26" y="42"/>
                  </a:cubicBezTo>
                  <a:cubicBezTo>
                    <a:pt x="26" y="44"/>
                    <a:pt x="25" y="47"/>
                    <a:pt x="29" y="46"/>
                  </a:cubicBezTo>
                  <a:cubicBezTo>
                    <a:pt x="33" y="46"/>
                    <a:pt x="30" y="35"/>
                    <a:pt x="23" y="39"/>
                  </a:cubicBezTo>
                  <a:cubicBezTo>
                    <a:pt x="25" y="35"/>
                    <a:pt x="22" y="32"/>
                    <a:pt x="19" y="29"/>
                  </a:cubicBezTo>
                  <a:cubicBezTo>
                    <a:pt x="23" y="23"/>
                    <a:pt x="33" y="36"/>
                    <a:pt x="35" y="39"/>
                  </a:cubicBezTo>
                  <a:cubicBezTo>
                    <a:pt x="39" y="45"/>
                    <a:pt x="43" y="53"/>
                    <a:pt x="39" y="60"/>
                  </a:cubicBezTo>
                  <a:cubicBezTo>
                    <a:pt x="37" y="64"/>
                    <a:pt x="34" y="63"/>
                    <a:pt x="35" y="69"/>
                  </a:cubicBezTo>
                  <a:cubicBezTo>
                    <a:pt x="36" y="72"/>
                    <a:pt x="38" y="74"/>
                    <a:pt x="40" y="76"/>
                  </a:cubicBezTo>
                  <a:cubicBezTo>
                    <a:pt x="41" y="78"/>
                    <a:pt x="49" y="91"/>
                    <a:pt x="41" y="88"/>
                  </a:cubicBezTo>
                  <a:cubicBezTo>
                    <a:pt x="44" y="91"/>
                    <a:pt x="46" y="94"/>
                    <a:pt x="51" y="94"/>
                  </a:cubicBezTo>
                  <a:cubicBezTo>
                    <a:pt x="53" y="94"/>
                    <a:pt x="54" y="97"/>
                    <a:pt x="57" y="97"/>
                  </a:cubicBezTo>
                  <a:cubicBezTo>
                    <a:pt x="60" y="96"/>
                    <a:pt x="58" y="93"/>
                    <a:pt x="56" y="92"/>
                  </a:cubicBezTo>
                  <a:cubicBezTo>
                    <a:pt x="52" y="90"/>
                    <a:pt x="50" y="83"/>
                    <a:pt x="52" y="79"/>
                  </a:cubicBezTo>
                  <a:cubicBezTo>
                    <a:pt x="55" y="75"/>
                    <a:pt x="61" y="83"/>
                    <a:pt x="55" y="81"/>
                  </a:cubicBezTo>
                  <a:cubicBezTo>
                    <a:pt x="56" y="84"/>
                    <a:pt x="59" y="87"/>
                    <a:pt x="60" y="90"/>
                  </a:cubicBezTo>
                  <a:cubicBezTo>
                    <a:pt x="62" y="94"/>
                    <a:pt x="61" y="98"/>
                    <a:pt x="61" y="102"/>
                  </a:cubicBezTo>
                  <a:cubicBezTo>
                    <a:pt x="66" y="100"/>
                    <a:pt x="68" y="96"/>
                    <a:pt x="72" y="93"/>
                  </a:cubicBezTo>
                  <a:cubicBezTo>
                    <a:pt x="64" y="88"/>
                    <a:pt x="69" y="86"/>
                    <a:pt x="76" y="89"/>
                  </a:cubicBezTo>
                  <a:cubicBezTo>
                    <a:pt x="80" y="80"/>
                    <a:pt x="72" y="67"/>
                    <a:pt x="73" y="57"/>
                  </a:cubicBezTo>
                  <a:cubicBezTo>
                    <a:pt x="73" y="56"/>
                    <a:pt x="71" y="48"/>
                    <a:pt x="72" y="47"/>
                  </a:cubicBezTo>
                  <a:cubicBezTo>
                    <a:pt x="75" y="42"/>
                    <a:pt x="80" y="38"/>
                    <a:pt x="73" y="34"/>
                  </a:cubicBezTo>
                  <a:cubicBezTo>
                    <a:pt x="74" y="33"/>
                    <a:pt x="74" y="32"/>
                    <a:pt x="75" y="31"/>
                  </a:cubicBezTo>
                  <a:cubicBezTo>
                    <a:pt x="71" y="32"/>
                    <a:pt x="70" y="29"/>
                    <a:pt x="68" y="26"/>
                  </a:cubicBezTo>
                  <a:cubicBezTo>
                    <a:pt x="65" y="24"/>
                    <a:pt x="60" y="26"/>
                    <a:pt x="57" y="23"/>
                  </a:cubicBezTo>
                  <a:cubicBezTo>
                    <a:pt x="61" y="20"/>
                    <a:pt x="62" y="13"/>
                    <a:pt x="57" y="10"/>
                  </a:cubicBezTo>
                  <a:cubicBezTo>
                    <a:pt x="50" y="7"/>
                    <a:pt x="44" y="18"/>
                    <a:pt x="37" y="9"/>
                  </a:cubicBezTo>
                  <a:cubicBezTo>
                    <a:pt x="33" y="3"/>
                    <a:pt x="36" y="0"/>
                    <a:pt x="29" y="1"/>
                  </a:cubicBezTo>
                  <a:cubicBezTo>
                    <a:pt x="23" y="2"/>
                    <a:pt x="16" y="6"/>
                    <a:pt x="20" y="13"/>
                  </a:cubicBezTo>
                  <a:cubicBezTo>
                    <a:pt x="13" y="13"/>
                    <a:pt x="16" y="13"/>
                    <a:pt x="11" y="18"/>
                  </a:cubicBezTo>
                  <a:cubicBezTo>
                    <a:pt x="8" y="11"/>
                    <a:pt x="6" y="18"/>
                    <a:pt x="7" y="2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Freeform 529">
              <a:extLst>
                <a:ext uri="{FF2B5EF4-FFF2-40B4-BE49-F238E27FC236}">
                  <a16:creationId xmlns:a16="http://schemas.microsoft.com/office/drawing/2014/main" id="{FB202696-BA58-43FB-ADE5-9AF76DA6D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1241" y="3258576"/>
              <a:ext cx="40042" cy="53389"/>
            </a:xfrm>
            <a:custGeom>
              <a:avLst/>
              <a:gdLst>
                <a:gd name="T0" fmla="*/ 3 w 18"/>
                <a:gd name="T1" fmla="*/ 26 h 26"/>
                <a:gd name="T2" fmla="*/ 8 w 18"/>
                <a:gd name="T3" fmla="*/ 13 h 26"/>
                <a:gd name="T4" fmla="*/ 15 w 18"/>
                <a:gd name="T5" fmla="*/ 0 h 26"/>
                <a:gd name="T6" fmla="*/ 5 w 18"/>
                <a:gd name="T7" fmla="*/ 4 h 26"/>
                <a:gd name="T8" fmla="*/ 4 w 18"/>
                <a:gd name="T9" fmla="*/ 13 h 26"/>
                <a:gd name="T10" fmla="*/ 3 w 18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6">
                  <a:moveTo>
                    <a:pt x="3" y="26"/>
                  </a:moveTo>
                  <a:cubicBezTo>
                    <a:pt x="7" y="24"/>
                    <a:pt x="5" y="16"/>
                    <a:pt x="8" y="13"/>
                  </a:cubicBezTo>
                  <a:cubicBezTo>
                    <a:pt x="11" y="9"/>
                    <a:pt x="18" y="6"/>
                    <a:pt x="15" y="0"/>
                  </a:cubicBezTo>
                  <a:cubicBezTo>
                    <a:pt x="12" y="1"/>
                    <a:pt x="9" y="10"/>
                    <a:pt x="5" y="4"/>
                  </a:cubicBezTo>
                  <a:cubicBezTo>
                    <a:pt x="5" y="9"/>
                    <a:pt x="7" y="10"/>
                    <a:pt x="4" y="13"/>
                  </a:cubicBezTo>
                  <a:cubicBezTo>
                    <a:pt x="1" y="16"/>
                    <a:pt x="0" y="23"/>
                    <a:pt x="3" y="2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Freeform 530">
              <a:extLst>
                <a:ext uri="{FF2B5EF4-FFF2-40B4-BE49-F238E27FC236}">
                  <a16:creationId xmlns:a16="http://schemas.microsoft.com/office/drawing/2014/main" id="{1DEEB59C-C88C-49E9-A09D-32BAC8E7B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1241" y="3258576"/>
              <a:ext cx="40042" cy="53389"/>
            </a:xfrm>
            <a:custGeom>
              <a:avLst/>
              <a:gdLst>
                <a:gd name="T0" fmla="*/ 3 w 18"/>
                <a:gd name="T1" fmla="*/ 26 h 26"/>
                <a:gd name="T2" fmla="*/ 8 w 18"/>
                <a:gd name="T3" fmla="*/ 13 h 26"/>
                <a:gd name="T4" fmla="*/ 15 w 18"/>
                <a:gd name="T5" fmla="*/ 0 h 26"/>
                <a:gd name="T6" fmla="*/ 5 w 18"/>
                <a:gd name="T7" fmla="*/ 4 h 26"/>
                <a:gd name="T8" fmla="*/ 4 w 18"/>
                <a:gd name="T9" fmla="*/ 13 h 26"/>
                <a:gd name="T10" fmla="*/ 3 w 18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6">
                  <a:moveTo>
                    <a:pt x="3" y="26"/>
                  </a:moveTo>
                  <a:cubicBezTo>
                    <a:pt x="7" y="24"/>
                    <a:pt x="5" y="16"/>
                    <a:pt x="8" y="13"/>
                  </a:cubicBezTo>
                  <a:cubicBezTo>
                    <a:pt x="11" y="9"/>
                    <a:pt x="18" y="6"/>
                    <a:pt x="15" y="0"/>
                  </a:cubicBezTo>
                  <a:cubicBezTo>
                    <a:pt x="12" y="1"/>
                    <a:pt x="9" y="10"/>
                    <a:pt x="5" y="4"/>
                  </a:cubicBezTo>
                  <a:cubicBezTo>
                    <a:pt x="5" y="9"/>
                    <a:pt x="7" y="10"/>
                    <a:pt x="4" y="13"/>
                  </a:cubicBezTo>
                  <a:cubicBezTo>
                    <a:pt x="1" y="16"/>
                    <a:pt x="0" y="23"/>
                    <a:pt x="3" y="2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531">
              <a:extLst>
                <a:ext uri="{FF2B5EF4-FFF2-40B4-BE49-F238E27FC236}">
                  <a16:creationId xmlns:a16="http://schemas.microsoft.com/office/drawing/2014/main" id="{735528E2-2361-4DF8-8BA1-EDB63A622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588" y="2150751"/>
              <a:ext cx="578382" cy="613975"/>
            </a:xfrm>
            <a:custGeom>
              <a:avLst/>
              <a:gdLst>
                <a:gd name="T0" fmla="*/ 18 w 266"/>
                <a:gd name="T1" fmla="*/ 263 h 282"/>
                <a:gd name="T2" fmla="*/ 43 w 266"/>
                <a:gd name="T3" fmla="*/ 249 h 282"/>
                <a:gd name="T4" fmla="*/ 63 w 266"/>
                <a:gd name="T5" fmla="*/ 248 h 282"/>
                <a:gd name="T6" fmla="*/ 66 w 266"/>
                <a:gd name="T7" fmla="*/ 248 h 282"/>
                <a:gd name="T8" fmla="*/ 80 w 266"/>
                <a:gd name="T9" fmla="*/ 245 h 282"/>
                <a:gd name="T10" fmla="*/ 99 w 266"/>
                <a:gd name="T11" fmla="*/ 236 h 282"/>
                <a:gd name="T12" fmla="*/ 127 w 266"/>
                <a:gd name="T13" fmla="*/ 240 h 282"/>
                <a:gd name="T14" fmla="*/ 126 w 266"/>
                <a:gd name="T15" fmla="*/ 261 h 282"/>
                <a:gd name="T16" fmla="*/ 143 w 266"/>
                <a:gd name="T17" fmla="*/ 277 h 282"/>
                <a:gd name="T18" fmla="*/ 158 w 266"/>
                <a:gd name="T19" fmla="*/ 264 h 282"/>
                <a:gd name="T20" fmla="*/ 173 w 266"/>
                <a:gd name="T21" fmla="*/ 252 h 282"/>
                <a:gd name="T22" fmla="*/ 157 w 266"/>
                <a:gd name="T23" fmla="*/ 230 h 282"/>
                <a:gd name="T24" fmla="*/ 168 w 266"/>
                <a:gd name="T25" fmla="*/ 236 h 282"/>
                <a:gd name="T26" fmla="*/ 179 w 266"/>
                <a:gd name="T27" fmla="*/ 237 h 282"/>
                <a:gd name="T28" fmla="*/ 207 w 266"/>
                <a:gd name="T29" fmla="*/ 241 h 282"/>
                <a:gd name="T30" fmla="*/ 217 w 266"/>
                <a:gd name="T31" fmla="*/ 228 h 282"/>
                <a:gd name="T32" fmla="*/ 229 w 266"/>
                <a:gd name="T33" fmla="*/ 231 h 282"/>
                <a:gd name="T34" fmla="*/ 240 w 266"/>
                <a:gd name="T35" fmla="*/ 221 h 282"/>
                <a:gd name="T36" fmla="*/ 245 w 266"/>
                <a:gd name="T37" fmla="*/ 212 h 282"/>
                <a:gd name="T38" fmla="*/ 260 w 266"/>
                <a:gd name="T39" fmla="*/ 219 h 282"/>
                <a:gd name="T40" fmla="*/ 266 w 266"/>
                <a:gd name="T41" fmla="*/ 202 h 282"/>
                <a:gd name="T42" fmla="*/ 245 w 266"/>
                <a:gd name="T43" fmla="*/ 164 h 282"/>
                <a:gd name="T44" fmla="*/ 247 w 266"/>
                <a:gd name="T45" fmla="*/ 157 h 282"/>
                <a:gd name="T46" fmla="*/ 242 w 266"/>
                <a:gd name="T47" fmla="*/ 114 h 282"/>
                <a:gd name="T48" fmla="*/ 235 w 266"/>
                <a:gd name="T49" fmla="*/ 76 h 282"/>
                <a:gd name="T50" fmla="*/ 225 w 266"/>
                <a:gd name="T51" fmla="*/ 57 h 282"/>
                <a:gd name="T52" fmla="*/ 199 w 266"/>
                <a:gd name="T53" fmla="*/ 34 h 282"/>
                <a:gd name="T54" fmla="*/ 166 w 266"/>
                <a:gd name="T55" fmla="*/ 5 h 282"/>
                <a:gd name="T56" fmla="*/ 183 w 266"/>
                <a:gd name="T57" fmla="*/ 25 h 282"/>
                <a:gd name="T58" fmla="*/ 174 w 266"/>
                <a:gd name="T59" fmla="*/ 26 h 282"/>
                <a:gd name="T60" fmla="*/ 154 w 266"/>
                <a:gd name="T61" fmla="*/ 12 h 282"/>
                <a:gd name="T62" fmla="*/ 154 w 266"/>
                <a:gd name="T63" fmla="*/ 35 h 282"/>
                <a:gd name="T64" fmla="*/ 160 w 266"/>
                <a:gd name="T65" fmla="*/ 55 h 282"/>
                <a:gd name="T66" fmla="*/ 176 w 266"/>
                <a:gd name="T67" fmla="*/ 66 h 282"/>
                <a:gd name="T68" fmla="*/ 180 w 266"/>
                <a:gd name="T69" fmla="*/ 125 h 282"/>
                <a:gd name="T70" fmla="*/ 152 w 266"/>
                <a:gd name="T71" fmla="*/ 159 h 282"/>
                <a:gd name="T72" fmla="*/ 133 w 266"/>
                <a:gd name="T73" fmla="*/ 156 h 282"/>
                <a:gd name="T74" fmla="*/ 136 w 266"/>
                <a:gd name="T75" fmla="*/ 140 h 282"/>
                <a:gd name="T76" fmla="*/ 130 w 266"/>
                <a:gd name="T77" fmla="*/ 169 h 282"/>
                <a:gd name="T78" fmla="*/ 129 w 266"/>
                <a:gd name="T79" fmla="*/ 205 h 282"/>
                <a:gd name="T80" fmla="*/ 112 w 266"/>
                <a:gd name="T81" fmla="*/ 211 h 282"/>
                <a:gd name="T82" fmla="*/ 103 w 266"/>
                <a:gd name="T83" fmla="*/ 201 h 282"/>
                <a:gd name="T84" fmla="*/ 81 w 266"/>
                <a:gd name="T85" fmla="*/ 206 h 282"/>
                <a:gd name="T86" fmla="*/ 58 w 266"/>
                <a:gd name="T87" fmla="*/ 210 h 282"/>
                <a:gd name="T88" fmla="*/ 34 w 266"/>
                <a:gd name="T89" fmla="*/ 212 h 282"/>
                <a:gd name="T90" fmla="*/ 0 w 266"/>
                <a:gd name="T91" fmla="*/ 251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6" h="282">
                  <a:moveTo>
                    <a:pt x="6" y="264"/>
                  </a:moveTo>
                  <a:cubicBezTo>
                    <a:pt x="6" y="259"/>
                    <a:pt x="14" y="265"/>
                    <a:pt x="18" y="263"/>
                  </a:cubicBezTo>
                  <a:cubicBezTo>
                    <a:pt x="28" y="260"/>
                    <a:pt x="34" y="262"/>
                    <a:pt x="42" y="267"/>
                  </a:cubicBezTo>
                  <a:cubicBezTo>
                    <a:pt x="39" y="265"/>
                    <a:pt x="37" y="250"/>
                    <a:pt x="43" y="249"/>
                  </a:cubicBezTo>
                  <a:cubicBezTo>
                    <a:pt x="46" y="249"/>
                    <a:pt x="48" y="253"/>
                    <a:pt x="51" y="254"/>
                  </a:cubicBezTo>
                  <a:cubicBezTo>
                    <a:pt x="53" y="255"/>
                    <a:pt x="62" y="250"/>
                    <a:pt x="63" y="248"/>
                  </a:cubicBezTo>
                  <a:cubicBezTo>
                    <a:pt x="63" y="250"/>
                    <a:pt x="64" y="251"/>
                    <a:pt x="65" y="251"/>
                  </a:cubicBezTo>
                  <a:cubicBezTo>
                    <a:pt x="66" y="250"/>
                    <a:pt x="66" y="249"/>
                    <a:pt x="66" y="248"/>
                  </a:cubicBezTo>
                  <a:cubicBezTo>
                    <a:pt x="68" y="249"/>
                    <a:pt x="71" y="249"/>
                    <a:pt x="71" y="245"/>
                  </a:cubicBezTo>
                  <a:cubicBezTo>
                    <a:pt x="74" y="247"/>
                    <a:pt x="77" y="243"/>
                    <a:pt x="80" y="245"/>
                  </a:cubicBezTo>
                  <a:cubicBezTo>
                    <a:pt x="85" y="246"/>
                    <a:pt x="89" y="240"/>
                    <a:pt x="83" y="241"/>
                  </a:cubicBezTo>
                  <a:cubicBezTo>
                    <a:pt x="88" y="240"/>
                    <a:pt x="93" y="237"/>
                    <a:pt x="99" y="236"/>
                  </a:cubicBezTo>
                  <a:cubicBezTo>
                    <a:pt x="105" y="235"/>
                    <a:pt x="109" y="240"/>
                    <a:pt x="115" y="239"/>
                  </a:cubicBezTo>
                  <a:cubicBezTo>
                    <a:pt x="119" y="239"/>
                    <a:pt x="124" y="235"/>
                    <a:pt x="127" y="240"/>
                  </a:cubicBezTo>
                  <a:cubicBezTo>
                    <a:pt x="129" y="244"/>
                    <a:pt x="124" y="250"/>
                    <a:pt x="120" y="252"/>
                  </a:cubicBezTo>
                  <a:cubicBezTo>
                    <a:pt x="124" y="254"/>
                    <a:pt x="126" y="257"/>
                    <a:pt x="126" y="261"/>
                  </a:cubicBezTo>
                  <a:cubicBezTo>
                    <a:pt x="125" y="266"/>
                    <a:pt x="131" y="268"/>
                    <a:pt x="134" y="270"/>
                  </a:cubicBezTo>
                  <a:cubicBezTo>
                    <a:pt x="138" y="272"/>
                    <a:pt x="139" y="276"/>
                    <a:pt x="143" y="277"/>
                  </a:cubicBezTo>
                  <a:cubicBezTo>
                    <a:pt x="146" y="279"/>
                    <a:pt x="149" y="280"/>
                    <a:pt x="152" y="281"/>
                  </a:cubicBezTo>
                  <a:cubicBezTo>
                    <a:pt x="155" y="282"/>
                    <a:pt x="157" y="266"/>
                    <a:pt x="158" y="264"/>
                  </a:cubicBezTo>
                  <a:cubicBezTo>
                    <a:pt x="159" y="261"/>
                    <a:pt x="158" y="256"/>
                    <a:pt x="160" y="254"/>
                  </a:cubicBezTo>
                  <a:cubicBezTo>
                    <a:pt x="164" y="251"/>
                    <a:pt x="169" y="254"/>
                    <a:pt x="173" y="252"/>
                  </a:cubicBezTo>
                  <a:cubicBezTo>
                    <a:pt x="170" y="247"/>
                    <a:pt x="167" y="244"/>
                    <a:pt x="162" y="242"/>
                  </a:cubicBezTo>
                  <a:cubicBezTo>
                    <a:pt x="155" y="239"/>
                    <a:pt x="157" y="236"/>
                    <a:pt x="157" y="230"/>
                  </a:cubicBezTo>
                  <a:cubicBezTo>
                    <a:pt x="157" y="227"/>
                    <a:pt x="160" y="222"/>
                    <a:pt x="162" y="227"/>
                  </a:cubicBezTo>
                  <a:cubicBezTo>
                    <a:pt x="164" y="230"/>
                    <a:pt x="163" y="237"/>
                    <a:pt x="168" y="236"/>
                  </a:cubicBezTo>
                  <a:cubicBezTo>
                    <a:pt x="166" y="234"/>
                    <a:pt x="166" y="232"/>
                    <a:pt x="167" y="230"/>
                  </a:cubicBezTo>
                  <a:cubicBezTo>
                    <a:pt x="168" y="238"/>
                    <a:pt x="178" y="231"/>
                    <a:pt x="179" y="237"/>
                  </a:cubicBezTo>
                  <a:cubicBezTo>
                    <a:pt x="177" y="238"/>
                    <a:pt x="175" y="239"/>
                    <a:pt x="175" y="242"/>
                  </a:cubicBezTo>
                  <a:cubicBezTo>
                    <a:pt x="185" y="236"/>
                    <a:pt x="197" y="240"/>
                    <a:pt x="207" y="241"/>
                  </a:cubicBezTo>
                  <a:cubicBezTo>
                    <a:pt x="200" y="235"/>
                    <a:pt x="212" y="216"/>
                    <a:pt x="220" y="227"/>
                  </a:cubicBezTo>
                  <a:cubicBezTo>
                    <a:pt x="219" y="227"/>
                    <a:pt x="218" y="227"/>
                    <a:pt x="217" y="228"/>
                  </a:cubicBezTo>
                  <a:cubicBezTo>
                    <a:pt x="219" y="231"/>
                    <a:pt x="219" y="238"/>
                    <a:pt x="223" y="240"/>
                  </a:cubicBezTo>
                  <a:cubicBezTo>
                    <a:pt x="228" y="242"/>
                    <a:pt x="229" y="234"/>
                    <a:pt x="229" y="231"/>
                  </a:cubicBezTo>
                  <a:cubicBezTo>
                    <a:pt x="228" y="227"/>
                    <a:pt x="225" y="225"/>
                    <a:pt x="224" y="221"/>
                  </a:cubicBezTo>
                  <a:cubicBezTo>
                    <a:pt x="223" y="212"/>
                    <a:pt x="237" y="219"/>
                    <a:pt x="240" y="221"/>
                  </a:cubicBezTo>
                  <a:cubicBezTo>
                    <a:pt x="242" y="218"/>
                    <a:pt x="230" y="211"/>
                    <a:pt x="238" y="209"/>
                  </a:cubicBezTo>
                  <a:cubicBezTo>
                    <a:pt x="234" y="204"/>
                    <a:pt x="250" y="202"/>
                    <a:pt x="245" y="212"/>
                  </a:cubicBezTo>
                  <a:cubicBezTo>
                    <a:pt x="244" y="214"/>
                    <a:pt x="244" y="229"/>
                    <a:pt x="248" y="230"/>
                  </a:cubicBezTo>
                  <a:cubicBezTo>
                    <a:pt x="250" y="231"/>
                    <a:pt x="260" y="221"/>
                    <a:pt x="260" y="219"/>
                  </a:cubicBezTo>
                  <a:cubicBezTo>
                    <a:pt x="260" y="216"/>
                    <a:pt x="257" y="214"/>
                    <a:pt x="257" y="210"/>
                  </a:cubicBezTo>
                  <a:cubicBezTo>
                    <a:pt x="257" y="206"/>
                    <a:pt x="262" y="204"/>
                    <a:pt x="266" y="202"/>
                  </a:cubicBezTo>
                  <a:cubicBezTo>
                    <a:pt x="256" y="196"/>
                    <a:pt x="250" y="187"/>
                    <a:pt x="247" y="176"/>
                  </a:cubicBezTo>
                  <a:cubicBezTo>
                    <a:pt x="245" y="172"/>
                    <a:pt x="245" y="168"/>
                    <a:pt x="245" y="164"/>
                  </a:cubicBezTo>
                  <a:cubicBezTo>
                    <a:pt x="245" y="161"/>
                    <a:pt x="245" y="161"/>
                    <a:pt x="247" y="160"/>
                  </a:cubicBezTo>
                  <a:cubicBezTo>
                    <a:pt x="249" y="160"/>
                    <a:pt x="247" y="158"/>
                    <a:pt x="247" y="157"/>
                  </a:cubicBezTo>
                  <a:cubicBezTo>
                    <a:pt x="247" y="145"/>
                    <a:pt x="237" y="136"/>
                    <a:pt x="231" y="126"/>
                  </a:cubicBezTo>
                  <a:cubicBezTo>
                    <a:pt x="225" y="116"/>
                    <a:pt x="230" y="106"/>
                    <a:pt x="242" y="114"/>
                  </a:cubicBezTo>
                  <a:cubicBezTo>
                    <a:pt x="238" y="109"/>
                    <a:pt x="229" y="89"/>
                    <a:pt x="238" y="87"/>
                  </a:cubicBezTo>
                  <a:cubicBezTo>
                    <a:pt x="235" y="84"/>
                    <a:pt x="237" y="79"/>
                    <a:pt x="235" y="76"/>
                  </a:cubicBezTo>
                  <a:cubicBezTo>
                    <a:pt x="233" y="73"/>
                    <a:pt x="233" y="70"/>
                    <a:pt x="231" y="68"/>
                  </a:cubicBezTo>
                  <a:cubicBezTo>
                    <a:pt x="229" y="64"/>
                    <a:pt x="227" y="60"/>
                    <a:pt x="225" y="57"/>
                  </a:cubicBezTo>
                  <a:cubicBezTo>
                    <a:pt x="222" y="54"/>
                    <a:pt x="220" y="53"/>
                    <a:pt x="218" y="50"/>
                  </a:cubicBezTo>
                  <a:cubicBezTo>
                    <a:pt x="214" y="43"/>
                    <a:pt x="205" y="39"/>
                    <a:pt x="199" y="34"/>
                  </a:cubicBezTo>
                  <a:cubicBezTo>
                    <a:pt x="191" y="28"/>
                    <a:pt x="186" y="16"/>
                    <a:pt x="183" y="7"/>
                  </a:cubicBezTo>
                  <a:cubicBezTo>
                    <a:pt x="179" y="11"/>
                    <a:pt x="168" y="0"/>
                    <a:pt x="166" y="5"/>
                  </a:cubicBezTo>
                  <a:cubicBezTo>
                    <a:pt x="162" y="11"/>
                    <a:pt x="175" y="20"/>
                    <a:pt x="177" y="11"/>
                  </a:cubicBezTo>
                  <a:cubicBezTo>
                    <a:pt x="182" y="13"/>
                    <a:pt x="186" y="20"/>
                    <a:pt x="183" y="25"/>
                  </a:cubicBezTo>
                  <a:cubicBezTo>
                    <a:pt x="180" y="23"/>
                    <a:pt x="177" y="22"/>
                    <a:pt x="174" y="20"/>
                  </a:cubicBezTo>
                  <a:cubicBezTo>
                    <a:pt x="176" y="22"/>
                    <a:pt x="176" y="24"/>
                    <a:pt x="174" y="26"/>
                  </a:cubicBezTo>
                  <a:cubicBezTo>
                    <a:pt x="169" y="25"/>
                    <a:pt x="168" y="20"/>
                    <a:pt x="165" y="17"/>
                  </a:cubicBezTo>
                  <a:cubicBezTo>
                    <a:pt x="162" y="13"/>
                    <a:pt x="158" y="14"/>
                    <a:pt x="154" y="12"/>
                  </a:cubicBezTo>
                  <a:cubicBezTo>
                    <a:pt x="154" y="16"/>
                    <a:pt x="163" y="25"/>
                    <a:pt x="159" y="28"/>
                  </a:cubicBezTo>
                  <a:cubicBezTo>
                    <a:pt x="157" y="30"/>
                    <a:pt x="150" y="31"/>
                    <a:pt x="154" y="35"/>
                  </a:cubicBezTo>
                  <a:cubicBezTo>
                    <a:pt x="157" y="38"/>
                    <a:pt x="163" y="42"/>
                    <a:pt x="165" y="46"/>
                  </a:cubicBezTo>
                  <a:cubicBezTo>
                    <a:pt x="166" y="50"/>
                    <a:pt x="166" y="59"/>
                    <a:pt x="160" y="55"/>
                  </a:cubicBezTo>
                  <a:cubicBezTo>
                    <a:pt x="161" y="59"/>
                    <a:pt x="163" y="58"/>
                    <a:pt x="167" y="58"/>
                  </a:cubicBezTo>
                  <a:cubicBezTo>
                    <a:pt x="171" y="58"/>
                    <a:pt x="174" y="63"/>
                    <a:pt x="176" y="66"/>
                  </a:cubicBezTo>
                  <a:cubicBezTo>
                    <a:pt x="181" y="75"/>
                    <a:pt x="183" y="90"/>
                    <a:pt x="182" y="100"/>
                  </a:cubicBezTo>
                  <a:cubicBezTo>
                    <a:pt x="181" y="107"/>
                    <a:pt x="188" y="120"/>
                    <a:pt x="180" y="125"/>
                  </a:cubicBezTo>
                  <a:cubicBezTo>
                    <a:pt x="171" y="130"/>
                    <a:pt x="175" y="139"/>
                    <a:pt x="171" y="147"/>
                  </a:cubicBezTo>
                  <a:cubicBezTo>
                    <a:pt x="167" y="154"/>
                    <a:pt x="158" y="155"/>
                    <a:pt x="152" y="159"/>
                  </a:cubicBezTo>
                  <a:cubicBezTo>
                    <a:pt x="148" y="161"/>
                    <a:pt x="144" y="173"/>
                    <a:pt x="138" y="163"/>
                  </a:cubicBezTo>
                  <a:cubicBezTo>
                    <a:pt x="136" y="161"/>
                    <a:pt x="137" y="157"/>
                    <a:pt x="133" y="156"/>
                  </a:cubicBezTo>
                  <a:cubicBezTo>
                    <a:pt x="131" y="156"/>
                    <a:pt x="128" y="151"/>
                    <a:pt x="131" y="152"/>
                  </a:cubicBezTo>
                  <a:cubicBezTo>
                    <a:pt x="138" y="153"/>
                    <a:pt x="135" y="142"/>
                    <a:pt x="136" y="140"/>
                  </a:cubicBezTo>
                  <a:cubicBezTo>
                    <a:pt x="132" y="139"/>
                    <a:pt x="124" y="143"/>
                    <a:pt x="123" y="148"/>
                  </a:cubicBezTo>
                  <a:cubicBezTo>
                    <a:pt x="121" y="154"/>
                    <a:pt x="131" y="161"/>
                    <a:pt x="130" y="169"/>
                  </a:cubicBezTo>
                  <a:cubicBezTo>
                    <a:pt x="129" y="176"/>
                    <a:pt x="126" y="179"/>
                    <a:pt x="122" y="184"/>
                  </a:cubicBezTo>
                  <a:cubicBezTo>
                    <a:pt x="116" y="193"/>
                    <a:pt x="129" y="198"/>
                    <a:pt x="129" y="205"/>
                  </a:cubicBezTo>
                  <a:cubicBezTo>
                    <a:pt x="123" y="200"/>
                    <a:pt x="128" y="208"/>
                    <a:pt x="122" y="206"/>
                  </a:cubicBezTo>
                  <a:cubicBezTo>
                    <a:pt x="124" y="215"/>
                    <a:pt x="106" y="204"/>
                    <a:pt x="112" y="211"/>
                  </a:cubicBezTo>
                  <a:cubicBezTo>
                    <a:pt x="110" y="210"/>
                    <a:pt x="106" y="210"/>
                    <a:pt x="106" y="207"/>
                  </a:cubicBezTo>
                  <a:cubicBezTo>
                    <a:pt x="105" y="204"/>
                    <a:pt x="107" y="200"/>
                    <a:pt x="103" y="201"/>
                  </a:cubicBezTo>
                  <a:cubicBezTo>
                    <a:pt x="100" y="202"/>
                    <a:pt x="99" y="203"/>
                    <a:pt x="97" y="204"/>
                  </a:cubicBezTo>
                  <a:cubicBezTo>
                    <a:pt x="92" y="205"/>
                    <a:pt x="86" y="204"/>
                    <a:pt x="81" y="206"/>
                  </a:cubicBezTo>
                  <a:cubicBezTo>
                    <a:pt x="78" y="208"/>
                    <a:pt x="75" y="209"/>
                    <a:pt x="71" y="210"/>
                  </a:cubicBezTo>
                  <a:cubicBezTo>
                    <a:pt x="68" y="210"/>
                    <a:pt x="60" y="208"/>
                    <a:pt x="58" y="210"/>
                  </a:cubicBezTo>
                  <a:cubicBezTo>
                    <a:pt x="54" y="212"/>
                    <a:pt x="52" y="211"/>
                    <a:pt x="49" y="209"/>
                  </a:cubicBezTo>
                  <a:cubicBezTo>
                    <a:pt x="45" y="206"/>
                    <a:pt x="38" y="211"/>
                    <a:pt x="34" y="212"/>
                  </a:cubicBezTo>
                  <a:cubicBezTo>
                    <a:pt x="41" y="219"/>
                    <a:pt x="15" y="239"/>
                    <a:pt x="13" y="244"/>
                  </a:cubicBezTo>
                  <a:cubicBezTo>
                    <a:pt x="11" y="250"/>
                    <a:pt x="0" y="245"/>
                    <a:pt x="0" y="251"/>
                  </a:cubicBezTo>
                  <a:cubicBezTo>
                    <a:pt x="0" y="255"/>
                    <a:pt x="3" y="260"/>
                    <a:pt x="6" y="26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532">
              <a:extLst>
                <a:ext uri="{FF2B5EF4-FFF2-40B4-BE49-F238E27FC236}">
                  <a16:creationId xmlns:a16="http://schemas.microsoft.com/office/drawing/2014/main" id="{F4D54482-C282-4078-8AA7-83262750C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588" y="2150751"/>
              <a:ext cx="578382" cy="613975"/>
            </a:xfrm>
            <a:custGeom>
              <a:avLst/>
              <a:gdLst>
                <a:gd name="T0" fmla="*/ 18 w 266"/>
                <a:gd name="T1" fmla="*/ 263 h 282"/>
                <a:gd name="T2" fmla="*/ 43 w 266"/>
                <a:gd name="T3" fmla="*/ 249 h 282"/>
                <a:gd name="T4" fmla="*/ 63 w 266"/>
                <a:gd name="T5" fmla="*/ 248 h 282"/>
                <a:gd name="T6" fmla="*/ 66 w 266"/>
                <a:gd name="T7" fmla="*/ 248 h 282"/>
                <a:gd name="T8" fmla="*/ 80 w 266"/>
                <a:gd name="T9" fmla="*/ 245 h 282"/>
                <a:gd name="T10" fmla="*/ 99 w 266"/>
                <a:gd name="T11" fmla="*/ 236 h 282"/>
                <a:gd name="T12" fmla="*/ 127 w 266"/>
                <a:gd name="T13" fmla="*/ 240 h 282"/>
                <a:gd name="T14" fmla="*/ 126 w 266"/>
                <a:gd name="T15" fmla="*/ 261 h 282"/>
                <a:gd name="T16" fmla="*/ 143 w 266"/>
                <a:gd name="T17" fmla="*/ 277 h 282"/>
                <a:gd name="T18" fmla="*/ 158 w 266"/>
                <a:gd name="T19" fmla="*/ 264 h 282"/>
                <a:gd name="T20" fmla="*/ 173 w 266"/>
                <a:gd name="T21" fmla="*/ 252 h 282"/>
                <a:gd name="T22" fmla="*/ 157 w 266"/>
                <a:gd name="T23" fmla="*/ 230 h 282"/>
                <a:gd name="T24" fmla="*/ 168 w 266"/>
                <a:gd name="T25" fmla="*/ 236 h 282"/>
                <a:gd name="T26" fmla="*/ 179 w 266"/>
                <a:gd name="T27" fmla="*/ 237 h 282"/>
                <a:gd name="T28" fmla="*/ 207 w 266"/>
                <a:gd name="T29" fmla="*/ 241 h 282"/>
                <a:gd name="T30" fmla="*/ 217 w 266"/>
                <a:gd name="T31" fmla="*/ 228 h 282"/>
                <a:gd name="T32" fmla="*/ 229 w 266"/>
                <a:gd name="T33" fmla="*/ 231 h 282"/>
                <a:gd name="T34" fmla="*/ 240 w 266"/>
                <a:gd name="T35" fmla="*/ 221 h 282"/>
                <a:gd name="T36" fmla="*/ 245 w 266"/>
                <a:gd name="T37" fmla="*/ 212 h 282"/>
                <a:gd name="T38" fmla="*/ 260 w 266"/>
                <a:gd name="T39" fmla="*/ 219 h 282"/>
                <a:gd name="T40" fmla="*/ 266 w 266"/>
                <a:gd name="T41" fmla="*/ 202 h 282"/>
                <a:gd name="T42" fmla="*/ 245 w 266"/>
                <a:gd name="T43" fmla="*/ 164 h 282"/>
                <a:gd name="T44" fmla="*/ 247 w 266"/>
                <a:gd name="T45" fmla="*/ 157 h 282"/>
                <a:gd name="T46" fmla="*/ 242 w 266"/>
                <a:gd name="T47" fmla="*/ 114 h 282"/>
                <a:gd name="T48" fmla="*/ 235 w 266"/>
                <a:gd name="T49" fmla="*/ 76 h 282"/>
                <a:gd name="T50" fmla="*/ 225 w 266"/>
                <a:gd name="T51" fmla="*/ 57 h 282"/>
                <a:gd name="T52" fmla="*/ 199 w 266"/>
                <a:gd name="T53" fmla="*/ 34 h 282"/>
                <a:gd name="T54" fmla="*/ 166 w 266"/>
                <a:gd name="T55" fmla="*/ 5 h 282"/>
                <a:gd name="T56" fmla="*/ 183 w 266"/>
                <a:gd name="T57" fmla="*/ 25 h 282"/>
                <a:gd name="T58" fmla="*/ 174 w 266"/>
                <a:gd name="T59" fmla="*/ 26 h 282"/>
                <a:gd name="T60" fmla="*/ 154 w 266"/>
                <a:gd name="T61" fmla="*/ 12 h 282"/>
                <a:gd name="T62" fmla="*/ 154 w 266"/>
                <a:gd name="T63" fmla="*/ 35 h 282"/>
                <a:gd name="T64" fmla="*/ 160 w 266"/>
                <a:gd name="T65" fmla="*/ 55 h 282"/>
                <a:gd name="T66" fmla="*/ 176 w 266"/>
                <a:gd name="T67" fmla="*/ 66 h 282"/>
                <a:gd name="T68" fmla="*/ 180 w 266"/>
                <a:gd name="T69" fmla="*/ 125 h 282"/>
                <a:gd name="T70" fmla="*/ 152 w 266"/>
                <a:gd name="T71" fmla="*/ 159 h 282"/>
                <a:gd name="T72" fmla="*/ 133 w 266"/>
                <a:gd name="T73" fmla="*/ 156 h 282"/>
                <a:gd name="T74" fmla="*/ 136 w 266"/>
                <a:gd name="T75" fmla="*/ 140 h 282"/>
                <a:gd name="T76" fmla="*/ 130 w 266"/>
                <a:gd name="T77" fmla="*/ 169 h 282"/>
                <a:gd name="T78" fmla="*/ 129 w 266"/>
                <a:gd name="T79" fmla="*/ 205 h 282"/>
                <a:gd name="T80" fmla="*/ 112 w 266"/>
                <a:gd name="T81" fmla="*/ 211 h 282"/>
                <a:gd name="T82" fmla="*/ 103 w 266"/>
                <a:gd name="T83" fmla="*/ 201 h 282"/>
                <a:gd name="T84" fmla="*/ 81 w 266"/>
                <a:gd name="T85" fmla="*/ 206 h 282"/>
                <a:gd name="T86" fmla="*/ 58 w 266"/>
                <a:gd name="T87" fmla="*/ 210 h 282"/>
                <a:gd name="T88" fmla="*/ 34 w 266"/>
                <a:gd name="T89" fmla="*/ 212 h 282"/>
                <a:gd name="T90" fmla="*/ 0 w 266"/>
                <a:gd name="T91" fmla="*/ 251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6" h="282">
                  <a:moveTo>
                    <a:pt x="6" y="264"/>
                  </a:moveTo>
                  <a:cubicBezTo>
                    <a:pt x="6" y="259"/>
                    <a:pt x="14" y="265"/>
                    <a:pt x="18" y="263"/>
                  </a:cubicBezTo>
                  <a:cubicBezTo>
                    <a:pt x="28" y="260"/>
                    <a:pt x="34" y="262"/>
                    <a:pt x="42" y="267"/>
                  </a:cubicBezTo>
                  <a:cubicBezTo>
                    <a:pt x="39" y="265"/>
                    <a:pt x="37" y="250"/>
                    <a:pt x="43" y="249"/>
                  </a:cubicBezTo>
                  <a:cubicBezTo>
                    <a:pt x="46" y="249"/>
                    <a:pt x="48" y="253"/>
                    <a:pt x="51" y="254"/>
                  </a:cubicBezTo>
                  <a:cubicBezTo>
                    <a:pt x="53" y="255"/>
                    <a:pt x="62" y="250"/>
                    <a:pt x="63" y="248"/>
                  </a:cubicBezTo>
                  <a:cubicBezTo>
                    <a:pt x="63" y="250"/>
                    <a:pt x="64" y="251"/>
                    <a:pt x="65" y="251"/>
                  </a:cubicBezTo>
                  <a:cubicBezTo>
                    <a:pt x="66" y="250"/>
                    <a:pt x="66" y="249"/>
                    <a:pt x="66" y="248"/>
                  </a:cubicBezTo>
                  <a:cubicBezTo>
                    <a:pt x="68" y="249"/>
                    <a:pt x="71" y="249"/>
                    <a:pt x="71" y="245"/>
                  </a:cubicBezTo>
                  <a:cubicBezTo>
                    <a:pt x="74" y="247"/>
                    <a:pt x="77" y="243"/>
                    <a:pt x="80" y="245"/>
                  </a:cubicBezTo>
                  <a:cubicBezTo>
                    <a:pt x="85" y="246"/>
                    <a:pt x="89" y="240"/>
                    <a:pt x="83" y="241"/>
                  </a:cubicBezTo>
                  <a:cubicBezTo>
                    <a:pt x="88" y="240"/>
                    <a:pt x="93" y="237"/>
                    <a:pt x="99" y="236"/>
                  </a:cubicBezTo>
                  <a:cubicBezTo>
                    <a:pt x="105" y="235"/>
                    <a:pt x="109" y="240"/>
                    <a:pt x="115" y="239"/>
                  </a:cubicBezTo>
                  <a:cubicBezTo>
                    <a:pt x="119" y="239"/>
                    <a:pt x="124" y="235"/>
                    <a:pt x="127" y="240"/>
                  </a:cubicBezTo>
                  <a:cubicBezTo>
                    <a:pt x="129" y="244"/>
                    <a:pt x="124" y="250"/>
                    <a:pt x="120" y="252"/>
                  </a:cubicBezTo>
                  <a:cubicBezTo>
                    <a:pt x="124" y="254"/>
                    <a:pt x="126" y="257"/>
                    <a:pt x="126" y="261"/>
                  </a:cubicBezTo>
                  <a:cubicBezTo>
                    <a:pt x="125" y="266"/>
                    <a:pt x="131" y="268"/>
                    <a:pt x="134" y="270"/>
                  </a:cubicBezTo>
                  <a:cubicBezTo>
                    <a:pt x="138" y="272"/>
                    <a:pt x="139" y="276"/>
                    <a:pt x="143" y="277"/>
                  </a:cubicBezTo>
                  <a:cubicBezTo>
                    <a:pt x="146" y="279"/>
                    <a:pt x="149" y="280"/>
                    <a:pt x="152" y="281"/>
                  </a:cubicBezTo>
                  <a:cubicBezTo>
                    <a:pt x="155" y="282"/>
                    <a:pt x="157" y="266"/>
                    <a:pt x="158" y="264"/>
                  </a:cubicBezTo>
                  <a:cubicBezTo>
                    <a:pt x="159" y="261"/>
                    <a:pt x="158" y="256"/>
                    <a:pt x="160" y="254"/>
                  </a:cubicBezTo>
                  <a:cubicBezTo>
                    <a:pt x="164" y="251"/>
                    <a:pt x="169" y="254"/>
                    <a:pt x="173" y="252"/>
                  </a:cubicBezTo>
                  <a:cubicBezTo>
                    <a:pt x="170" y="247"/>
                    <a:pt x="167" y="244"/>
                    <a:pt x="162" y="242"/>
                  </a:cubicBezTo>
                  <a:cubicBezTo>
                    <a:pt x="155" y="239"/>
                    <a:pt x="157" y="236"/>
                    <a:pt x="157" y="230"/>
                  </a:cubicBezTo>
                  <a:cubicBezTo>
                    <a:pt x="157" y="227"/>
                    <a:pt x="160" y="222"/>
                    <a:pt x="162" y="227"/>
                  </a:cubicBezTo>
                  <a:cubicBezTo>
                    <a:pt x="164" y="230"/>
                    <a:pt x="163" y="237"/>
                    <a:pt x="168" y="236"/>
                  </a:cubicBezTo>
                  <a:cubicBezTo>
                    <a:pt x="166" y="234"/>
                    <a:pt x="166" y="232"/>
                    <a:pt x="167" y="230"/>
                  </a:cubicBezTo>
                  <a:cubicBezTo>
                    <a:pt x="168" y="238"/>
                    <a:pt x="178" y="231"/>
                    <a:pt x="179" y="237"/>
                  </a:cubicBezTo>
                  <a:cubicBezTo>
                    <a:pt x="177" y="238"/>
                    <a:pt x="175" y="239"/>
                    <a:pt x="175" y="242"/>
                  </a:cubicBezTo>
                  <a:cubicBezTo>
                    <a:pt x="185" y="236"/>
                    <a:pt x="197" y="240"/>
                    <a:pt x="207" y="241"/>
                  </a:cubicBezTo>
                  <a:cubicBezTo>
                    <a:pt x="200" y="235"/>
                    <a:pt x="212" y="216"/>
                    <a:pt x="220" y="227"/>
                  </a:cubicBezTo>
                  <a:cubicBezTo>
                    <a:pt x="219" y="227"/>
                    <a:pt x="218" y="227"/>
                    <a:pt x="217" y="228"/>
                  </a:cubicBezTo>
                  <a:cubicBezTo>
                    <a:pt x="219" y="231"/>
                    <a:pt x="219" y="238"/>
                    <a:pt x="223" y="240"/>
                  </a:cubicBezTo>
                  <a:cubicBezTo>
                    <a:pt x="228" y="242"/>
                    <a:pt x="229" y="234"/>
                    <a:pt x="229" y="231"/>
                  </a:cubicBezTo>
                  <a:cubicBezTo>
                    <a:pt x="228" y="227"/>
                    <a:pt x="225" y="225"/>
                    <a:pt x="224" y="221"/>
                  </a:cubicBezTo>
                  <a:cubicBezTo>
                    <a:pt x="223" y="212"/>
                    <a:pt x="237" y="219"/>
                    <a:pt x="240" y="221"/>
                  </a:cubicBezTo>
                  <a:cubicBezTo>
                    <a:pt x="242" y="218"/>
                    <a:pt x="230" y="211"/>
                    <a:pt x="238" y="209"/>
                  </a:cubicBezTo>
                  <a:cubicBezTo>
                    <a:pt x="234" y="204"/>
                    <a:pt x="250" y="202"/>
                    <a:pt x="245" y="212"/>
                  </a:cubicBezTo>
                  <a:cubicBezTo>
                    <a:pt x="244" y="214"/>
                    <a:pt x="244" y="229"/>
                    <a:pt x="248" y="230"/>
                  </a:cubicBezTo>
                  <a:cubicBezTo>
                    <a:pt x="250" y="231"/>
                    <a:pt x="260" y="221"/>
                    <a:pt x="260" y="219"/>
                  </a:cubicBezTo>
                  <a:cubicBezTo>
                    <a:pt x="260" y="216"/>
                    <a:pt x="257" y="214"/>
                    <a:pt x="257" y="210"/>
                  </a:cubicBezTo>
                  <a:cubicBezTo>
                    <a:pt x="257" y="206"/>
                    <a:pt x="262" y="204"/>
                    <a:pt x="266" y="202"/>
                  </a:cubicBezTo>
                  <a:cubicBezTo>
                    <a:pt x="256" y="196"/>
                    <a:pt x="250" y="187"/>
                    <a:pt x="247" y="176"/>
                  </a:cubicBezTo>
                  <a:cubicBezTo>
                    <a:pt x="245" y="172"/>
                    <a:pt x="245" y="168"/>
                    <a:pt x="245" y="164"/>
                  </a:cubicBezTo>
                  <a:cubicBezTo>
                    <a:pt x="245" y="161"/>
                    <a:pt x="245" y="161"/>
                    <a:pt x="247" y="160"/>
                  </a:cubicBezTo>
                  <a:cubicBezTo>
                    <a:pt x="249" y="160"/>
                    <a:pt x="247" y="158"/>
                    <a:pt x="247" y="157"/>
                  </a:cubicBezTo>
                  <a:cubicBezTo>
                    <a:pt x="247" y="145"/>
                    <a:pt x="237" y="136"/>
                    <a:pt x="231" y="126"/>
                  </a:cubicBezTo>
                  <a:cubicBezTo>
                    <a:pt x="225" y="116"/>
                    <a:pt x="230" y="106"/>
                    <a:pt x="242" y="114"/>
                  </a:cubicBezTo>
                  <a:cubicBezTo>
                    <a:pt x="238" y="109"/>
                    <a:pt x="229" y="89"/>
                    <a:pt x="238" y="87"/>
                  </a:cubicBezTo>
                  <a:cubicBezTo>
                    <a:pt x="235" y="84"/>
                    <a:pt x="237" y="79"/>
                    <a:pt x="235" y="76"/>
                  </a:cubicBezTo>
                  <a:cubicBezTo>
                    <a:pt x="233" y="73"/>
                    <a:pt x="233" y="70"/>
                    <a:pt x="231" y="68"/>
                  </a:cubicBezTo>
                  <a:cubicBezTo>
                    <a:pt x="229" y="64"/>
                    <a:pt x="227" y="60"/>
                    <a:pt x="225" y="57"/>
                  </a:cubicBezTo>
                  <a:cubicBezTo>
                    <a:pt x="222" y="54"/>
                    <a:pt x="220" y="53"/>
                    <a:pt x="218" y="50"/>
                  </a:cubicBezTo>
                  <a:cubicBezTo>
                    <a:pt x="214" y="43"/>
                    <a:pt x="205" y="39"/>
                    <a:pt x="199" y="34"/>
                  </a:cubicBezTo>
                  <a:cubicBezTo>
                    <a:pt x="191" y="28"/>
                    <a:pt x="186" y="16"/>
                    <a:pt x="183" y="7"/>
                  </a:cubicBezTo>
                  <a:cubicBezTo>
                    <a:pt x="179" y="11"/>
                    <a:pt x="168" y="0"/>
                    <a:pt x="166" y="5"/>
                  </a:cubicBezTo>
                  <a:cubicBezTo>
                    <a:pt x="162" y="11"/>
                    <a:pt x="175" y="20"/>
                    <a:pt x="177" y="11"/>
                  </a:cubicBezTo>
                  <a:cubicBezTo>
                    <a:pt x="182" y="13"/>
                    <a:pt x="186" y="20"/>
                    <a:pt x="183" y="25"/>
                  </a:cubicBezTo>
                  <a:cubicBezTo>
                    <a:pt x="180" y="23"/>
                    <a:pt x="177" y="22"/>
                    <a:pt x="174" y="20"/>
                  </a:cubicBezTo>
                  <a:cubicBezTo>
                    <a:pt x="176" y="22"/>
                    <a:pt x="176" y="24"/>
                    <a:pt x="174" y="26"/>
                  </a:cubicBezTo>
                  <a:cubicBezTo>
                    <a:pt x="169" y="25"/>
                    <a:pt x="168" y="20"/>
                    <a:pt x="165" y="17"/>
                  </a:cubicBezTo>
                  <a:cubicBezTo>
                    <a:pt x="162" y="13"/>
                    <a:pt x="158" y="14"/>
                    <a:pt x="154" y="12"/>
                  </a:cubicBezTo>
                  <a:cubicBezTo>
                    <a:pt x="154" y="16"/>
                    <a:pt x="163" y="25"/>
                    <a:pt x="159" y="28"/>
                  </a:cubicBezTo>
                  <a:cubicBezTo>
                    <a:pt x="157" y="30"/>
                    <a:pt x="150" y="31"/>
                    <a:pt x="154" y="35"/>
                  </a:cubicBezTo>
                  <a:cubicBezTo>
                    <a:pt x="157" y="38"/>
                    <a:pt x="163" y="42"/>
                    <a:pt x="165" y="46"/>
                  </a:cubicBezTo>
                  <a:cubicBezTo>
                    <a:pt x="166" y="50"/>
                    <a:pt x="166" y="59"/>
                    <a:pt x="160" y="55"/>
                  </a:cubicBezTo>
                  <a:cubicBezTo>
                    <a:pt x="161" y="59"/>
                    <a:pt x="163" y="58"/>
                    <a:pt x="167" y="58"/>
                  </a:cubicBezTo>
                  <a:cubicBezTo>
                    <a:pt x="171" y="58"/>
                    <a:pt x="174" y="63"/>
                    <a:pt x="176" y="66"/>
                  </a:cubicBezTo>
                  <a:cubicBezTo>
                    <a:pt x="181" y="75"/>
                    <a:pt x="183" y="90"/>
                    <a:pt x="182" y="100"/>
                  </a:cubicBezTo>
                  <a:cubicBezTo>
                    <a:pt x="181" y="107"/>
                    <a:pt x="188" y="120"/>
                    <a:pt x="180" y="125"/>
                  </a:cubicBezTo>
                  <a:cubicBezTo>
                    <a:pt x="171" y="130"/>
                    <a:pt x="175" y="139"/>
                    <a:pt x="171" y="147"/>
                  </a:cubicBezTo>
                  <a:cubicBezTo>
                    <a:pt x="167" y="154"/>
                    <a:pt x="158" y="155"/>
                    <a:pt x="152" y="159"/>
                  </a:cubicBezTo>
                  <a:cubicBezTo>
                    <a:pt x="148" y="161"/>
                    <a:pt x="144" y="173"/>
                    <a:pt x="138" y="163"/>
                  </a:cubicBezTo>
                  <a:cubicBezTo>
                    <a:pt x="136" y="161"/>
                    <a:pt x="137" y="157"/>
                    <a:pt x="133" y="156"/>
                  </a:cubicBezTo>
                  <a:cubicBezTo>
                    <a:pt x="131" y="156"/>
                    <a:pt x="128" y="151"/>
                    <a:pt x="131" y="152"/>
                  </a:cubicBezTo>
                  <a:cubicBezTo>
                    <a:pt x="138" y="153"/>
                    <a:pt x="135" y="142"/>
                    <a:pt x="136" y="140"/>
                  </a:cubicBezTo>
                  <a:cubicBezTo>
                    <a:pt x="132" y="139"/>
                    <a:pt x="124" y="143"/>
                    <a:pt x="123" y="148"/>
                  </a:cubicBezTo>
                  <a:cubicBezTo>
                    <a:pt x="121" y="154"/>
                    <a:pt x="131" y="161"/>
                    <a:pt x="130" y="169"/>
                  </a:cubicBezTo>
                  <a:cubicBezTo>
                    <a:pt x="129" y="176"/>
                    <a:pt x="126" y="179"/>
                    <a:pt x="122" y="184"/>
                  </a:cubicBezTo>
                  <a:cubicBezTo>
                    <a:pt x="116" y="193"/>
                    <a:pt x="129" y="198"/>
                    <a:pt x="129" y="205"/>
                  </a:cubicBezTo>
                  <a:cubicBezTo>
                    <a:pt x="123" y="200"/>
                    <a:pt x="128" y="208"/>
                    <a:pt x="122" y="206"/>
                  </a:cubicBezTo>
                  <a:cubicBezTo>
                    <a:pt x="124" y="215"/>
                    <a:pt x="106" y="204"/>
                    <a:pt x="112" y="211"/>
                  </a:cubicBezTo>
                  <a:cubicBezTo>
                    <a:pt x="110" y="210"/>
                    <a:pt x="106" y="210"/>
                    <a:pt x="106" y="207"/>
                  </a:cubicBezTo>
                  <a:cubicBezTo>
                    <a:pt x="105" y="204"/>
                    <a:pt x="107" y="200"/>
                    <a:pt x="103" y="201"/>
                  </a:cubicBezTo>
                  <a:cubicBezTo>
                    <a:pt x="100" y="202"/>
                    <a:pt x="99" y="203"/>
                    <a:pt x="97" y="204"/>
                  </a:cubicBezTo>
                  <a:cubicBezTo>
                    <a:pt x="92" y="205"/>
                    <a:pt x="86" y="204"/>
                    <a:pt x="81" y="206"/>
                  </a:cubicBezTo>
                  <a:cubicBezTo>
                    <a:pt x="78" y="208"/>
                    <a:pt x="75" y="209"/>
                    <a:pt x="71" y="210"/>
                  </a:cubicBezTo>
                  <a:cubicBezTo>
                    <a:pt x="68" y="210"/>
                    <a:pt x="60" y="208"/>
                    <a:pt x="58" y="210"/>
                  </a:cubicBezTo>
                  <a:cubicBezTo>
                    <a:pt x="54" y="212"/>
                    <a:pt x="52" y="211"/>
                    <a:pt x="49" y="209"/>
                  </a:cubicBezTo>
                  <a:cubicBezTo>
                    <a:pt x="45" y="206"/>
                    <a:pt x="38" y="211"/>
                    <a:pt x="34" y="212"/>
                  </a:cubicBezTo>
                  <a:cubicBezTo>
                    <a:pt x="41" y="219"/>
                    <a:pt x="15" y="239"/>
                    <a:pt x="13" y="244"/>
                  </a:cubicBezTo>
                  <a:cubicBezTo>
                    <a:pt x="11" y="250"/>
                    <a:pt x="0" y="245"/>
                    <a:pt x="0" y="251"/>
                  </a:cubicBezTo>
                  <a:cubicBezTo>
                    <a:pt x="0" y="255"/>
                    <a:pt x="3" y="260"/>
                    <a:pt x="6" y="26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533">
              <a:extLst>
                <a:ext uri="{FF2B5EF4-FFF2-40B4-BE49-F238E27FC236}">
                  <a16:creationId xmlns:a16="http://schemas.microsoft.com/office/drawing/2014/main" id="{0C2E12B9-198E-420C-BD2E-16B94EC8E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5732" y="3178493"/>
              <a:ext cx="13347" cy="13347"/>
            </a:xfrm>
            <a:custGeom>
              <a:avLst/>
              <a:gdLst>
                <a:gd name="T0" fmla="*/ 2 w 6"/>
                <a:gd name="T1" fmla="*/ 0 h 7"/>
                <a:gd name="T2" fmla="*/ 6 w 6"/>
                <a:gd name="T3" fmla="*/ 6 h 7"/>
                <a:gd name="T4" fmla="*/ 2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0" y="2"/>
                    <a:pt x="3" y="7"/>
                    <a:pt x="6" y="6"/>
                  </a:cubicBezTo>
                  <a:cubicBezTo>
                    <a:pt x="5" y="4"/>
                    <a:pt x="4" y="2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534">
              <a:extLst>
                <a:ext uri="{FF2B5EF4-FFF2-40B4-BE49-F238E27FC236}">
                  <a16:creationId xmlns:a16="http://schemas.microsoft.com/office/drawing/2014/main" id="{3ABD07F9-95AF-41A4-9089-C00161202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5732" y="3178493"/>
              <a:ext cx="13347" cy="13347"/>
            </a:xfrm>
            <a:custGeom>
              <a:avLst/>
              <a:gdLst>
                <a:gd name="T0" fmla="*/ 2 w 6"/>
                <a:gd name="T1" fmla="*/ 0 h 7"/>
                <a:gd name="T2" fmla="*/ 6 w 6"/>
                <a:gd name="T3" fmla="*/ 6 h 7"/>
                <a:gd name="T4" fmla="*/ 2 w 6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0" y="2"/>
                    <a:pt x="3" y="7"/>
                    <a:pt x="6" y="6"/>
                  </a:cubicBezTo>
                  <a:cubicBezTo>
                    <a:pt x="5" y="4"/>
                    <a:pt x="4" y="2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535">
              <a:extLst>
                <a:ext uri="{FF2B5EF4-FFF2-40B4-BE49-F238E27FC236}">
                  <a16:creationId xmlns:a16="http://schemas.microsoft.com/office/drawing/2014/main" id="{7BC39058-6EAA-45E7-9F8F-7EA52AEC9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0181" y="3129552"/>
              <a:ext cx="48940" cy="31144"/>
            </a:xfrm>
            <a:custGeom>
              <a:avLst/>
              <a:gdLst>
                <a:gd name="T0" fmla="*/ 18 w 22"/>
                <a:gd name="T1" fmla="*/ 0 h 15"/>
                <a:gd name="T2" fmla="*/ 10 w 22"/>
                <a:gd name="T3" fmla="*/ 13 h 15"/>
                <a:gd name="T4" fmla="*/ 13 w 22"/>
                <a:gd name="T5" fmla="*/ 8 h 15"/>
                <a:gd name="T6" fmla="*/ 18 w 2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18" y="0"/>
                  </a:moveTo>
                  <a:cubicBezTo>
                    <a:pt x="15" y="3"/>
                    <a:pt x="0" y="9"/>
                    <a:pt x="10" y="13"/>
                  </a:cubicBezTo>
                  <a:cubicBezTo>
                    <a:pt x="15" y="15"/>
                    <a:pt x="12" y="11"/>
                    <a:pt x="13" y="8"/>
                  </a:cubicBezTo>
                  <a:cubicBezTo>
                    <a:pt x="15" y="5"/>
                    <a:pt x="22" y="5"/>
                    <a:pt x="18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536">
              <a:extLst>
                <a:ext uri="{FF2B5EF4-FFF2-40B4-BE49-F238E27FC236}">
                  <a16:creationId xmlns:a16="http://schemas.microsoft.com/office/drawing/2014/main" id="{F8D83073-614C-46A4-94D7-EAB9F0561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0181" y="3129552"/>
              <a:ext cx="48940" cy="31144"/>
            </a:xfrm>
            <a:custGeom>
              <a:avLst/>
              <a:gdLst>
                <a:gd name="T0" fmla="*/ 18 w 22"/>
                <a:gd name="T1" fmla="*/ 0 h 15"/>
                <a:gd name="T2" fmla="*/ 10 w 22"/>
                <a:gd name="T3" fmla="*/ 13 h 15"/>
                <a:gd name="T4" fmla="*/ 13 w 22"/>
                <a:gd name="T5" fmla="*/ 8 h 15"/>
                <a:gd name="T6" fmla="*/ 18 w 22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18" y="0"/>
                  </a:moveTo>
                  <a:cubicBezTo>
                    <a:pt x="15" y="3"/>
                    <a:pt x="0" y="9"/>
                    <a:pt x="10" y="13"/>
                  </a:cubicBezTo>
                  <a:cubicBezTo>
                    <a:pt x="15" y="15"/>
                    <a:pt x="12" y="11"/>
                    <a:pt x="13" y="8"/>
                  </a:cubicBezTo>
                  <a:cubicBezTo>
                    <a:pt x="15" y="5"/>
                    <a:pt x="22" y="5"/>
                    <a:pt x="18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537">
              <a:extLst>
                <a:ext uri="{FF2B5EF4-FFF2-40B4-BE49-F238E27FC236}">
                  <a16:creationId xmlns:a16="http://schemas.microsoft.com/office/drawing/2014/main" id="{D3A5C510-3B4F-4980-B371-E447E79F4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5774" y="2987181"/>
              <a:ext cx="26695" cy="17796"/>
            </a:xfrm>
            <a:custGeom>
              <a:avLst/>
              <a:gdLst>
                <a:gd name="T0" fmla="*/ 5 w 14"/>
                <a:gd name="T1" fmla="*/ 0 h 8"/>
                <a:gd name="T2" fmla="*/ 8 w 14"/>
                <a:gd name="T3" fmla="*/ 7 h 8"/>
                <a:gd name="T4" fmla="*/ 5 w 14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5" y="0"/>
                  </a:moveTo>
                  <a:cubicBezTo>
                    <a:pt x="0" y="1"/>
                    <a:pt x="5" y="6"/>
                    <a:pt x="8" y="7"/>
                  </a:cubicBezTo>
                  <a:cubicBezTo>
                    <a:pt x="14" y="8"/>
                    <a:pt x="9" y="0"/>
                    <a:pt x="5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538">
              <a:extLst>
                <a:ext uri="{FF2B5EF4-FFF2-40B4-BE49-F238E27FC236}">
                  <a16:creationId xmlns:a16="http://schemas.microsoft.com/office/drawing/2014/main" id="{6A19EF8B-CA3F-4FD6-8765-0F374D236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5774" y="2987181"/>
              <a:ext cx="26695" cy="17796"/>
            </a:xfrm>
            <a:custGeom>
              <a:avLst/>
              <a:gdLst>
                <a:gd name="T0" fmla="*/ 5 w 14"/>
                <a:gd name="T1" fmla="*/ 0 h 8"/>
                <a:gd name="T2" fmla="*/ 8 w 14"/>
                <a:gd name="T3" fmla="*/ 7 h 8"/>
                <a:gd name="T4" fmla="*/ 5 w 14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8">
                  <a:moveTo>
                    <a:pt x="5" y="0"/>
                  </a:moveTo>
                  <a:cubicBezTo>
                    <a:pt x="0" y="1"/>
                    <a:pt x="5" y="6"/>
                    <a:pt x="8" y="7"/>
                  </a:cubicBezTo>
                  <a:cubicBezTo>
                    <a:pt x="14" y="8"/>
                    <a:pt x="9" y="0"/>
                    <a:pt x="5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539">
              <a:extLst>
                <a:ext uri="{FF2B5EF4-FFF2-40B4-BE49-F238E27FC236}">
                  <a16:creationId xmlns:a16="http://schemas.microsoft.com/office/drawing/2014/main" id="{1721ABF0-B8DA-4057-88D8-97F71C2D0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4672" y="2542272"/>
              <a:ext cx="13347" cy="17796"/>
            </a:xfrm>
            <a:custGeom>
              <a:avLst/>
              <a:gdLst>
                <a:gd name="T0" fmla="*/ 2 w 7"/>
                <a:gd name="T1" fmla="*/ 0 h 7"/>
                <a:gd name="T2" fmla="*/ 2 w 7"/>
                <a:gd name="T3" fmla="*/ 5 h 7"/>
                <a:gd name="T4" fmla="*/ 2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2" y="0"/>
                  </a:moveTo>
                  <a:cubicBezTo>
                    <a:pt x="0" y="1"/>
                    <a:pt x="0" y="5"/>
                    <a:pt x="2" y="5"/>
                  </a:cubicBezTo>
                  <a:cubicBezTo>
                    <a:pt x="7" y="7"/>
                    <a:pt x="5" y="1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Freeform 540">
              <a:extLst>
                <a:ext uri="{FF2B5EF4-FFF2-40B4-BE49-F238E27FC236}">
                  <a16:creationId xmlns:a16="http://schemas.microsoft.com/office/drawing/2014/main" id="{AA56789C-40BD-4681-A1D3-911D07313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4672" y="2542272"/>
              <a:ext cx="13347" cy="17796"/>
            </a:xfrm>
            <a:custGeom>
              <a:avLst/>
              <a:gdLst>
                <a:gd name="T0" fmla="*/ 2 w 7"/>
                <a:gd name="T1" fmla="*/ 0 h 7"/>
                <a:gd name="T2" fmla="*/ 2 w 7"/>
                <a:gd name="T3" fmla="*/ 5 h 7"/>
                <a:gd name="T4" fmla="*/ 2 w 7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2" y="0"/>
                  </a:moveTo>
                  <a:cubicBezTo>
                    <a:pt x="0" y="1"/>
                    <a:pt x="0" y="5"/>
                    <a:pt x="2" y="5"/>
                  </a:cubicBezTo>
                  <a:cubicBezTo>
                    <a:pt x="7" y="7"/>
                    <a:pt x="5" y="1"/>
                    <a:pt x="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Freeform 541">
              <a:extLst>
                <a:ext uri="{FF2B5EF4-FFF2-40B4-BE49-F238E27FC236}">
                  <a16:creationId xmlns:a16="http://schemas.microsoft.com/office/drawing/2014/main" id="{FF682B14-D705-4F1A-B708-1719049FD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469" y="2689092"/>
              <a:ext cx="155718" cy="124575"/>
            </a:xfrm>
            <a:custGeom>
              <a:avLst/>
              <a:gdLst>
                <a:gd name="T0" fmla="*/ 11 w 72"/>
                <a:gd name="T1" fmla="*/ 27 h 58"/>
                <a:gd name="T2" fmla="*/ 0 w 72"/>
                <a:gd name="T3" fmla="*/ 36 h 58"/>
                <a:gd name="T4" fmla="*/ 9 w 72"/>
                <a:gd name="T5" fmla="*/ 32 h 58"/>
                <a:gd name="T6" fmla="*/ 13 w 72"/>
                <a:gd name="T7" fmla="*/ 39 h 58"/>
                <a:gd name="T8" fmla="*/ 13 w 72"/>
                <a:gd name="T9" fmla="*/ 42 h 58"/>
                <a:gd name="T10" fmla="*/ 21 w 72"/>
                <a:gd name="T11" fmla="*/ 51 h 58"/>
                <a:gd name="T12" fmla="*/ 29 w 72"/>
                <a:gd name="T13" fmla="*/ 56 h 58"/>
                <a:gd name="T14" fmla="*/ 38 w 72"/>
                <a:gd name="T15" fmla="*/ 58 h 58"/>
                <a:gd name="T16" fmla="*/ 38 w 72"/>
                <a:gd name="T17" fmla="*/ 37 h 58"/>
                <a:gd name="T18" fmla="*/ 63 w 72"/>
                <a:gd name="T19" fmla="*/ 39 h 58"/>
                <a:gd name="T20" fmla="*/ 64 w 72"/>
                <a:gd name="T21" fmla="*/ 30 h 58"/>
                <a:gd name="T22" fmla="*/ 70 w 72"/>
                <a:gd name="T23" fmla="*/ 21 h 58"/>
                <a:gd name="T24" fmla="*/ 64 w 72"/>
                <a:gd name="T25" fmla="*/ 6 h 58"/>
                <a:gd name="T26" fmla="*/ 47 w 72"/>
                <a:gd name="T27" fmla="*/ 1 h 58"/>
                <a:gd name="T28" fmla="*/ 33 w 72"/>
                <a:gd name="T29" fmla="*/ 5 h 58"/>
                <a:gd name="T30" fmla="*/ 30 w 72"/>
                <a:gd name="T31" fmla="*/ 14 h 58"/>
                <a:gd name="T32" fmla="*/ 15 w 72"/>
                <a:gd name="T33" fmla="*/ 10 h 58"/>
                <a:gd name="T34" fmla="*/ 11 w 72"/>
                <a:gd name="T35" fmla="*/ 2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58">
                  <a:moveTo>
                    <a:pt x="11" y="27"/>
                  </a:moveTo>
                  <a:cubicBezTo>
                    <a:pt x="9" y="31"/>
                    <a:pt x="3" y="33"/>
                    <a:pt x="0" y="36"/>
                  </a:cubicBezTo>
                  <a:cubicBezTo>
                    <a:pt x="4" y="37"/>
                    <a:pt x="6" y="33"/>
                    <a:pt x="9" y="32"/>
                  </a:cubicBezTo>
                  <a:cubicBezTo>
                    <a:pt x="10" y="34"/>
                    <a:pt x="11" y="39"/>
                    <a:pt x="13" y="39"/>
                  </a:cubicBezTo>
                  <a:cubicBezTo>
                    <a:pt x="17" y="38"/>
                    <a:pt x="18" y="41"/>
                    <a:pt x="13" y="42"/>
                  </a:cubicBezTo>
                  <a:cubicBezTo>
                    <a:pt x="17" y="43"/>
                    <a:pt x="17" y="52"/>
                    <a:pt x="21" y="51"/>
                  </a:cubicBezTo>
                  <a:cubicBezTo>
                    <a:pt x="25" y="50"/>
                    <a:pt x="26" y="55"/>
                    <a:pt x="29" y="56"/>
                  </a:cubicBezTo>
                  <a:cubicBezTo>
                    <a:pt x="32" y="57"/>
                    <a:pt x="35" y="56"/>
                    <a:pt x="38" y="58"/>
                  </a:cubicBezTo>
                  <a:cubicBezTo>
                    <a:pt x="32" y="54"/>
                    <a:pt x="35" y="43"/>
                    <a:pt x="38" y="37"/>
                  </a:cubicBezTo>
                  <a:cubicBezTo>
                    <a:pt x="44" y="24"/>
                    <a:pt x="55" y="34"/>
                    <a:pt x="63" y="39"/>
                  </a:cubicBezTo>
                  <a:cubicBezTo>
                    <a:pt x="64" y="36"/>
                    <a:pt x="63" y="33"/>
                    <a:pt x="64" y="30"/>
                  </a:cubicBezTo>
                  <a:cubicBezTo>
                    <a:pt x="65" y="26"/>
                    <a:pt x="68" y="24"/>
                    <a:pt x="70" y="21"/>
                  </a:cubicBezTo>
                  <a:cubicBezTo>
                    <a:pt x="72" y="18"/>
                    <a:pt x="64" y="10"/>
                    <a:pt x="64" y="6"/>
                  </a:cubicBezTo>
                  <a:cubicBezTo>
                    <a:pt x="58" y="7"/>
                    <a:pt x="53" y="2"/>
                    <a:pt x="47" y="1"/>
                  </a:cubicBezTo>
                  <a:cubicBezTo>
                    <a:pt x="42" y="0"/>
                    <a:pt x="37" y="7"/>
                    <a:pt x="33" y="5"/>
                  </a:cubicBezTo>
                  <a:cubicBezTo>
                    <a:pt x="39" y="10"/>
                    <a:pt x="36" y="13"/>
                    <a:pt x="30" y="14"/>
                  </a:cubicBezTo>
                  <a:cubicBezTo>
                    <a:pt x="22" y="17"/>
                    <a:pt x="23" y="11"/>
                    <a:pt x="15" y="10"/>
                  </a:cubicBezTo>
                  <a:cubicBezTo>
                    <a:pt x="15" y="14"/>
                    <a:pt x="15" y="25"/>
                    <a:pt x="11" y="2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Freeform 542">
              <a:extLst>
                <a:ext uri="{FF2B5EF4-FFF2-40B4-BE49-F238E27FC236}">
                  <a16:creationId xmlns:a16="http://schemas.microsoft.com/office/drawing/2014/main" id="{9F34242E-2508-4A9C-A0EE-8115A33E0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469" y="2689092"/>
              <a:ext cx="155718" cy="124575"/>
            </a:xfrm>
            <a:custGeom>
              <a:avLst/>
              <a:gdLst>
                <a:gd name="T0" fmla="*/ 11 w 72"/>
                <a:gd name="T1" fmla="*/ 27 h 58"/>
                <a:gd name="T2" fmla="*/ 0 w 72"/>
                <a:gd name="T3" fmla="*/ 36 h 58"/>
                <a:gd name="T4" fmla="*/ 9 w 72"/>
                <a:gd name="T5" fmla="*/ 32 h 58"/>
                <a:gd name="T6" fmla="*/ 13 w 72"/>
                <a:gd name="T7" fmla="*/ 39 h 58"/>
                <a:gd name="T8" fmla="*/ 13 w 72"/>
                <a:gd name="T9" fmla="*/ 42 h 58"/>
                <a:gd name="T10" fmla="*/ 21 w 72"/>
                <a:gd name="T11" fmla="*/ 51 h 58"/>
                <a:gd name="T12" fmla="*/ 29 w 72"/>
                <a:gd name="T13" fmla="*/ 56 h 58"/>
                <a:gd name="T14" fmla="*/ 38 w 72"/>
                <a:gd name="T15" fmla="*/ 58 h 58"/>
                <a:gd name="T16" fmla="*/ 38 w 72"/>
                <a:gd name="T17" fmla="*/ 37 h 58"/>
                <a:gd name="T18" fmla="*/ 63 w 72"/>
                <a:gd name="T19" fmla="*/ 39 h 58"/>
                <a:gd name="T20" fmla="*/ 64 w 72"/>
                <a:gd name="T21" fmla="*/ 30 h 58"/>
                <a:gd name="T22" fmla="*/ 70 w 72"/>
                <a:gd name="T23" fmla="*/ 21 h 58"/>
                <a:gd name="T24" fmla="*/ 64 w 72"/>
                <a:gd name="T25" fmla="*/ 6 h 58"/>
                <a:gd name="T26" fmla="*/ 47 w 72"/>
                <a:gd name="T27" fmla="*/ 1 h 58"/>
                <a:gd name="T28" fmla="*/ 33 w 72"/>
                <a:gd name="T29" fmla="*/ 5 h 58"/>
                <a:gd name="T30" fmla="*/ 30 w 72"/>
                <a:gd name="T31" fmla="*/ 14 h 58"/>
                <a:gd name="T32" fmla="*/ 15 w 72"/>
                <a:gd name="T33" fmla="*/ 10 h 58"/>
                <a:gd name="T34" fmla="*/ 11 w 72"/>
                <a:gd name="T35" fmla="*/ 2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58">
                  <a:moveTo>
                    <a:pt x="11" y="27"/>
                  </a:moveTo>
                  <a:cubicBezTo>
                    <a:pt x="9" y="31"/>
                    <a:pt x="3" y="33"/>
                    <a:pt x="0" y="36"/>
                  </a:cubicBezTo>
                  <a:cubicBezTo>
                    <a:pt x="4" y="37"/>
                    <a:pt x="6" y="33"/>
                    <a:pt x="9" y="32"/>
                  </a:cubicBezTo>
                  <a:cubicBezTo>
                    <a:pt x="10" y="34"/>
                    <a:pt x="11" y="39"/>
                    <a:pt x="13" y="39"/>
                  </a:cubicBezTo>
                  <a:cubicBezTo>
                    <a:pt x="17" y="38"/>
                    <a:pt x="18" y="41"/>
                    <a:pt x="13" y="42"/>
                  </a:cubicBezTo>
                  <a:cubicBezTo>
                    <a:pt x="17" y="43"/>
                    <a:pt x="17" y="52"/>
                    <a:pt x="21" y="51"/>
                  </a:cubicBezTo>
                  <a:cubicBezTo>
                    <a:pt x="25" y="50"/>
                    <a:pt x="26" y="55"/>
                    <a:pt x="29" y="56"/>
                  </a:cubicBezTo>
                  <a:cubicBezTo>
                    <a:pt x="32" y="57"/>
                    <a:pt x="35" y="56"/>
                    <a:pt x="38" y="58"/>
                  </a:cubicBezTo>
                  <a:cubicBezTo>
                    <a:pt x="32" y="54"/>
                    <a:pt x="35" y="43"/>
                    <a:pt x="38" y="37"/>
                  </a:cubicBezTo>
                  <a:cubicBezTo>
                    <a:pt x="44" y="24"/>
                    <a:pt x="55" y="34"/>
                    <a:pt x="63" y="39"/>
                  </a:cubicBezTo>
                  <a:cubicBezTo>
                    <a:pt x="64" y="36"/>
                    <a:pt x="63" y="33"/>
                    <a:pt x="64" y="30"/>
                  </a:cubicBezTo>
                  <a:cubicBezTo>
                    <a:pt x="65" y="26"/>
                    <a:pt x="68" y="24"/>
                    <a:pt x="70" y="21"/>
                  </a:cubicBezTo>
                  <a:cubicBezTo>
                    <a:pt x="72" y="18"/>
                    <a:pt x="64" y="10"/>
                    <a:pt x="64" y="6"/>
                  </a:cubicBezTo>
                  <a:cubicBezTo>
                    <a:pt x="58" y="7"/>
                    <a:pt x="53" y="2"/>
                    <a:pt x="47" y="1"/>
                  </a:cubicBezTo>
                  <a:cubicBezTo>
                    <a:pt x="42" y="0"/>
                    <a:pt x="37" y="7"/>
                    <a:pt x="33" y="5"/>
                  </a:cubicBezTo>
                  <a:cubicBezTo>
                    <a:pt x="39" y="10"/>
                    <a:pt x="36" y="13"/>
                    <a:pt x="30" y="14"/>
                  </a:cubicBezTo>
                  <a:cubicBezTo>
                    <a:pt x="22" y="17"/>
                    <a:pt x="23" y="11"/>
                    <a:pt x="15" y="10"/>
                  </a:cubicBezTo>
                  <a:cubicBezTo>
                    <a:pt x="15" y="14"/>
                    <a:pt x="15" y="25"/>
                    <a:pt x="11" y="2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544">
              <a:extLst>
                <a:ext uri="{FF2B5EF4-FFF2-40B4-BE49-F238E27FC236}">
                  <a16:creationId xmlns:a16="http://schemas.microsoft.com/office/drawing/2014/main" id="{2B56D2DE-D169-44B0-9805-3CFEC87DE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466" y="2956036"/>
              <a:ext cx="13349" cy="35593"/>
            </a:xfrm>
            <a:custGeom>
              <a:avLst/>
              <a:gdLst>
                <a:gd name="T0" fmla="*/ 3 w 6"/>
                <a:gd name="T1" fmla="*/ 0 h 17"/>
                <a:gd name="T2" fmla="*/ 5 w 6"/>
                <a:gd name="T3" fmla="*/ 15 h 17"/>
                <a:gd name="T4" fmla="*/ 3 w 6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7">
                  <a:moveTo>
                    <a:pt x="3" y="0"/>
                  </a:moveTo>
                  <a:cubicBezTo>
                    <a:pt x="0" y="2"/>
                    <a:pt x="0" y="17"/>
                    <a:pt x="5" y="15"/>
                  </a:cubicBezTo>
                  <a:cubicBezTo>
                    <a:pt x="3" y="10"/>
                    <a:pt x="6" y="5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545">
              <a:extLst>
                <a:ext uri="{FF2B5EF4-FFF2-40B4-BE49-F238E27FC236}">
                  <a16:creationId xmlns:a16="http://schemas.microsoft.com/office/drawing/2014/main" id="{CE3D15BD-2F3A-4F8C-956F-EECBD83A9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2466" y="2956036"/>
              <a:ext cx="13349" cy="35593"/>
            </a:xfrm>
            <a:custGeom>
              <a:avLst/>
              <a:gdLst>
                <a:gd name="T0" fmla="*/ 3 w 6"/>
                <a:gd name="T1" fmla="*/ 0 h 17"/>
                <a:gd name="T2" fmla="*/ 5 w 6"/>
                <a:gd name="T3" fmla="*/ 15 h 17"/>
                <a:gd name="T4" fmla="*/ 3 w 6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7">
                  <a:moveTo>
                    <a:pt x="3" y="0"/>
                  </a:moveTo>
                  <a:cubicBezTo>
                    <a:pt x="0" y="2"/>
                    <a:pt x="0" y="17"/>
                    <a:pt x="5" y="15"/>
                  </a:cubicBezTo>
                  <a:cubicBezTo>
                    <a:pt x="3" y="10"/>
                    <a:pt x="6" y="5"/>
                    <a:pt x="3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Freeform 546">
              <a:extLst>
                <a:ext uri="{FF2B5EF4-FFF2-40B4-BE49-F238E27FC236}">
                  <a16:creationId xmlns:a16="http://schemas.microsoft.com/office/drawing/2014/main" id="{922BC879-66C1-4308-8A38-62F80618A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7041" y="1861558"/>
              <a:ext cx="347029" cy="311437"/>
            </a:xfrm>
            <a:custGeom>
              <a:avLst/>
              <a:gdLst>
                <a:gd name="T0" fmla="*/ 0 w 159"/>
                <a:gd name="T1" fmla="*/ 2 h 143"/>
                <a:gd name="T2" fmla="*/ 7 w 159"/>
                <a:gd name="T3" fmla="*/ 14 h 143"/>
                <a:gd name="T4" fmla="*/ 22 w 159"/>
                <a:gd name="T5" fmla="*/ 31 h 143"/>
                <a:gd name="T6" fmla="*/ 31 w 159"/>
                <a:gd name="T7" fmla="*/ 50 h 143"/>
                <a:gd name="T8" fmla="*/ 31 w 159"/>
                <a:gd name="T9" fmla="*/ 64 h 143"/>
                <a:gd name="T10" fmla="*/ 32 w 159"/>
                <a:gd name="T11" fmla="*/ 80 h 143"/>
                <a:gd name="T12" fmla="*/ 12 w 159"/>
                <a:gd name="T13" fmla="*/ 74 h 143"/>
                <a:gd name="T14" fmla="*/ 14 w 159"/>
                <a:gd name="T15" fmla="*/ 81 h 143"/>
                <a:gd name="T16" fmla="*/ 20 w 159"/>
                <a:gd name="T17" fmla="*/ 89 h 143"/>
                <a:gd name="T18" fmla="*/ 13 w 159"/>
                <a:gd name="T19" fmla="*/ 105 h 143"/>
                <a:gd name="T20" fmla="*/ 31 w 159"/>
                <a:gd name="T21" fmla="*/ 120 h 143"/>
                <a:gd name="T22" fmla="*/ 36 w 159"/>
                <a:gd name="T23" fmla="*/ 135 h 143"/>
                <a:gd name="T24" fmla="*/ 48 w 159"/>
                <a:gd name="T25" fmla="*/ 136 h 143"/>
                <a:gd name="T26" fmla="*/ 52 w 159"/>
                <a:gd name="T27" fmla="*/ 128 h 143"/>
                <a:gd name="T28" fmla="*/ 62 w 159"/>
                <a:gd name="T29" fmla="*/ 126 h 143"/>
                <a:gd name="T30" fmla="*/ 48 w 159"/>
                <a:gd name="T31" fmla="*/ 118 h 143"/>
                <a:gd name="T32" fmla="*/ 31 w 159"/>
                <a:gd name="T33" fmla="*/ 111 h 143"/>
                <a:gd name="T34" fmla="*/ 28 w 159"/>
                <a:gd name="T35" fmla="*/ 101 h 143"/>
                <a:gd name="T36" fmla="*/ 38 w 159"/>
                <a:gd name="T37" fmla="*/ 102 h 143"/>
                <a:gd name="T38" fmla="*/ 46 w 159"/>
                <a:gd name="T39" fmla="*/ 108 h 143"/>
                <a:gd name="T40" fmla="*/ 57 w 159"/>
                <a:gd name="T41" fmla="*/ 100 h 143"/>
                <a:gd name="T42" fmla="*/ 89 w 159"/>
                <a:gd name="T43" fmla="*/ 110 h 143"/>
                <a:gd name="T44" fmla="*/ 115 w 159"/>
                <a:gd name="T45" fmla="*/ 120 h 143"/>
                <a:gd name="T46" fmla="*/ 116 w 159"/>
                <a:gd name="T47" fmla="*/ 113 h 143"/>
                <a:gd name="T48" fmla="*/ 115 w 159"/>
                <a:gd name="T49" fmla="*/ 98 h 143"/>
                <a:gd name="T50" fmla="*/ 140 w 159"/>
                <a:gd name="T51" fmla="*/ 88 h 143"/>
                <a:gd name="T52" fmla="*/ 146 w 159"/>
                <a:gd name="T53" fmla="*/ 81 h 143"/>
                <a:gd name="T54" fmla="*/ 155 w 159"/>
                <a:gd name="T55" fmla="*/ 80 h 143"/>
                <a:gd name="T56" fmla="*/ 159 w 159"/>
                <a:gd name="T57" fmla="*/ 75 h 143"/>
                <a:gd name="T58" fmla="*/ 152 w 159"/>
                <a:gd name="T59" fmla="*/ 77 h 143"/>
                <a:gd name="T60" fmla="*/ 147 w 159"/>
                <a:gd name="T61" fmla="*/ 74 h 143"/>
                <a:gd name="T62" fmla="*/ 143 w 159"/>
                <a:gd name="T63" fmla="*/ 66 h 143"/>
                <a:gd name="T64" fmla="*/ 130 w 159"/>
                <a:gd name="T65" fmla="*/ 56 h 143"/>
                <a:gd name="T66" fmla="*/ 125 w 159"/>
                <a:gd name="T67" fmla="*/ 40 h 143"/>
                <a:gd name="T68" fmla="*/ 118 w 159"/>
                <a:gd name="T69" fmla="*/ 54 h 143"/>
                <a:gd name="T70" fmla="*/ 98 w 159"/>
                <a:gd name="T71" fmla="*/ 50 h 143"/>
                <a:gd name="T72" fmla="*/ 91 w 159"/>
                <a:gd name="T73" fmla="*/ 48 h 143"/>
                <a:gd name="T74" fmla="*/ 83 w 159"/>
                <a:gd name="T75" fmla="*/ 44 h 143"/>
                <a:gd name="T76" fmla="*/ 53 w 159"/>
                <a:gd name="T77" fmla="*/ 30 h 143"/>
                <a:gd name="T78" fmla="*/ 19 w 159"/>
                <a:gd name="T79" fmla="*/ 8 h 143"/>
                <a:gd name="T80" fmla="*/ 7 w 159"/>
                <a:gd name="T81" fmla="*/ 1 h 143"/>
                <a:gd name="T82" fmla="*/ 0 w 159"/>
                <a:gd name="T83" fmla="*/ 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9" h="143">
                  <a:moveTo>
                    <a:pt x="0" y="2"/>
                  </a:moveTo>
                  <a:cubicBezTo>
                    <a:pt x="3" y="6"/>
                    <a:pt x="3" y="11"/>
                    <a:pt x="7" y="14"/>
                  </a:cubicBezTo>
                  <a:cubicBezTo>
                    <a:pt x="13" y="19"/>
                    <a:pt x="19" y="25"/>
                    <a:pt x="22" y="31"/>
                  </a:cubicBezTo>
                  <a:cubicBezTo>
                    <a:pt x="25" y="37"/>
                    <a:pt x="29" y="44"/>
                    <a:pt x="31" y="50"/>
                  </a:cubicBezTo>
                  <a:cubicBezTo>
                    <a:pt x="33" y="56"/>
                    <a:pt x="27" y="59"/>
                    <a:pt x="31" y="64"/>
                  </a:cubicBezTo>
                  <a:cubicBezTo>
                    <a:pt x="36" y="69"/>
                    <a:pt x="46" y="82"/>
                    <a:pt x="32" y="80"/>
                  </a:cubicBezTo>
                  <a:cubicBezTo>
                    <a:pt x="25" y="79"/>
                    <a:pt x="18" y="74"/>
                    <a:pt x="12" y="74"/>
                  </a:cubicBezTo>
                  <a:cubicBezTo>
                    <a:pt x="8" y="74"/>
                    <a:pt x="13" y="80"/>
                    <a:pt x="14" y="81"/>
                  </a:cubicBezTo>
                  <a:cubicBezTo>
                    <a:pt x="17" y="83"/>
                    <a:pt x="21" y="84"/>
                    <a:pt x="20" y="89"/>
                  </a:cubicBezTo>
                  <a:cubicBezTo>
                    <a:pt x="19" y="98"/>
                    <a:pt x="8" y="93"/>
                    <a:pt x="13" y="105"/>
                  </a:cubicBezTo>
                  <a:cubicBezTo>
                    <a:pt x="16" y="114"/>
                    <a:pt x="25" y="114"/>
                    <a:pt x="31" y="120"/>
                  </a:cubicBezTo>
                  <a:cubicBezTo>
                    <a:pt x="34" y="125"/>
                    <a:pt x="33" y="131"/>
                    <a:pt x="36" y="135"/>
                  </a:cubicBezTo>
                  <a:cubicBezTo>
                    <a:pt x="41" y="143"/>
                    <a:pt x="42" y="138"/>
                    <a:pt x="48" y="136"/>
                  </a:cubicBezTo>
                  <a:cubicBezTo>
                    <a:pt x="44" y="132"/>
                    <a:pt x="48" y="129"/>
                    <a:pt x="52" y="128"/>
                  </a:cubicBezTo>
                  <a:cubicBezTo>
                    <a:pt x="53" y="128"/>
                    <a:pt x="65" y="131"/>
                    <a:pt x="62" y="126"/>
                  </a:cubicBezTo>
                  <a:cubicBezTo>
                    <a:pt x="60" y="122"/>
                    <a:pt x="52" y="120"/>
                    <a:pt x="48" y="118"/>
                  </a:cubicBezTo>
                  <a:cubicBezTo>
                    <a:pt x="43" y="114"/>
                    <a:pt x="36" y="115"/>
                    <a:pt x="31" y="111"/>
                  </a:cubicBezTo>
                  <a:cubicBezTo>
                    <a:pt x="28" y="109"/>
                    <a:pt x="26" y="105"/>
                    <a:pt x="28" y="101"/>
                  </a:cubicBezTo>
                  <a:cubicBezTo>
                    <a:pt x="30" y="98"/>
                    <a:pt x="35" y="101"/>
                    <a:pt x="38" y="102"/>
                  </a:cubicBezTo>
                  <a:cubicBezTo>
                    <a:pt x="41" y="104"/>
                    <a:pt x="43" y="107"/>
                    <a:pt x="46" y="108"/>
                  </a:cubicBezTo>
                  <a:cubicBezTo>
                    <a:pt x="50" y="109"/>
                    <a:pt x="54" y="102"/>
                    <a:pt x="57" y="100"/>
                  </a:cubicBezTo>
                  <a:cubicBezTo>
                    <a:pt x="67" y="94"/>
                    <a:pt x="80" y="107"/>
                    <a:pt x="89" y="110"/>
                  </a:cubicBezTo>
                  <a:cubicBezTo>
                    <a:pt x="95" y="113"/>
                    <a:pt x="109" y="121"/>
                    <a:pt x="115" y="120"/>
                  </a:cubicBezTo>
                  <a:cubicBezTo>
                    <a:pt x="120" y="120"/>
                    <a:pt x="117" y="115"/>
                    <a:pt x="116" y="113"/>
                  </a:cubicBezTo>
                  <a:cubicBezTo>
                    <a:pt x="113" y="108"/>
                    <a:pt x="113" y="104"/>
                    <a:pt x="115" y="98"/>
                  </a:cubicBezTo>
                  <a:cubicBezTo>
                    <a:pt x="120" y="86"/>
                    <a:pt x="128" y="85"/>
                    <a:pt x="140" y="88"/>
                  </a:cubicBezTo>
                  <a:cubicBezTo>
                    <a:pt x="134" y="82"/>
                    <a:pt x="152" y="89"/>
                    <a:pt x="146" y="81"/>
                  </a:cubicBezTo>
                  <a:cubicBezTo>
                    <a:pt x="149" y="80"/>
                    <a:pt x="152" y="79"/>
                    <a:pt x="155" y="80"/>
                  </a:cubicBezTo>
                  <a:cubicBezTo>
                    <a:pt x="155" y="77"/>
                    <a:pt x="156" y="75"/>
                    <a:pt x="159" y="75"/>
                  </a:cubicBezTo>
                  <a:cubicBezTo>
                    <a:pt x="155" y="70"/>
                    <a:pt x="155" y="76"/>
                    <a:pt x="152" y="77"/>
                  </a:cubicBezTo>
                  <a:cubicBezTo>
                    <a:pt x="151" y="78"/>
                    <a:pt x="148" y="74"/>
                    <a:pt x="147" y="74"/>
                  </a:cubicBezTo>
                  <a:cubicBezTo>
                    <a:pt x="146" y="73"/>
                    <a:pt x="135" y="63"/>
                    <a:pt x="143" y="66"/>
                  </a:cubicBezTo>
                  <a:cubicBezTo>
                    <a:pt x="137" y="64"/>
                    <a:pt x="131" y="63"/>
                    <a:pt x="130" y="56"/>
                  </a:cubicBezTo>
                  <a:cubicBezTo>
                    <a:pt x="129" y="51"/>
                    <a:pt x="130" y="42"/>
                    <a:pt x="125" y="40"/>
                  </a:cubicBezTo>
                  <a:cubicBezTo>
                    <a:pt x="124" y="44"/>
                    <a:pt x="123" y="52"/>
                    <a:pt x="118" y="54"/>
                  </a:cubicBezTo>
                  <a:cubicBezTo>
                    <a:pt x="111" y="56"/>
                    <a:pt x="102" y="46"/>
                    <a:pt x="98" y="50"/>
                  </a:cubicBezTo>
                  <a:cubicBezTo>
                    <a:pt x="97" y="47"/>
                    <a:pt x="94" y="47"/>
                    <a:pt x="91" y="48"/>
                  </a:cubicBezTo>
                  <a:cubicBezTo>
                    <a:pt x="87" y="48"/>
                    <a:pt x="87" y="45"/>
                    <a:pt x="83" y="44"/>
                  </a:cubicBezTo>
                  <a:cubicBezTo>
                    <a:pt x="72" y="40"/>
                    <a:pt x="63" y="36"/>
                    <a:pt x="53" y="30"/>
                  </a:cubicBezTo>
                  <a:cubicBezTo>
                    <a:pt x="41" y="23"/>
                    <a:pt x="31" y="15"/>
                    <a:pt x="19" y="8"/>
                  </a:cubicBezTo>
                  <a:cubicBezTo>
                    <a:pt x="16" y="6"/>
                    <a:pt x="11" y="2"/>
                    <a:pt x="7" y="1"/>
                  </a:cubicBezTo>
                  <a:cubicBezTo>
                    <a:pt x="3" y="0"/>
                    <a:pt x="4" y="5"/>
                    <a:pt x="0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Freeform 547">
              <a:extLst>
                <a:ext uri="{FF2B5EF4-FFF2-40B4-BE49-F238E27FC236}">
                  <a16:creationId xmlns:a16="http://schemas.microsoft.com/office/drawing/2014/main" id="{1156D326-D4C2-4C42-8C64-79F5837A4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7041" y="1861558"/>
              <a:ext cx="347029" cy="311437"/>
            </a:xfrm>
            <a:custGeom>
              <a:avLst/>
              <a:gdLst>
                <a:gd name="T0" fmla="*/ 0 w 159"/>
                <a:gd name="T1" fmla="*/ 2 h 143"/>
                <a:gd name="T2" fmla="*/ 7 w 159"/>
                <a:gd name="T3" fmla="*/ 14 h 143"/>
                <a:gd name="T4" fmla="*/ 22 w 159"/>
                <a:gd name="T5" fmla="*/ 31 h 143"/>
                <a:gd name="T6" fmla="*/ 31 w 159"/>
                <a:gd name="T7" fmla="*/ 50 h 143"/>
                <a:gd name="T8" fmla="*/ 31 w 159"/>
                <a:gd name="T9" fmla="*/ 64 h 143"/>
                <a:gd name="T10" fmla="*/ 32 w 159"/>
                <a:gd name="T11" fmla="*/ 80 h 143"/>
                <a:gd name="T12" fmla="*/ 12 w 159"/>
                <a:gd name="T13" fmla="*/ 74 h 143"/>
                <a:gd name="T14" fmla="*/ 14 w 159"/>
                <a:gd name="T15" fmla="*/ 81 h 143"/>
                <a:gd name="T16" fmla="*/ 20 w 159"/>
                <a:gd name="T17" fmla="*/ 89 h 143"/>
                <a:gd name="T18" fmla="*/ 13 w 159"/>
                <a:gd name="T19" fmla="*/ 105 h 143"/>
                <a:gd name="T20" fmla="*/ 31 w 159"/>
                <a:gd name="T21" fmla="*/ 120 h 143"/>
                <a:gd name="T22" fmla="*/ 36 w 159"/>
                <a:gd name="T23" fmla="*/ 135 h 143"/>
                <a:gd name="T24" fmla="*/ 48 w 159"/>
                <a:gd name="T25" fmla="*/ 136 h 143"/>
                <a:gd name="T26" fmla="*/ 52 w 159"/>
                <a:gd name="T27" fmla="*/ 128 h 143"/>
                <a:gd name="T28" fmla="*/ 62 w 159"/>
                <a:gd name="T29" fmla="*/ 126 h 143"/>
                <a:gd name="T30" fmla="*/ 48 w 159"/>
                <a:gd name="T31" fmla="*/ 118 h 143"/>
                <a:gd name="T32" fmla="*/ 31 w 159"/>
                <a:gd name="T33" fmla="*/ 111 h 143"/>
                <a:gd name="T34" fmla="*/ 28 w 159"/>
                <a:gd name="T35" fmla="*/ 101 h 143"/>
                <a:gd name="T36" fmla="*/ 38 w 159"/>
                <a:gd name="T37" fmla="*/ 102 h 143"/>
                <a:gd name="T38" fmla="*/ 46 w 159"/>
                <a:gd name="T39" fmla="*/ 108 h 143"/>
                <a:gd name="T40" fmla="*/ 57 w 159"/>
                <a:gd name="T41" fmla="*/ 100 h 143"/>
                <a:gd name="T42" fmla="*/ 89 w 159"/>
                <a:gd name="T43" fmla="*/ 110 h 143"/>
                <a:gd name="T44" fmla="*/ 115 w 159"/>
                <a:gd name="T45" fmla="*/ 120 h 143"/>
                <a:gd name="T46" fmla="*/ 116 w 159"/>
                <a:gd name="T47" fmla="*/ 113 h 143"/>
                <a:gd name="T48" fmla="*/ 115 w 159"/>
                <a:gd name="T49" fmla="*/ 98 h 143"/>
                <a:gd name="T50" fmla="*/ 140 w 159"/>
                <a:gd name="T51" fmla="*/ 88 h 143"/>
                <a:gd name="T52" fmla="*/ 146 w 159"/>
                <a:gd name="T53" fmla="*/ 81 h 143"/>
                <a:gd name="T54" fmla="*/ 155 w 159"/>
                <a:gd name="T55" fmla="*/ 80 h 143"/>
                <a:gd name="T56" fmla="*/ 159 w 159"/>
                <a:gd name="T57" fmla="*/ 75 h 143"/>
                <a:gd name="T58" fmla="*/ 152 w 159"/>
                <a:gd name="T59" fmla="*/ 77 h 143"/>
                <a:gd name="T60" fmla="*/ 147 w 159"/>
                <a:gd name="T61" fmla="*/ 74 h 143"/>
                <a:gd name="T62" fmla="*/ 143 w 159"/>
                <a:gd name="T63" fmla="*/ 66 h 143"/>
                <a:gd name="T64" fmla="*/ 130 w 159"/>
                <a:gd name="T65" fmla="*/ 56 h 143"/>
                <a:gd name="T66" fmla="*/ 125 w 159"/>
                <a:gd name="T67" fmla="*/ 40 h 143"/>
                <a:gd name="T68" fmla="*/ 118 w 159"/>
                <a:gd name="T69" fmla="*/ 54 h 143"/>
                <a:gd name="T70" fmla="*/ 98 w 159"/>
                <a:gd name="T71" fmla="*/ 50 h 143"/>
                <a:gd name="T72" fmla="*/ 91 w 159"/>
                <a:gd name="T73" fmla="*/ 48 h 143"/>
                <a:gd name="T74" fmla="*/ 83 w 159"/>
                <a:gd name="T75" fmla="*/ 44 h 143"/>
                <a:gd name="T76" fmla="*/ 53 w 159"/>
                <a:gd name="T77" fmla="*/ 30 h 143"/>
                <a:gd name="T78" fmla="*/ 19 w 159"/>
                <a:gd name="T79" fmla="*/ 8 h 143"/>
                <a:gd name="T80" fmla="*/ 7 w 159"/>
                <a:gd name="T81" fmla="*/ 1 h 143"/>
                <a:gd name="T82" fmla="*/ 0 w 159"/>
                <a:gd name="T83" fmla="*/ 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9" h="143">
                  <a:moveTo>
                    <a:pt x="0" y="2"/>
                  </a:moveTo>
                  <a:cubicBezTo>
                    <a:pt x="3" y="6"/>
                    <a:pt x="3" y="11"/>
                    <a:pt x="7" y="14"/>
                  </a:cubicBezTo>
                  <a:cubicBezTo>
                    <a:pt x="13" y="19"/>
                    <a:pt x="19" y="25"/>
                    <a:pt x="22" y="31"/>
                  </a:cubicBezTo>
                  <a:cubicBezTo>
                    <a:pt x="25" y="37"/>
                    <a:pt x="29" y="44"/>
                    <a:pt x="31" y="50"/>
                  </a:cubicBezTo>
                  <a:cubicBezTo>
                    <a:pt x="33" y="56"/>
                    <a:pt x="27" y="59"/>
                    <a:pt x="31" y="64"/>
                  </a:cubicBezTo>
                  <a:cubicBezTo>
                    <a:pt x="36" y="69"/>
                    <a:pt x="46" y="82"/>
                    <a:pt x="32" y="80"/>
                  </a:cubicBezTo>
                  <a:cubicBezTo>
                    <a:pt x="25" y="79"/>
                    <a:pt x="18" y="74"/>
                    <a:pt x="12" y="74"/>
                  </a:cubicBezTo>
                  <a:cubicBezTo>
                    <a:pt x="8" y="74"/>
                    <a:pt x="13" y="80"/>
                    <a:pt x="14" y="81"/>
                  </a:cubicBezTo>
                  <a:cubicBezTo>
                    <a:pt x="17" y="83"/>
                    <a:pt x="21" y="84"/>
                    <a:pt x="20" y="89"/>
                  </a:cubicBezTo>
                  <a:cubicBezTo>
                    <a:pt x="19" y="98"/>
                    <a:pt x="8" y="93"/>
                    <a:pt x="13" y="105"/>
                  </a:cubicBezTo>
                  <a:cubicBezTo>
                    <a:pt x="16" y="114"/>
                    <a:pt x="25" y="114"/>
                    <a:pt x="31" y="120"/>
                  </a:cubicBezTo>
                  <a:cubicBezTo>
                    <a:pt x="34" y="125"/>
                    <a:pt x="33" y="131"/>
                    <a:pt x="36" y="135"/>
                  </a:cubicBezTo>
                  <a:cubicBezTo>
                    <a:pt x="41" y="143"/>
                    <a:pt x="42" y="138"/>
                    <a:pt x="48" y="136"/>
                  </a:cubicBezTo>
                  <a:cubicBezTo>
                    <a:pt x="44" y="132"/>
                    <a:pt x="48" y="129"/>
                    <a:pt x="52" y="128"/>
                  </a:cubicBezTo>
                  <a:cubicBezTo>
                    <a:pt x="53" y="128"/>
                    <a:pt x="65" y="131"/>
                    <a:pt x="62" y="126"/>
                  </a:cubicBezTo>
                  <a:cubicBezTo>
                    <a:pt x="60" y="122"/>
                    <a:pt x="52" y="120"/>
                    <a:pt x="48" y="118"/>
                  </a:cubicBezTo>
                  <a:cubicBezTo>
                    <a:pt x="43" y="114"/>
                    <a:pt x="36" y="115"/>
                    <a:pt x="31" y="111"/>
                  </a:cubicBezTo>
                  <a:cubicBezTo>
                    <a:pt x="28" y="109"/>
                    <a:pt x="26" y="105"/>
                    <a:pt x="28" y="101"/>
                  </a:cubicBezTo>
                  <a:cubicBezTo>
                    <a:pt x="30" y="98"/>
                    <a:pt x="35" y="101"/>
                    <a:pt x="38" y="102"/>
                  </a:cubicBezTo>
                  <a:cubicBezTo>
                    <a:pt x="41" y="104"/>
                    <a:pt x="43" y="107"/>
                    <a:pt x="46" y="108"/>
                  </a:cubicBezTo>
                  <a:cubicBezTo>
                    <a:pt x="50" y="109"/>
                    <a:pt x="54" y="102"/>
                    <a:pt x="57" y="100"/>
                  </a:cubicBezTo>
                  <a:cubicBezTo>
                    <a:pt x="67" y="94"/>
                    <a:pt x="80" y="107"/>
                    <a:pt x="89" y="110"/>
                  </a:cubicBezTo>
                  <a:cubicBezTo>
                    <a:pt x="95" y="113"/>
                    <a:pt x="109" y="121"/>
                    <a:pt x="115" y="120"/>
                  </a:cubicBezTo>
                  <a:cubicBezTo>
                    <a:pt x="120" y="120"/>
                    <a:pt x="117" y="115"/>
                    <a:pt x="116" y="113"/>
                  </a:cubicBezTo>
                  <a:cubicBezTo>
                    <a:pt x="113" y="108"/>
                    <a:pt x="113" y="104"/>
                    <a:pt x="115" y="98"/>
                  </a:cubicBezTo>
                  <a:cubicBezTo>
                    <a:pt x="120" y="86"/>
                    <a:pt x="128" y="85"/>
                    <a:pt x="140" y="88"/>
                  </a:cubicBezTo>
                  <a:cubicBezTo>
                    <a:pt x="134" y="82"/>
                    <a:pt x="152" y="89"/>
                    <a:pt x="146" y="81"/>
                  </a:cubicBezTo>
                  <a:cubicBezTo>
                    <a:pt x="149" y="80"/>
                    <a:pt x="152" y="79"/>
                    <a:pt x="155" y="80"/>
                  </a:cubicBezTo>
                  <a:cubicBezTo>
                    <a:pt x="155" y="77"/>
                    <a:pt x="156" y="75"/>
                    <a:pt x="159" y="75"/>
                  </a:cubicBezTo>
                  <a:cubicBezTo>
                    <a:pt x="155" y="70"/>
                    <a:pt x="155" y="76"/>
                    <a:pt x="152" y="77"/>
                  </a:cubicBezTo>
                  <a:cubicBezTo>
                    <a:pt x="151" y="78"/>
                    <a:pt x="148" y="74"/>
                    <a:pt x="147" y="74"/>
                  </a:cubicBezTo>
                  <a:cubicBezTo>
                    <a:pt x="146" y="73"/>
                    <a:pt x="135" y="63"/>
                    <a:pt x="143" y="66"/>
                  </a:cubicBezTo>
                  <a:cubicBezTo>
                    <a:pt x="137" y="64"/>
                    <a:pt x="131" y="63"/>
                    <a:pt x="130" y="56"/>
                  </a:cubicBezTo>
                  <a:cubicBezTo>
                    <a:pt x="129" y="51"/>
                    <a:pt x="130" y="42"/>
                    <a:pt x="125" y="40"/>
                  </a:cubicBezTo>
                  <a:cubicBezTo>
                    <a:pt x="124" y="44"/>
                    <a:pt x="123" y="52"/>
                    <a:pt x="118" y="54"/>
                  </a:cubicBezTo>
                  <a:cubicBezTo>
                    <a:pt x="111" y="56"/>
                    <a:pt x="102" y="46"/>
                    <a:pt x="98" y="50"/>
                  </a:cubicBezTo>
                  <a:cubicBezTo>
                    <a:pt x="97" y="47"/>
                    <a:pt x="94" y="47"/>
                    <a:pt x="91" y="48"/>
                  </a:cubicBezTo>
                  <a:cubicBezTo>
                    <a:pt x="87" y="48"/>
                    <a:pt x="87" y="45"/>
                    <a:pt x="83" y="44"/>
                  </a:cubicBezTo>
                  <a:cubicBezTo>
                    <a:pt x="72" y="40"/>
                    <a:pt x="63" y="36"/>
                    <a:pt x="53" y="30"/>
                  </a:cubicBezTo>
                  <a:cubicBezTo>
                    <a:pt x="41" y="23"/>
                    <a:pt x="31" y="15"/>
                    <a:pt x="19" y="8"/>
                  </a:cubicBezTo>
                  <a:cubicBezTo>
                    <a:pt x="16" y="6"/>
                    <a:pt x="11" y="2"/>
                    <a:pt x="7" y="1"/>
                  </a:cubicBezTo>
                  <a:cubicBezTo>
                    <a:pt x="3" y="0"/>
                    <a:pt x="4" y="5"/>
                    <a:pt x="0" y="2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Freeform 548">
              <a:extLst>
                <a:ext uri="{FF2B5EF4-FFF2-40B4-BE49-F238E27FC236}">
                  <a16:creationId xmlns:a16="http://schemas.microsoft.com/office/drawing/2014/main" id="{26B16109-A990-4A64-AAF9-5F4D07819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0389" y="2680192"/>
              <a:ext cx="17796" cy="31145"/>
            </a:xfrm>
            <a:custGeom>
              <a:avLst/>
              <a:gdLst>
                <a:gd name="T0" fmla="*/ 7 w 9"/>
                <a:gd name="T1" fmla="*/ 0 h 16"/>
                <a:gd name="T2" fmla="*/ 3 w 9"/>
                <a:gd name="T3" fmla="*/ 11 h 16"/>
                <a:gd name="T4" fmla="*/ 7 w 9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6">
                  <a:moveTo>
                    <a:pt x="7" y="0"/>
                  </a:moveTo>
                  <a:cubicBezTo>
                    <a:pt x="2" y="0"/>
                    <a:pt x="0" y="9"/>
                    <a:pt x="3" y="11"/>
                  </a:cubicBezTo>
                  <a:cubicBezTo>
                    <a:pt x="9" y="16"/>
                    <a:pt x="6" y="1"/>
                    <a:pt x="7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Freeform 549">
              <a:extLst>
                <a:ext uri="{FF2B5EF4-FFF2-40B4-BE49-F238E27FC236}">
                  <a16:creationId xmlns:a16="http://schemas.microsoft.com/office/drawing/2014/main" id="{361C6938-2F58-4C9A-BE7C-20B9B8969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0389" y="2680192"/>
              <a:ext cx="17796" cy="31145"/>
            </a:xfrm>
            <a:custGeom>
              <a:avLst/>
              <a:gdLst>
                <a:gd name="T0" fmla="*/ 7 w 9"/>
                <a:gd name="T1" fmla="*/ 0 h 16"/>
                <a:gd name="T2" fmla="*/ 3 w 9"/>
                <a:gd name="T3" fmla="*/ 11 h 16"/>
                <a:gd name="T4" fmla="*/ 7 w 9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6">
                  <a:moveTo>
                    <a:pt x="7" y="0"/>
                  </a:moveTo>
                  <a:cubicBezTo>
                    <a:pt x="2" y="0"/>
                    <a:pt x="0" y="9"/>
                    <a:pt x="3" y="11"/>
                  </a:cubicBezTo>
                  <a:cubicBezTo>
                    <a:pt x="9" y="16"/>
                    <a:pt x="6" y="1"/>
                    <a:pt x="7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Freeform 550">
              <a:extLst>
                <a:ext uri="{FF2B5EF4-FFF2-40B4-BE49-F238E27FC236}">
                  <a16:creationId xmlns:a16="http://schemas.microsoft.com/office/drawing/2014/main" id="{59D2FF6D-34E6-489B-B3D9-FC3658829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9371" y="2399900"/>
              <a:ext cx="26695" cy="35593"/>
            </a:xfrm>
            <a:custGeom>
              <a:avLst/>
              <a:gdLst>
                <a:gd name="T0" fmla="*/ 6 w 13"/>
                <a:gd name="T1" fmla="*/ 0 h 16"/>
                <a:gd name="T2" fmla="*/ 4 w 13"/>
                <a:gd name="T3" fmla="*/ 9 h 16"/>
                <a:gd name="T4" fmla="*/ 6 w 13"/>
                <a:gd name="T5" fmla="*/ 16 h 16"/>
                <a:gd name="T6" fmla="*/ 11 w 13"/>
                <a:gd name="T7" fmla="*/ 8 h 16"/>
                <a:gd name="T8" fmla="*/ 8 w 13"/>
                <a:gd name="T9" fmla="*/ 6 h 16"/>
                <a:gd name="T10" fmla="*/ 6 w 13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6">
                  <a:moveTo>
                    <a:pt x="6" y="0"/>
                  </a:moveTo>
                  <a:cubicBezTo>
                    <a:pt x="3" y="1"/>
                    <a:pt x="0" y="7"/>
                    <a:pt x="4" y="9"/>
                  </a:cubicBezTo>
                  <a:cubicBezTo>
                    <a:pt x="8" y="11"/>
                    <a:pt x="7" y="12"/>
                    <a:pt x="6" y="16"/>
                  </a:cubicBezTo>
                  <a:cubicBezTo>
                    <a:pt x="11" y="16"/>
                    <a:pt x="13" y="12"/>
                    <a:pt x="11" y="8"/>
                  </a:cubicBezTo>
                  <a:cubicBezTo>
                    <a:pt x="10" y="7"/>
                    <a:pt x="9" y="7"/>
                    <a:pt x="8" y="6"/>
                  </a:cubicBezTo>
                  <a:cubicBezTo>
                    <a:pt x="7" y="5"/>
                    <a:pt x="7" y="1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Freeform 551">
              <a:extLst>
                <a:ext uri="{FF2B5EF4-FFF2-40B4-BE49-F238E27FC236}">
                  <a16:creationId xmlns:a16="http://schemas.microsoft.com/office/drawing/2014/main" id="{E1FBE1C0-16E5-42A8-8858-7C6FF482B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9371" y="2399900"/>
              <a:ext cx="26695" cy="35593"/>
            </a:xfrm>
            <a:custGeom>
              <a:avLst/>
              <a:gdLst>
                <a:gd name="T0" fmla="*/ 6 w 13"/>
                <a:gd name="T1" fmla="*/ 0 h 16"/>
                <a:gd name="T2" fmla="*/ 4 w 13"/>
                <a:gd name="T3" fmla="*/ 9 h 16"/>
                <a:gd name="T4" fmla="*/ 6 w 13"/>
                <a:gd name="T5" fmla="*/ 16 h 16"/>
                <a:gd name="T6" fmla="*/ 11 w 13"/>
                <a:gd name="T7" fmla="*/ 8 h 16"/>
                <a:gd name="T8" fmla="*/ 8 w 13"/>
                <a:gd name="T9" fmla="*/ 6 h 16"/>
                <a:gd name="T10" fmla="*/ 6 w 13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6">
                  <a:moveTo>
                    <a:pt x="6" y="0"/>
                  </a:moveTo>
                  <a:cubicBezTo>
                    <a:pt x="3" y="1"/>
                    <a:pt x="0" y="7"/>
                    <a:pt x="4" y="9"/>
                  </a:cubicBezTo>
                  <a:cubicBezTo>
                    <a:pt x="8" y="11"/>
                    <a:pt x="7" y="12"/>
                    <a:pt x="6" y="16"/>
                  </a:cubicBezTo>
                  <a:cubicBezTo>
                    <a:pt x="11" y="16"/>
                    <a:pt x="13" y="12"/>
                    <a:pt x="11" y="8"/>
                  </a:cubicBezTo>
                  <a:cubicBezTo>
                    <a:pt x="10" y="7"/>
                    <a:pt x="9" y="7"/>
                    <a:pt x="8" y="6"/>
                  </a:cubicBezTo>
                  <a:cubicBezTo>
                    <a:pt x="7" y="5"/>
                    <a:pt x="7" y="1"/>
                    <a:pt x="6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Freeform 552">
              <a:extLst>
                <a:ext uri="{FF2B5EF4-FFF2-40B4-BE49-F238E27FC236}">
                  <a16:creationId xmlns:a16="http://schemas.microsoft.com/office/drawing/2014/main" id="{B421237F-F214-485A-A69F-71F8CCB7C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8464" y="3516622"/>
              <a:ext cx="573935" cy="1116725"/>
            </a:xfrm>
            <a:custGeom>
              <a:avLst/>
              <a:gdLst>
                <a:gd name="T0" fmla="*/ 21 w 263"/>
                <a:gd name="T1" fmla="*/ 29 h 516"/>
                <a:gd name="T2" fmla="*/ 46 w 263"/>
                <a:gd name="T3" fmla="*/ 23 h 516"/>
                <a:gd name="T4" fmla="*/ 77 w 263"/>
                <a:gd name="T5" fmla="*/ 17 h 516"/>
                <a:gd name="T6" fmla="*/ 106 w 263"/>
                <a:gd name="T7" fmla="*/ 14 h 516"/>
                <a:gd name="T8" fmla="*/ 132 w 263"/>
                <a:gd name="T9" fmla="*/ 27 h 516"/>
                <a:gd name="T10" fmla="*/ 161 w 263"/>
                <a:gd name="T11" fmla="*/ 61 h 516"/>
                <a:gd name="T12" fmla="*/ 182 w 263"/>
                <a:gd name="T13" fmla="*/ 65 h 516"/>
                <a:gd name="T14" fmla="*/ 163 w 263"/>
                <a:gd name="T15" fmla="*/ 81 h 516"/>
                <a:gd name="T16" fmla="*/ 142 w 263"/>
                <a:gd name="T17" fmla="*/ 82 h 516"/>
                <a:gd name="T18" fmla="*/ 142 w 263"/>
                <a:gd name="T19" fmla="*/ 94 h 516"/>
                <a:gd name="T20" fmla="*/ 131 w 263"/>
                <a:gd name="T21" fmla="*/ 116 h 516"/>
                <a:gd name="T22" fmla="*/ 127 w 263"/>
                <a:gd name="T23" fmla="*/ 163 h 516"/>
                <a:gd name="T24" fmla="*/ 150 w 263"/>
                <a:gd name="T25" fmla="*/ 184 h 516"/>
                <a:gd name="T26" fmla="*/ 164 w 263"/>
                <a:gd name="T27" fmla="*/ 209 h 516"/>
                <a:gd name="T28" fmla="*/ 188 w 263"/>
                <a:gd name="T29" fmla="*/ 233 h 516"/>
                <a:gd name="T30" fmla="*/ 217 w 263"/>
                <a:gd name="T31" fmla="*/ 251 h 516"/>
                <a:gd name="T32" fmla="*/ 237 w 263"/>
                <a:gd name="T33" fmla="*/ 285 h 516"/>
                <a:gd name="T34" fmla="*/ 255 w 263"/>
                <a:gd name="T35" fmla="*/ 328 h 516"/>
                <a:gd name="T36" fmla="*/ 258 w 263"/>
                <a:gd name="T37" fmla="*/ 344 h 516"/>
                <a:gd name="T38" fmla="*/ 263 w 263"/>
                <a:gd name="T39" fmla="*/ 373 h 516"/>
                <a:gd name="T40" fmla="*/ 255 w 263"/>
                <a:gd name="T41" fmla="*/ 379 h 516"/>
                <a:gd name="T42" fmla="*/ 257 w 263"/>
                <a:gd name="T43" fmla="*/ 400 h 516"/>
                <a:gd name="T44" fmla="*/ 249 w 263"/>
                <a:gd name="T45" fmla="*/ 418 h 516"/>
                <a:gd name="T46" fmla="*/ 229 w 263"/>
                <a:gd name="T47" fmla="*/ 431 h 516"/>
                <a:gd name="T48" fmla="*/ 203 w 263"/>
                <a:gd name="T49" fmla="*/ 450 h 516"/>
                <a:gd name="T50" fmla="*/ 193 w 263"/>
                <a:gd name="T51" fmla="*/ 442 h 516"/>
                <a:gd name="T52" fmla="*/ 183 w 263"/>
                <a:gd name="T53" fmla="*/ 447 h 516"/>
                <a:gd name="T54" fmla="*/ 191 w 263"/>
                <a:gd name="T55" fmla="*/ 459 h 516"/>
                <a:gd name="T56" fmla="*/ 186 w 263"/>
                <a:gd name="T57" fmla="*/ 469 h 516"/>
                <a:gd name="T58" fmla="*/ 161 w 263"/>
                <a:gd name="T59" fmla="*/ 463 h 516"/>
                <a:gd name="T60" fmla="*/ 148 w 263"/>
                <a:gd name="T61" fmla="*/ 506 h 516"/>
                <a:gd name="T62" fmla="*/ 137 w 263"/>
                <a:gd name="T63" fmla="*/ 504 h 516"/>
                <a:gd name="T64" fmla="*/ 133 w 263"/>
                <a:gd name="T65" fmla="*/ 473 h 516"/>
                <a:gd name="T66" fmla="*/ 118 w 263"/>
                <a:gd name="T67" fmla="*/ 449 h 516"/>
                <a:gd name="T68" fmla="*/ 136 w 263"/>
                <a:gd name="T69" fmla="*/ 439 h 516"/>
                <a:gd name="T70" fmla="*/ 160 w 263"/>
                <a:gd name="T71" fmla="*/ 431 h 516"/>
                <a:gd name="T72" fmla="*/ 161 w 263"/>
                <a:gd name="T73" fmla="*/ 420 h 516"/>
                <a:gd name="T74" fmla="*/ 176 w 263"/>
                <a:gd name="T75" fmla="*/ 406 h 516"/>
                <a:gd name="T76" fmla="*/ 192 w 263"/>
                <a:gd name="T77" fmla="*/ 389 h 516"/>
                <a:gd name="T78" fmla="*/ 204 w 263"/>
                <a:gd name="T79" fmla="*/ 355 h 516"/>
                <a:gd name="T80" fmla="*/ 199 w 263"/>
                <a:gd name="T81" fmla="*/ 327 h 516"/>
                <a:gd name="T82" fmla="*/ 199 w 263"/>
                <a:gd name="T83" fmla="*/ 293 h 516"/>
                <a:gd name="T84" fmla="*/ 183 w 263"/>
                <a:gd name="T85" fmla="*/ 263 h 516"/>
                <a:gd name="T86" fmla="*/ 174 w 263"/>
                <a:gd name="T87" fmla="*/ 242 h 516"/>
                <a:gd name="T88" fmla="*/ 151 w 263"/>
                <a:gd name="T89" fmla="*/ 212 h 516"/>
                <a:gd name="T90" fmla="*/ 123 w 263"/>
                <a:gd name="T91" fmla="*/ 182 h 516"/>
                <a:gd name="T92" fmla="*/ 110 w 263"/>
                <a:gd name="T93" fmla="*/ 165 h 516"/>
                <a:gd name="T94" fmla="*/ 71 w 263"/>
                <a:gd name="T95" fmla="*/ 138 h 516"/>
                <a:gd name="T96" fmla="*/ 92 w 263"/>
                <a:gd name="T97" fmla="*/ 121 h 516"/>
                <a:gd name="T98" fmla="*/ 87 w 263"/>
                <a:gd name="T99" fmla="*/ 106 h 516"/>
                <a:gd name="T100" fmla="*/ 76 w 263"/>
                <a:gd name="T101" fmla="*/ 89 h 516"/>
                <a:gd name="T102" fmla="*/ 45 w 263"/>
                <a:gd name="T103" fmla="*/ 89 h 516"/>
                <a:gd name="T104" fmla="*/ 23 w 263"/>
                <a:gd name="T105" fmla="*/ 53 h 516"/>
                <a:gd name="T106" fmla="*/ 0 w 263"/>
                <a:gd name="T107" fmla="*/ 3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516">
                  <a:moveTo>
                    <a:pt x="0" y="34"/>
                  </a:moveTo>
                  <a:cubicBezTo>
                    <a:pt x="6" y="34"/>
                    <a:pt x="4" y="27"/>
                    <a:pt x="6" y="23"/>
                  </a:cubicBezTo>
                  <a:cubicBezTo>
                    <a:pt x="10" y="18"/>
                    <a:pt x="19" y="26"/>
                    <a:pt x="21" y="29"/>
                  </a:cubicBezTo>
                  <a:cubicBezTo>
                    <a:pt x="26" y="33"/>
                    <a:pt x="29" y="30"/>
                    <a:pt x="32" y="25"/>
                  </a:cubicBezTo>
                  <a:cubicBezTo>
                    <a:pt x="36" y="18"/>
                    <a:pt x="38" y="24"/>
                    <a:pt x="40" y="28"/>
                  </a:cubicBezTo>
                  <a:cubicBezTo>
                    <a:pt x="42" y="25"/>
                    <a:pt x="42" y="19"/>
                    <a:pt x="46" y="23"/>
                  </a:cubicBezTo>
                  <a:cubicBezTo>
                    <a:pt x="48" y="25"/>
                    <a:pt x="50" y="28"/>
                    <a:pt x="53" y="30"/>
                  </a:cubicBezTo>
                  <a:cubicBezTo>
                    <a:pt x="55" y="31"/>
                    <a:pt x="56" y="19"/>
                    <a:pt x="62" y="19"/>
                  </a:cubicBezTo>
                  <a:cubicBezTo>
                    <a:pt x="60" y="27"/>
                    <a:pt x="75" y="20"/>
                    <a:pt x="77" y="17"/>
                  </a:cubicBezTo>
                  <a:cubicBezTo>
                    <a:pt x="80" y="14"/>
                    <a:pt x="77" y="12"/>
                    <a:pt x="78" y="10"/>
                  </a:cubicBezTo>
                  <a:cubicBezTo>
                    <a:pt x="79" y="5"/>
                    <a:pt x="88" y="5"/>
                    <a:pt x="90" y="0"/>
                  </a:cubicBezTo>
                  <a:cubicBezTo>
                    <a:pt x="94" y="6"/>
                    <a:pt x="100" y="11"/>
                    <a:pt x="106" y="14"/>
                  </a:cubicBezTo>
                  <a:cubicBezTo>
                    <a:pt x="111" y="16"/>
                    <a:pt x="116" y="12"/>
                    <a:pt x="120" y="16"/>
                  </a:cubicBezTo>
                  <a:cubicBezTo>
                    <a:pt x="123" y="21"/>
                    <a:pt x="129" y="14"/>
                    <a:pt x="134" y="18"/>
                  </a:cubicBezTo>
                  <a:cubicBezTo>
                    <a:pt x="136" y="20"/>
                    <a:pt x="139" y="30"/>
                    <a:pt x="132" y="27"/>
                  </a:cubicBezTo>
                  <a:cubicBezTo>
                    <a:pt x="132" y="35"/>
                    <a:pt x="137" y="41"/>
                    <a:pt x="139" y="49"/>
                  </a:cubicBezTo>
                  <a:cubicBezTo>
                    <a:pt x="141" y="47"/>
                    <a:pt x="150" y="49"/>
                    <a:pt x="150" y="53"/>
                  </a:cubicBezTo>
                  <a:cubicBezTo>
                    <a:pt x="150" y="58"/>
                    <a:pt x="159" y="57"/>
                    <a:pt x="161" y="61"/>
                  </a:cubicBezTo>
                  <a:cubicBezTo>
                    <a:pt x="162" y="61"/>
                    <a:pt x="162" y="60"/>
                    <a:pt x="163" y="60"/>
                  </a:cubicBezTo>
                  <a:cubicBezTo>
                    <a:pt x="165" y="64"/>
                    <a:pt x="168" y="61"/>
                    <a:pt x="171" y="60"/>
                  </a:cubicBezTo>
                  <a:cubicBezTo>
                    <a:pt x="175" y="58"/>
                    <a:pt x="179" y="63"/>
                    <a:pt x="182" y="65"/>
                  </a:cubicBezTo>
                  <a:cubicBezTo>
                    <a:pt x="178" y="69"/>
                    <a:pt x="178" y="63"/>
                    <a:pt x="174" y="66"/>
                  </a:cubicBezTo>
                  <a:cubicBezTo>
                    <a:pt x="171" y="68"/>
                    <a:pt x="170" y="72"/>
                    <a:pt x="166" y="73"/>
                  </a:cubicBezTo>
                  <a:cubicBezTo>
                    <a:pt x="161" y="74"/>
                    <a:pt x="165" y="78"/>
                    <a:pt x="163" y="81"/>
                  </a:cubicBezTo>
                  <a:cubicBezTo>
                    <a:pt x="161" y="84"/>
                    <a:pt x="152" y="87"/>
                    <a:pt x="157" y="81"/>
                  </a:cubicBezTo>
                  <a:cubicBezTo>
                    <a:pt x="154" y="81"/>
                    <a:pt x="150" y="85"/>
                    <a:pt x="149" y="87"/>
                  </a:cubicBezTo>
                  <a:cubicBezTo>
                    <a:pt x="147" y="85"/>
                    <a:pt x="146" y="81"/>
                    <a:pt x="142" y="82"/>
                  </a:cubicBezTo>
                  <a:cubicBezTo>
                    <a:pt x="143" y="83"/>
                    <a:pt x="145" y="84"/>
                    <a:pt x="146" y="85"/>
                  </a:cubicBezTo>
                  <a:cubicBezTo>
                    <a:pt x="144" y="88"/>
                    <a:pt x="146" y="89"/>
                    <a:pt x="147" y="92"/>
                  </a:cubicBezTo>
                  <a:cubicBezTo>
                    <a:pt x="149" y="95"/>
                    <a:pt x="143" y="95"/>
                    <a:pt x="142" y="94"/>
                  </a:cubicBezTo>
                  <a:cubicBezTo>
                    <a:pt x="143" y="97"/>
                    <a:pt x="144" y="105"/>
                    <a:pt x="141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9"/>
                    <a:pt x="133" y="119"/>
                    <a:pt x="131" y="116"/>
                  </a:cubicBezTo>
                  <a:cubicBezTo>
                    <a:pt x="126" y="119"/>
                    <a:pt x="125" y="126"/>
                    <a:pt x="124" y="131"/>
                  </a:cubicBezTo>
                  <a:cubicBezTo>
                    <a:pt x="124" y="137"/>
                    <a:pt x="126" y="142"/>
                    <a:pt x="123" y="148"/>
                  </a:cubicBezTo>
                  <a:cubicBezTo>
                    <a:pt x="119" y="155"/>
                    <a:pt x="127" y="157"/>
                    <a:pt x="127" y="163"/>
                  </a:cubicBezTo>
                  <a:cubicBezTo>
                    <a:pt x="129" y="159"/>
                    <a:pt x="130" y="166"/>
                    <a:pt x="132" y="168"/>
                  </a:cubicBezTo>
                  <a:cubicBezTo>
                    <a:pt x="134" y="171"/>
                    <a:pt x="137" y="174"/>
                    <a:pt x="141" y="176"/>
                  </a:cubicBezTo>
                  <a:cubicBezTo>
                    <a:pt x="144" y="179"/>
                    <a:pt x="147" y="181"/>
                    <a:pt x="150" y="184"/>
                  </a:cubicBezTo>
                  <a:cubicBezTo>
                    <a:pt x="154" y="187"/>
                    <a:pt x="152" y="192"/>
                    <a:pt x="154" y="197"/>
                  </a:cubicBezTo>
                  <a:cubicBezTo>
                    <a:pt x="152" y="195"/>
                    <a:pt x="150" y="194"/>
                    <a:pt x="148" y="194"/>
                  </a:cubicBezTo>
                  <a:cubicBezTo>
                    <a:pt x="155" y="195"/>
                    <a:pt x="158" y="204"/>
                    <a:pt x="164" y="209"/>
                  </a:cubicBezTo>
                  <a:cubicBezTo>
                    <a:pt x="168" y="212"/>
                    <a:pt x="181" y="219"/>
                    <a:pt x="178" y="226"/>
                  </a:cubicBezTo>
                  <a:cubicBezTo>
                    <a:pt x="182" y="223"/>
                    <a:pt x="189" y="232"/>
                    <a:pt x="191" y="235"/>
                  </a:cubicBezTo>
                  <a:cubicBezTo>
                    <a:pt x="190" y="234"/>
                    <a:pt x="189" y="234"/>
                    <a:pt x="188" y="233"/>
                  </a:cubicBezTo>
                  <a:cubicBezTo>
                    <a:pt x="193" y="236"/>
                    <a:pt x="198" y="240"/>
                    <a:pt x="201" y="246"/>
                  </a:cubicBezTo>
                  <a:cubicBezTo>
                    <a:pt x="206" y="240"/>
                    <a:pt x="216" y="253"/>
                    <a:pt x="213" y="256"/>
                  </a:cubicBezTo>
                  <a:cubicBezTo>
                    <a:pt x="216" y="254"/>
                    <a:pt x="212" y="248"/>
                    <a:pt x="217" y="251"/>
                  </a:cubicBezTo>
                  <a:cubicBezTo>
                    <a:pt x="209" y="258"/>
                    <a:pt x="233" y="273"/>
                    <a:pt x="233" y="279"/>
                  </a:cubicBezTo>
                  <a:cubicBezTo>
                    <a:pt x="235" y="274"/>
                    <a:pt x="236" y="278"/>
                    <a:pt x="238" y="280"/>
                  </a:cubicBezTo>
                  <a:cubicBezTo>
                    <a:pt x="240" y="284"/>
                    <a:pt x="237" y="282"/>
                    <a:pt x="237" y="285"/>
                  </a:cubicBezTo>
                  <a:cubicBezTo>
                    <a:pt x="238" y="290"/>
                    <a:pt x="242" y="295"/>
                    <a:pt x="245" y="300"/>
                  </a:cubicBezTo>
                  <a:cubicBezTo>
                    <a:pt x="247" y="306"/>
                    <a:pt x="249" y="313"/>
                    <a:pt x="252" y="320"/>
                  </a:cubicBezTo>
                  <a:cubicBezTo>
                    <a:pt x="253" y="322"/>
                    <a:pt x="254" y="325"/>
                    <a:pt x="255" y="328"/>
                  </a:cubicBezTo>
                  <a:cubicBezTo>
                    <a:pt x="255" y="329"/>
                    <a:pt x="255" y="336"/>
                    <a:pt x="253" y="329"/>
                  </a:cubicBezTo>
                  <a:cubicBezTo>
                    <a:pt x="253" y="333"/>
                    <a:pt x="258" y="345"/>
                    <a:pt x="253" y="338"/>
                  </a:cubicBezTo>
                  <a:cubicBezTo>
                    <a:pt x="254" y="340"/>
                    <a:pt x="256" y="342"/>
                    <a:pt x="258" y="344"/>
                  </a:cubicBezTo>
                  <a:cubicBezTo>
                    <a:pt x="252" y="344"/>
                    <a:pt x="257" y="347"/>
                    <a:pt x="257" y="350"/>
                  </a:cubicBezTo>
                  <a:cubicBezTo>
                    <a:pt x="259" y="355"/>
                    <a:pt x="260" y="358"/>
                    <a:pt x="262" y="361"/>
                  </a:cubicBezTo>
                  <a:cubicBezTo>
                    <a:pt x="263" y="363"/>
                    <a:pt x="263" y="371"/>
                    <a:pt x="263" y="373"/>
                  </a:cubicBezTo>
                  <a:cubicBezTo>
                    <a:pt x="261" y="372"/>
                    <a:pt x="260" y="370"/>
                    <a:pt x="260" y="368"/>
                  </a:cubicBezTo>
                  <a:cubicBezTo>
                    <a:pt x="254" y="371"/>
                    <a:pt x="259" y="377"/>
                    <a:pt x="261" y="381"/>
                  </a:cubicBezTo>
                  <a:cubicBezTo>
                    <a:pt x="259" y="380"/>
                    <a:pt x="257" y="379"/>
                    <a:pt x="255" y="379"/>
                  </a:cubicBezTo>
                  <a:cubicBezTo>
                    <a:pt x="258" y="381"/>
                    <a:pt x="260" y="394"/>
                    <a:pt x="259" y="397"/>
                  </a:cubicBezTo>
                  <a:cubicBezTo>
                    <a:pt x="259" y="395"/>
                    <a:pt x="258" y="393"/>
                    <a:pt x="257" y="391"/>
                  </a:cubicBezTo>
                  <a:cubicBezTo>
                    <a:pt x="259" y="394"/>
                    <a:pt x="258" y="397"/>
                    <a:pt x="257" y="400"/>
                  </a:cubicBezTo>
                  <a:cubicBezTo>
                    <a:pt x="260" y="400"/>
                    <a:pt x="260" y="402"/>
                    <a:pt x="259" y="405"/>
                  </a:cubicBezTo>
                  <a:cubicBezTo>
                    <a:pt x="258" y="407"/>
                    <a:pt x="255" y="409"/>
                    <a:pt x="254" y="409"/>
                  </a:cubicBezTo>
                  <a:cubicBezTo>
                    <a:pt x="253" y="415"/>
                    <a:pt x="255" y="415"/>
                    <a:pt x="249" y="418"/>
                  </a:cubicBezTo>
                  <a:cubicBezTo>
                    <a:pt x="247" y="419"/>
                    <a:pt x="246" y="421"/>
                    <a:pt x="244" y="422"/>
                  </a:cubicBezTo>
                  <a:cubicBezTo>
                    <a:pt x="241" y="423"/>
                    <a:pt x="240" y="427"/>
                    <a:pt x="238" y="427"/>
                  </a:cubicBezTo>
                  <a:cubicBezTo>
                    <a:pt x="235" y="428"/>
                    <a:pt x="232" y="430"/>
                    <a:pt x="229" y="431"/>
                  </a:cubicBezTo>
                  <a:cubicBezTo>
                    <a:pt x="228" y="432"/>
                    <a:pt x="226" y="439"/>
                    <a:pt x="225" y="438"/>
                  </a:cubicBezTo>
                  <a:cubicBezTo>
                    <a:pt x="222" y="437"/>
                    <a:pt x="217" y="441"/>
                    <a:pt x="215" y="443"/>
                  </a:cubicBezTo>
                  <a:cubicBezTo>
                    <a:pt x="212" y="445"/>
                    <a:pt x="206" y="447"/>
                    <a:pt x="203" y="450"/>
                  </a:cubicBezTo>
                  <a:cubicBezTo>
                    <a:pt x="201" y="446"/>
                    <a:pt x="196" y="446"/>
                    <a:pt x="196" y="441"/>
                  </a:cubicBezTo>
                  <a:cubicBezTo>
                    <a:pt x="195" y="443"/>
                    <a:pt x="195" y="445"/>
                    <a:pt x="195" y="447"/>
                  </a:cubicBezTo>
                  <a:cubicBezTo>
                    <a:pt x="194" y="445"/>
                    <a:pt x="193" y="444"/>
                    <a:pt x="193" y="442"/>
                  </a:cubicBezTo>
                  <a:cubicBezTo>
                    <a:pt x="194" y="446"/>
                    <a:pt x="194" y="445"/>
                    <a:pt x="191" y="442"/>
                  </a:cubicBezTo>
                  <a:cubicBezTo>
                    <a:pt x="194" y="442"/>
                    <a:pt x="188" y="440"/>
                    <a:pt x="188" y="440"/>
                  </a:cubicBezTo>
                  <a:cubicBezTo>
                    <a:pt x="189" y="443"/>
                    <a:pt x="188" y="448"/>
                    <a:pt x="183" y="447"/>
                  </a:cubicBezTo>
                  <a:cubicBezTo>
                    <a:pt x="184" y="450"/>
                    <a:pt x="189" y="445"/>
                    <a:pt x="190" y="449"/>
                  </a:cubicBezTo>
                  <a:cubicBezTo>
                    <a:pt x="191" y="455"/>
                    <a:pt x="181" y="452"/>
                    <a:pt x="179" y="452"/>
                  </a:cubicBezTo>
                  <a:cubicBezTo>
                    <a:pt x="182" y="455"/>
                    <a:pt x="188" y="455"/>
                    <a:pt x="191" y="459"/>
                  </a:cubicBezTo>
                  <a:cubicBezTo>
                    <a:pt x="187" y="460"/>
                    <a:pt x="187" y="465"/>
                    <a:pt x="183" y="462"/>
                  </a:cubicBezTo>
                  <a:cubicBezTo>
                    <a:pt x="180" y="461"/>
                    <a:pt x="178" y="455"/>
                    <a:pt x="175" y="455"/>
                  </a:cubicBezTo>
                  <a:cubicBezTo>
                    <a:pt x="177" y="457"/>
                    <a:pt x="188" y="466"/>
                    <a:pt x="186" y="469"/>
                  </a:cubicBezTo>
                  <a:cubicBezTo>
                    <a:pt x="179" y="466"/>
                    <a:pt x="176" y="459"/>
                    <a:pt x="170" y="455"/>
                  </a:cubicBezTo>
                  <a:cubicBezTo>
                    <a:pt x="171" y="460"/>
                    <a:pt x="192" y="474"/>
                    <a:pt x="183" y="479"/>
                  </a:cubicBezTo>
                  <a:cubicBezTo>
                    <a:pt x="176" y="482"/>
                    <a:pt x="166" y="466"/>
                    <a:pt x="161" y="463"/>
                  </a:cubicBezTo>
                  <a:cubicBezTo>
                    <a:pt x="165" y="468"/>
                    <a:pt x="176" y="476"/>
                    <a:pt x="174" y="483"/>
                  </a:cubicBezTo>
                  <a:cubicBezTo>
                    <a:pt x="172" y="488"/>
                    <a:pt x="164" y="489"/>
                    <a:pt x="159" y="491"/>
                  </a:cubicBezTo>
                  <a:cubicBezTo>
                    <a:pt x="152" y="495"/>
                    <a:pt x="152" y="500"/>
                    <a:pt x="148" y="506"/>
                  </a:cubicBezTo>
                  <a:cubicBezTo>
                    <a:pt x="145" y="510"/>
                    <a:pt x="137" y="516"/>
                    <a:pt x="132" y="511"/>
                  </a:cubicBezTo>
                  <a:cubicBezTo>
                    <a:pt x="134" y="509"/>
                    <a:pt x="136" y="508"/>
                    <a:pt x="138" y="508"/>
                  </a:cubicBezTo>
                  <a:cubicBezTo>
                    <a:pt x="138" y="507"/>
                    <a:pt x="137" y="505"/>
                    <a:pt x="137" y="504"/>
                  </a:cubicBezTo>
                  <a:cubicBezTo>
                    <a:pt x="136" y="505"/>
                    <a:pt x="134" y="505"/>
                    <a:pt x="133" y="506"/>
                  </a:cubicBezTo>
                  <a:cubicBezTo>
                    <a:pt x="133" y="498"/>
                    <a:pt x="132" y="491"/>
                    <a:pt x="132" y="484"/>
                  </a:cubicBezTo>
                  <a:cubicBezTo>
                    <a:pt x="132" y="480"/>
                    <a:pt x="132" y="477"/>
                    <a:pt x="133" y="473"/>
                  </a:cubicBezTo>
                  <a:cubicBezTo>
                    <a:pt x="134" y="471"/>
                    <a:pt x="139" y="461"/>
                    <a:pt x="140" y="468"/>
                  </a:cubicBezTo>
                  <a:cubicBezTo>
                    <a:pt x="140" y="457"/>
                    <a:pt x="119" y="458"/>
                    <a:pt x="121" y="449"/>
                  </a:cubicBezTo>
                  <a:cubicBezTo>
                    <a:pt x="120" y="451"/>
                    <a:pt x="119" y="450"/>
                    <a:pt x="118" y="449"/>
                  </a:cubicBezTo>
                  <a:cubicBezTo>
                    <a:pt x="120" y="448"/>
                    <a:pt x="121" y="445"/>
                    <a:pt x="124" y="445"/>
                  </a:cubicBezTo>
                  <a:cubicBezTo>
                    <a:pt x="126" y="445"/>
                    <a:pt x="128" y="445"/>
                    <a:pt x="131" y="444"/>
                  </a:cubicBezTo>
                  <a:cubicBezTo>
                    <a:pt x="132" y="444"/>
                    <a:pt x="135" y="441"/>
                    <a:pt x="136" y="439"/>
                  </a:cubicBezTo>
                  <a:cubicBezTo>
                    <a:pt x="138" y="436"/>
                    <a:pt x="134" y="433"/>
                    <a:pt x="137" y="430"/>
                  </a:cubicBezTo>
                  <a:cubicBezTo>
                    <a:pt x="142" y="435"/>
                    <a:pt x="150" y="430"/>
                    <a:pt x="156" y="429"/>
                  </a:cubicBezTo>
                  <a:cubicBezTo>
                    <a:pt x="158" y="428"/>
                    <a:pt x="159" y="430"/>
                    <a:pt x="160" y="431"/>
                  </a:cubicBezTo>
                  <a:cubicBezTo>
                    <a:pt x="162" y="435"/>
                    <a:pt x="166" y="435"/>
                    <a:pt x="170" y="436"/>
                  </a:cubicBezTo>
                  <a:cubicBezTo>
                    <a:pt x="170" y="433"/>
                    <a:pt x="167" y="430"/>
                    <a:pt x="171" y="430"/>
                  </a:cubicBezTo>
                  <a:cubicBezTo>
                    <a:pt x="170" y="424"/>
                    <a:pt x="163" y="424"/>
                    <a:pt x="161" y="420"/>
                  </a:cubicBezTo>
                  <a:cubicBezTo>
                    <a:pt x="159" y="417"/>
                    <a:pt x="158" y="413"/>
                    <a:pt x="157" y="410"/>
                  </a:cubicBezTo>
                  <a:cubicBezTo>
                    <a:pt x="156" y="406"/>
                    <a:pt x="160" y="406"/>
                    <a:pt x="162" y="403"/>
                  </a:cubicBezTo>
                  <a:cubicBezTo>
                    <a:pt x="164" y="399"/>
                    <a:pt x="173" y="405"/>
                    <a:pt x="176" y="406"/>
                  </a:cubicBezTo>
                  <a:cubicBezTo>
                    <a:pt x="174" y="402"/>
                    <a:pt x="177" y="398"/>
                    <a:pt x="174" y="395"/>
                  </a:cubicBezTo>
                  <a:cubicBezTo>
                    <a:pt x="177" y="395"/>
                    <a:pt x="180" y="396"/>
                    <a:pt x="183" y="395"/>
                  </a:cubicBezTo>
                  <a:cubicBezTo>
                    <a:pt x="185" y="394"/>
                    <a:pt x="190" y="391"/>
                    <a:pt x="192" y="389"/>
                  </a:cubicBezTo>
                  <a:cubicBezTo>
                    <a:pt x="194" y="387"/>
                    <a:pt x="195" y="385"/>
                    <a:pt x="198" y="384"/>
                  </a:cubicBezTo>
                  <a:cubicBezTo>
                    <a:pt x="201" y="383"/>
                    <a:pt x="204" y="383"/>
                    <a:pt x="206" y="381"/>
                  </a:cubicBezTo>
                  <a:cubicBezTo>
                    <a:pt x="212" y="376"/>
                    <a:pt x="203" y="362"/>
                    <a:pt x="204" y="355"/>
                  </a:cubicBezTo>
                  <a:cubicBezTo>
                    <a:pt x="205" y="350"/>
                    <a:pt x="207" y="346"/>
                    <a:pt x="204" y="340"/>
                  </a:cubicBezTo>
                  <a:cubicBezTo>
                    <a:pt x="203" y="338"/>
                    <a:pt x="202" y="337"/>
                    <a:pt x="201" y="335"/>
                  </a:cubicBezTo>
                  <a:cubicBezTo>
                    <a:pt x="200" y="332"/>
                    <a:pt x="201" y="330"/>
                    <a:pt x="199" y="327"/>
                  </a:cubicBezTo>
                  <a:cubicBezTo>
                    <a:pt x="198" y="323"/>
                    <a:pt x="196" y="323"/>
                    <a:pt x="195" y="318"/>
                  </a:cubicBezTo>
                  <a:cubicBezTo>
                    <a:pt x="195" y="312"/>
                    <a:pt x="199" y="308"/>
                    <a:pt x="199" y="303"/>
                  </a:cubicBezTo>
                  <a:cubicBezTo>
                    <a:pt x="199" y="301"/>
                    <a:pt x="199" y="294"/>
                    <a:pt x="199" y="293"/>
                  </a:cubicBezTo>
                  <a:cubicBezTo>
                    <a:pt x="194" y="289"/>
                    <a:pt x="198" y="290"/>
                    <a:pt x="200" y="286"/>
                  </a:cubicBezTo>
                  <a:cubicBezTo>
                    <a:pt x="203" y="280"/>
                    <a:pt x="195" y="274"/>
                    <a:pt x="191" y="271"/>
                  </a:cubicBezTo>
                  <a:cubicBezTo>
                    <a:pt x="189" y="269"/>
                    <a:pt x="183" y="266"/>
                    <a:pt x="183" y="263"/>
                  </a:cubicBezTo>
                  <a:cubicBezTo>
                    <a:pt x="184" y="259"/>
                    <a:pt x="190" y="258"/>
                    <a:pt x="191" y="254"/>
                  </a:cubicBezTo>
                  <a:cubicBezTo>
                    <a:pt x="187" y="253"/>
                    <a:pt x="182" y="250"/>
                    <a:pt x="180" y="246"/>
                  </a:cubicBezTo>
                  <a:cubicBezTo>
                    <a:pt x="178" y="244"/>
                    <a:pt x="176" y="246"/>
                    <a:pt x="174" y="242"/>
                  </a:cubicBezTo>
                  <a:cubicBezTo>
                    <a:pt x="171" y="237"/>
                    <a:pt x="169" y="242"/>
                    <a:pt x="166" y="240"/>
                  </a:cubicBezTo>
                  <a:cubicBezTo>
                    <a:pt x="164" y="239"/>
                    <a:pt x="161" y="233"/>
                    <a:pt x="161" y="231"/>
                  </a:cubicBezTo>
                  <a:cubicBezTo>
                    <a:pt x="160" y="224"/>
                    <a:pt x="157" y="218"/>
                    <a:pt x="151" y="212"/>
                  </a:cubicBezTo>
                  <a:cubicBezTo>
                    <a:pt x="149" y="211"/>
                    <a:pt x="145" y="210"/>
                    <a:pt x="143" y="208"/>
                  </a:cubicBezTo>
                  <a:cubicBezTo>
                    <a:pt x="138" y="203"/>
                    <a:pt x="133" y="198"/>
                    <a:pt x="129" y="193"/>
                  </a:cubicBezTo>
                  <a:cubicBezTo>
                    <a:pt x="127" y="190"/>
                    <a:pt x="126" y="185"/>
                    <a:pt x="123" y="182"/>
                  </a:cubicBezTo>
                  <a:cubicBezTo>
                    <a:pt x="122" y="181"/>
                    <a:pt x="121" y="179"/>
                    <a:pt x="119" y="181"/>
                  </a:cubicBezTo>
                  <a:cubicBezTo>
                    <a:pt x="117" y="178"/>
                    <a:pt x="114" y="177"/>
                    <a:pt x="112" y="174"/>
                  </a:cubicBezTo>
                  <a:cubicBezTo>
                    <a:pt x="111" y="172"/>
                    <a:pt x="108" y="167"/>
                    <a:pt x="110" y="165"/>
                  </a:cubicBezTo>
                  <a:cubicBezTo>
                    <a:pt x="113" y="162"/>
                    <a:pt x="99" y="159"/>
                    <a:pt x="98" y="159"/>
                  </a:cubicBezTo>
                  <a:cubicBezTo>
                    <a:pt x="89" y="157"/>
                    <a:pt x="83" y="147"/>
                    <a:pt x="75" y="144"/>
                  </a:cubicBezTo>
                  <a:cubicBezTo>
                    <a:pt x="72" y="144"/>
                    <a:pt x="65" y="141"/>
                    <a:pt x="71" y="138"/>
                  </a:cubicBezTo>
                  <a:cubicBezTo>
                    <a:pt x="78" y="134"/>
                    <a:pt x="69" y="132"/>
                    <a:pt x="70" y="128"/>
                  </a:cubicBezTo>
                  <a:cubicBezTo>
                    <a:pt x="71" y="126"/>
                    <a:pt x="81" y="129"/>
                    <a:pt x="82" y="129"/>
                  </a:cubicBezTo>
                  <a:cubicBezTo>
                    <a:pt x="87" y="130"/>
                    <a:pt x="98" y="123"/>
                    <a:pt x="92" y="121"/>
                  </a:cubicBezTo>
                  <a:cubicBezTo>
                    <a:pt x="93" y="119"/>
                    <a:pt x="97" y="118"/>
                    <a:pt x="97" y="116"/>
                  </a:cubicBezTo>
                  <a:cubicBezTo>
                    <a:pt x="97" y="112"/>
                    <a:pt x="93" y="109"/>
                    <a:pt x="90" y="109"/>
                  </a:cubicBezTo>
                  <a:cubicBezTo>
                    <a:pt x="88" y="110"/>
                    <a:pt x="87" y="108"/>
                    <a:pt x="87" y="106"/>
                  </a:cubicBezTo>
                  <a:cubicBezTo>
                    <a:pt x="85" y="102"/>
                    <a:pt x="81" y="103"/>
                    <a:pt x="77" y="102"/>
                  </a:cubicBezTo>
                  <a:cubicBezTo>
                    <a:pt x="78" y="99"/>
                    <a:pt x="83" y="99"/>
                    <a:pt x="83" y="97"/>
                  </a:cubicBezTo>
                  <a:cubicBezTo>
                    <a:pt x="83" y="93"/>
                    <a:pt x="78" y="91"/>
                    <a:pt x="76" y="89"/>
                  </a:cubicBezTo>
                  <a:cubicBezTo>
                    <a:pt x="72" y="87"/>
                    <a:pt x="70" y="84"/>
                    <a:pt x="65" y="84"/>
                  </a:cubicBezTo>
                  <a:cubicBezTo>
                    <a:pt x="58" y="86"/>
                    <a:pt x="60" y="90"/>
                    <a:pt x="57" y="94"/>
                  </a:cubicBezTo>
                  <a:cubicBezTo>
                    <a:pt x="53" y="92"/>
                    <a:pt x="49" y="88"/>
                    <a:pt x="45" y="89"/>
                  </a:cubicBezTo>
                  <a:cubicBezTo>
                    <a:pt x="41" y="90"/>
                    <a:pt x="34" y="83"/>
                    <a:pt x="32" y="80"/>
                  </a:cubicBezTo>
                  <a:cubicBezTo>
                    <a:pt x="29" y="76"/>
                    <a:pt x="27" y="68"/>
                    <a:pt x="28" y="64"/>
                  </a:cubicBezTo>
                  <a:cubicBezTo>
                    <a:pt x="30" y="57"/>
                    <a:pt x="25" y="59"/>
                    <a:pt x="23" y="53"/>
                  </a:cubicBezTo>
                  <a:cubicBezTo>
                    <a:pt x="24" y="56"/>
                    <a:pt x="24" y="58"/>
                    <a:pt x="22" y="59"/>
                  </a:cubicBezTo>
                  <a:cubicBezTo>
                    <a:pt x="18" y="58"/>
                    <a:pt x="17" y="52"/>
                    <a:pt x="14" y="49"/>
                  </a:cubicBezTo>
                  <a:cubicBezTo>
                    <a:pt x="10" y="46"/>
                    <a:pt x="2" y="39"/>
                    <a:pt x="0" y="3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Freeform 553">
              <a:extLst>
                <a:ext uri="{FF2B5EF4-FFF2-40B4-BE49-F238E27FC236}">
                  <a16:creationId xmlns:a16="http://schemas.microsoft.com/office/drawing/2014/main" id="{C33F3B89-B73F-4AAE-A064-8327BCCE4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8464" y="3516622"/>
              <a:ext cx="573935" cy="1116725"/>
            </a:xfrm>
            <a:custGeom>
              <a:avLst/>
              <a:gdLst>
                <a:gd name="T0" fmla="*/ 21 w 263"/>
                <a:gd name="T1" fmla="*/ 29 h 516"/>
                <a:gd name="T2" fmla="*/ 46 w 263"/>
                <a:gd name="T3" fmla="*/ 23 h 516"/>
                <a:gd name="T4" fmla="*/ 77 w 263"/>
                <a:gd name="T5" fmla="*/ 17 h 516"/>
                <a:gd name="T6" fmla="*/ 106 w 263"/>
                <a:gd name="T7" fmla="*/ 14 h 516"/>
                <a:gd name="T8" fmla="*/ 132 w 263"/>
                <a:gd name="T9" fmla="*/ 27 h 516"/>
                <a:gd name="T10" fmla="*/ 161 w 263"/>
                <a:gd name="T11" fmla="*/ 61 h 516"/>
                <a:gd name="T12" fmla="*/ 182 w 263"/>
                <a:gd name="T13" fmla="*/ 65 h 516"/>
                <a:gd name="T14" fmla="*/ 163 w 263"/>
                <a:gd name="T15" fmla="*/ 81 h 516"/>
                <a:gd name="T16" fmla="*/ 142 w 263"/>
                <a:gd name="T17" fmla="*/ 82 h 516"/>
                <a:gd name="T18" fmla="*/ 142 w 263"/>
                <a:gd name="T19" fmla="*/ 94 h 516"/>
                <a:gd name="T20" fmla="*/ 131 w 263"/>
                <a:gd name="T21" fmla="*/ 116 h 516"/>
                <a:gd name="T22" fmla="*/ 127 w 263"/>
                <a:gd name="T23" fmla="*/ 163 h 516"/>
                <a:gd name="T24" fmla="*/ 150 w 263"/>
                <a:gd name="T25" fmla="*/ 184 h 516"/>
                <a:gd name="T26" fmla="*/ 164 w 263"/>
                <a:gd name="T27" fmla="*/ 209 h 516"/>
                <a:gd name="T28" fmla="*/ 188 w 263"/>
                <a:gd name="T29" fmla="*/ 233 h 516"/>
                <a:gd name="T30" fmla="*/ 217 w 263"/>
                <a:gd name="T31" fmla="*/ 251 h 516"/>
                <a:gd name="T32" fmla="*/ 237 w 263"/>
                <a:gd name="T33" fmla="*/ 285 h 516"/>
                <a:gd name="T34" fmla="*/ 255 w 263"/>
                <a:gd name="T35" fmla="*/ 328 h 516"/>
                <a:gd name="T36" fmla="*/ 258 w 263"/>
                <a:gd name="T37" fmla="*/ 344 h 516"/>
                <a:gd name="T38" fmla="*/ 263 w 263"/>
                <a:gd name="T39" fmla="*/ 373 h 516"/>
                <a:gd name="T40" fmla="*/ 255 w 263"/>
                <a:gd name="T41" fmla="*/ 379 h 516"/>
                <a:gd name="T42" fmla="*/ 257 w 263"/>
                <a:gd name="T43" fmla="*/ 400 h 516"/>
                <a:gd name="T44" fmla="*/ 249 w 263"/>
                <a:gd name="T45" fmla="*/ 418 h 516"/>
                <a:gd name="T46" fmla="*/ 229 w 263"/>
                <a:gd name="T47" fmla="*/ 431 h 516"/>
                <a:gd name="T48" fmla="*/ 203 w 263"/>
                <a:gd name="T49" fmla="*/ 450 h 516"/>
                <a:gd name="T50" fmla="*/ 193 w 263"/>
                <a:gd name="T51" fmla="*/ 442 h 516"/>
                <a:gd name="T52" fmla="*/ 183 w 263"/>
                <a:gd name="T53" fmla="*/ 447 h 516"/>
                <a:gd name="T54" fmla="*/ 191 w 263"/>
                <a:gd name="T55" fmla="*/ 459 h 516"/>
                <a:gd name="T56" fmla="*/ 186 w 263"/>
                <a:gd name="T57" fmla="*/ 469 h 516"/>
                <a:gd name="T58" fmla="*/ 161 w 263"/>
                <a:gd name="T59" fmla="*/ 463 h 516"/>
                <a:gd name="T60" fmla="*/ 148 w 263"/>
                <a:gd name="T61" fmla="*/ 506 h 516"/>
                <a:gd name="T62" fmla="*/ 137 w 263"/>
                <a:gd name="T63" fmla="*/ 504 h 516"/>
                <a:gd name="T64" fmla="*/ 133 w 263"/>
                <a:gd name="T65" fmla="*/ 473 h 516"/>
                <a:gd name="T66" fmla="*/ 118 w 263"/>
                <a:gd name="T67" fmla="*/ 449 h 516"/>
                <a:gd name="T68" fmla="*/ 136 w 263"/>
                <a:gd name="T69" fmla="*/ 439 h 516"/>
                <a:gd name="T70" fmla="*/ 160 w 263"/>
                <a:gd name="T71" fmla="*/ 431 h 516"/>
                <a:gd name="T72" fmla="*/ 161 w 263"/>
                <a:gd name="T73" fmla="*/ 420 h 516"/>
                <a:gd name="T74" fmla="*/ 176 w 263"/>
                <a:gd name="T75" fmla="*/ 406 h 516"/>
                <a:gd name="T76" fmla="*/ 192 w 263"/>
                <a:gd name="T77" fmla="*/ 389 h 516"/>
                <a:gd name="T78" fmla="*/ 204 w 263"/>
                <a:gd name="T79" fmla="*/ 355 h 516"/>
                <a:gd name="T80" fmla="*/ 199 w 263"/>
                <a:gd name="T81" fmla="*/ 327 h 516"/>
                <a:gd name="T82" fmla="*/ 199 w 263"/>
                <a:gd name="T83" fmla="*/ 293 h 516"/>
                <a:gd name="T84" fmla="*/ 183 w 263"/>
                <a:gd name="T85" fmla="*/ 263 h 516"/>
                <a:gd name="T86" fmla="*/ 174 w 263"/>
                <a:gd name="T87" fmla="*/ 242 h 516"/>
                <a:gd name="T88" fmla="*/ 151 w 263"/>
                <a:gd name="T89" fmla="*/ 212 h 516"/>
                <a:gd name="T90" fmla="*/ 123 w 263"/>
                <a:gd name="T91" fmla="*/ 182 h 516"/>
                <a:gd name="T92" fmla="*/ 110 w 263"/>
                <a:gd name="T93" fmla="*/ 165 h 516"/>
                <a:gd name="T94" fmla="*/ 71 w 263"/>
                <a:gd name="T95" fmla="*/ 138 h 516"/>
                <a:gd name="T96" fmla="*/ 92 w 263"/>
                <a:gd name="T97" fmla="*/ 121 h 516"/>
                <a:gd name="T98" fmla="*/ 87 w 263"/>
                <a:gd name="T99" fmla="*/ 106 h 516"/>
                <a:gd name="T100" fmla="*/ 76 w 263"/>
                <a:gd name="T101" fmla="*/ 89 h 516"/>
                <a:gd name="T102" fmla="*/ 45 w 263"/>
                <a:gd name="T103" fmla="*/ 89 h 516"/>
                <a:gd name="T104" fmla="*/ 23 w 263"/>
                <a:gd name="T105" fmla="*/ 53 h 516"/>
                <a:gd name="T106" fmla="*/ 0 w 263"/>
                <a:gd name="T107" fmla="*/ 3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" h="516">
                  <a:moveTo>
                    <a:pt x="0" y="34"/>
                  </a:moveTo>
                  <a:cubicBezTo>
                    <a:pt x="6" y="34"/>
                    <a:pt x="4" y="27"/>
                    <a:pt x="6" y="23"/>
                  </a:cubicBezTo>
                  <a:cubicBezTo>
                    <a:pt x="10" y="18"/>
                    <a:pt x="19" y="26"/>
                    <a:pt x="21" y="29"/>
                  </a:cubicBezTo>
                  <a:cubicBezTo>
                    <a:pt x="26" y="33"/>
                    <a:pt x="29" y="30"/>
                    <a:pt x="32" y="25"/>
                  </a:cubicBezTo>
                  <a:cubicBezTo>
                    <a:pt x="36" y="18"/>
                    <a:pt x="38" y="24"/>
                    <a:pt x="40" y="28"/>
                  </a:cubicBezTo>
                  <a:cubicBezTo>
                    <a:pt x="42" y="25"/>
                    <a:pt x="42" y="19"/>
                    <a:pt x="46" y="23"/>
                  </a:cubicBezTo>
                  <a:cubicBezTo>
                    <a:pt x="48" y="25"/>
                    <a:pt x="50" y="28"/>
                    <a:pt x="53" y="30"/>
                  </a:cubicBezTo>
                  <a:cubicBezTo>
                    <a:pt x="55" y="31"/>
                    <a:pt x="56" y="19"/>
                    <a:pt x="62" y="19"/>
                  </a:cubicBezTo>
                  <a:cubicBezTo>
                    <a:pt x="60" y="27"/>
                    <a:pt x="75" y="20"/>
                    <a:pt x="77" y="17"/>
                  </a:cubicBezTo>
                  <a:cubicBezTo>
                    <a:pt x="80" y="14"/>
                    <a:pt x="77" y="12"/>
                    <a:pt x="78" y="10"/>
                  </a:cubicBezTo>
                  <a:cubicBezTo>
                    <a:pt x="79" y="5"/>
                    <a:pt x="88" y="5"/>
                    <a:pt x="90" y="0"/>
                  </a:cubicBezTo>
                  <a:cubicBezTo>
                    <a:pt x="94" y="6"/>
                    <a:pt x="100" y="11"/>
                    <a:pt x="106" y="14"/>
                  </a:cubicBezTo>
                  <a:cubicBezTo>
                    <a:pt x="111" y="16"/>
                    <a:pt x="116" y="12"/>
                    <a:pt x="120" y="16"/>
                  </a:cubicBezTo>
                  <a:cubicBezTo>
                    <a:pt x="123" y="21"/>
                    <a:pt x="129" y="14"/>
                    <a:pt x="134" y="18"/>
                  </a:cubicBezTo>
                  <a:cubicBezTo>
                    <a:pt x="136" y="20"/>
                    <a:pt x="139" y="30"/>
                    <a:pt x="132" y="27"/>
                  </a:cubicBezTo>
                  <a:cubicBezTo>
                    <a:pt x="132" y="35"/>
                    <a:pt x="137" y="41"/>
                    <a:pt x="139" y="49"/>
                  </a:cubicBezTo>
                  <a:cubicBezTo>
                    <a:pt x="141" y="47"/>
                    <a:pt x="150" y="49"/>
                    <a:pt x="150" y="53"/>
                  </a:cubicBezTo>
                  <a:cubicBezTo>
                    <a:pt x="150" y="58"/>
                    <a:pt x="159" y="57"/>
                    <a:pt x="161" y="61"/>
                  </a:cubicBezTo>
                  <a:cubicBezTo>
                    <a:pt x="162" y="61"/>
                    <a:pt x="162" y="60"/>
                    <a:pt x="163" y="60"/>
                  </a:cubicBezTo>
                  <a:cubicBezTo>
                    <a:pt x="165" y="64"/>
                    <a:pt x="168" y="61"/>
                    <a:pt x="171" y="60"/>
                  </a:cubicBezTo>
                  <a:cubicBezTo>
                    <a:pt x="175" y="58"/>
                    <a:pt x="179" y="63"/>
                    <a:pt x="182" y="65"/>
                  </a:cubicBezTo>
                  <a:cubicBezTo>
                    <a:pt x="178" y="69"/>
                    <a:pt x="178" y="63"/>
                    <a:pt x="174" y="66"/>
                  </a:cubicBezTo>
                  <a:cubicBezTo>
                    <a:pt x="171" y="68"/>
                    <a:pt x="170" y="72"/>
                    <a:pt x="166" y="73"/>
                  </a:cubicBezTo>
                  <a:cubicBezTo>
                    <a:pt x="161" y="74"/>
                    <a:pt x="165" y="78"/>
                    <a:pt x="163" y="81"/>
                  </a:cubicBezTo>
                  <a:cubicBezTo>
                    <a:pt x="161" y="84"/>
                    <a:pt x="152" y="87"/>
                    <a:pt x="157" y="81"/>
                  </a:cubicBezTo>
                  <a:cubicBezTo>
                    <a:pt x="154" y="81"/>
                    <a:pt x="150" y="85"/>
                    <a:pt x="149" y="87"/>
                  </a:cubicBezTo>
                  <a:cubicBezTo>
                    <a:pt x="147" y="85"/>
                    <a:pt x="146" y="81"/>
                    <a:pt x="142" y="82"/>
                  </a:cubicBezTo>
                  <a:cubicBezTo>
                    <a:pt x="143" y="83"/>
                    <a:pt x="145" y="84"/>
                    <a:pt x="146" y="85"/>
                  </a:cubicBezTo>
                  <a:cubicBezTo>
                    <a:pt x="144" y="88"/>
                    <a:pt x="146" y="89"/>
                    <a:pt x="147" y="92"/>
                  </a:cubicBezTo>
                  <a:cubicBezTo>
                    <a:pt x="149" y="95"/>
                    <a:pt x="143" y="95"/>
                    <a:pt x="142" y="94"/>
                  </a:cubicBezTo>
                  <a:cubicBezTo>
                    <a:pt x="143" y="97"/>
                    <a:pt x="144" y="105"/>
                    <a:pt x="141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9"/>
                    <a:pt x="133" y="119"/>
                    <a:pt x="131" y="116"/>
                  </a:cubicBezTo>
                  <a:cubicBezTo>
                    <a:pt x="126" y="119"/>
                    <a:pt x="125" y="126"/>
                    <a:pt x="124" y="131"/>
                  </a:cubicBezTo>
                  <a:cubicBezTo>
                    <a:pt x="124" y="137"/>
                    <a:pt x="126" y="142"/>
                    <a:pt x="123" y="148"/>
                  </a:cubicBezTo>
                  <a:cubicBezTo>
                    <a:pt x="119" y="155"/>
                    <a:pt x="127" y="157"/>
                    <a:pt x="127" y="163"/>
                  </a:cubicBezTo>
                  <a:cubicBezTo>
                    <a:pt x="129" y="159"/>
                    <a:pt x="130" y="166"/>
                    <a:pt x="132" y="168"/>
                  </a:cubicBezTo>
                  <a:cubicBezTo>
                    <a:pt x="134" y="171"/>
                    <a:pt x="137" y="174"/>
                    <a:pt x="141" y="176"/>
                  </a:cubicBezTo>
                  <a:cubicBezTo>
                    <a:pt x="144" y="179"/>
                    <a:pt x="147" y="181"/>
                    <a:pt x="150" y="184"/>
                  </a:cubicBezTo>
                  <a:cubicBezTo>
                    <a:pt x="154" y="187"/>
                    <a:pt x="152" y="192"/>
                    <a:pt x="154" y="197"/>
                  </a:cubicBezTo>
                  <a:cubicBezTo>
                    <a:pt x="152" y="195"/>
                    <a:pt x="150" y="194"/>
                    <a:pt x="148" y="194"/>
                  </a:cubicBezTo>
                  <a:cubicBezTo>
                    <a:pt x="155" y="195"/>
                    <a:pt x="158" y="204"/>
                    <a:pt x="164" y="209"/>
                  </a:cubicBezTo>
                  <a:cubicBezTo>
                    <a:pt x="168" y="212"/>
                    <a:pt x="181" y="219"/>
                    <a:pt x="178" y="226"/>
                  </a:cubicBezTo>
                  <a:cubicBezTo>
                    <a:pt x="182" y="223"/>
                    <a:pt x="189" y="232"/>
                    <a:pt x="191" y="235"/>
                  </a:cubicBezTo>
                  <a:cubicBezTo>
                    <a:pt x="190" y="234"/>
                    <a:pt x="189" y="234"/>
                    <a:pt x="188" y="233"/>
                  </a:cubicBezTo>
                  <a:cubicBezTo>
                    <a:pt x="193" y="236"/>
                    <a:pt x="198" y="240"/>
                    <a:pt x="201" y="246"/>
                  </a:cubicBezTo>
                  <a:cubicBezTo>
                    <a:pt x="206" y="240"/>
                    <a:pt x="216" y="253"/>
                    <a:pt x="213" y="256"/>
                  </a:cubicBezTo>
                  <a:cubicBezTo>
                    <a:pt x="216" y="254"/>
                    <a:pt x="212" y="248"/>
                    <a:pt x="217" y="251"/>
                  </a:cubicBezTo>
                  <a:cubicBezTo>
                    <a:pt x="209" y="258"/>
                    <a:pt x="233" y="273"/>
                    <a:pt x="233" y="279"/>
                  </a:cubicBezTo>
                  <a:cubicBezTo>
                    <a:pt x="235" y="274"/>
                    <a:pt x="236" y="278"/>
                    <a:pt x="238" y="280"/>
                  </a:cubicBezTo>
                  <a:cubicBezTo>
                    <a:pt x="240" y="284"/>
                    <a:pt x="237" y="282"/>
                    <a:pt x="237" y="285"/>
                  </a:cubicBezTo>
                  <a:cubicBezTo>
                    <a:pt x="238" y="290"/>
                    <a:pt x="242" y="295"/>
                    <a:pt x="245" y="300"/>
                  </a:cubicBezTo>
                  <a:cubicBezTo>
                    <a:pt x="247" y="306"/>
                    <a:pt x="249" y="313"/>
                    <a:pt x="252" y="320"/>
                  </a:cubicBezTo>
                  <a:cubicBezTo>
                    <a:pt x="253" y="322"/>
                    <a:pt x="254" y="325"/>
                    <a:pt x="255" y="328"/>
                  </a:cubicBezTo>
                  <a:cubicBezTo>
                    <a:pt x="255" y="329"/>
                    <a:pt x="255" y="336"/>
                    <a:pt x="253" y="329"/>
                  </a:cubicBezTo>
                  <a:cubicBezTo>
                    <a:pt x="253" y="333"/>
                    <a:pt x="258" y="345"/>
                    <a:pt x="253" y="338"/>
                  </a:cubicBezTo>
                  <a:cubicBezTo>
                    <a:pt x="254" y="340"/>
                    <a:pt x="256" y="342"/>
                    <a:pt x="258" y="344"/>
                  </a:cubicBezTo>
                  <a:cubicBezTo>
                    <a:pt x="252" y="344"/>
                    <a:pt x="257" y="347"/>
                    <a:pt x="257" y="350"/>
                  </a:cubicBezTo>
                  <a:cubicBezTo>
                    <a:pt x="259" y="355"/>
                    <a:pt x="260" y="358"/>
                    <a:pt x="262" y="361"/>
                  </a:cubicBezTo>
                  <a:cubicBezTo>
                    <a:pt x="263" y="363"/>
                    <a:pt x="263" y="371"/>
                    <a:pt x="263" y="373"/>
                  </a:cubicBezTo>
                  <a:cubicBezTo>
                    <a:pt x="261" y="372"/>
                    <a:pt x="260" y="370"/>
                    <a:pt x="260" y="368"/>
                  </a:cubicBezTo>
                  <a:cubicBezTo>
                    <a:pt x="254" y="371"/>
                    <a:pt x="259" y="377"/>
                    <a:pt x="261" y="381"/>
                  </a:cubicBezTo>
                  <a:cubicBezTo>
                    <a:pt x="259" y="380"/>
                    <a:pt x="257" y="379"/>
                    <a:pt x="255" y="379"/>
                  </a:cubicBezTo>
                  <a:cubicBezTo>
                    <a:pt x="258" y="381"/>
                    <a:pt x="260" y="394"/>
                    <a:pt x="259" y="397"/>
                  </a:cubicBezTo>
                  <a:cubicBezTo>
                    <a:pt x="259" y="395"/>
                    <a:pt x="258" y="393"/>
                    <a:pt x="257" y="391"/>
                  </a:cubicBezTo>
                  <a:cubicBezTo>
                    <a:pt x="259" y="394"/>
                    <a:pt x="258" y="397"/>
                    <a:pt x="257" y="400"/>
                  </a:cubicBezTo>
                  <a:cubicBezTo>
                    <a:pt x="260" y="400"/>
                    <a:pt x="260" y="402"/>
                    <a:pt x="259" y="405"/>
                  </a:cubicBezTo>
                  <a:cubicBezTo>
                    <a:pt x="258" y="407"/>
                    <a:pt x="255" y="409"/>
                    <a:pt x="254" y="409"/>
                  </a:cubicBezTo>
                  <a:cubicBezTo>
                    <a:pt x="253" y="415"/>
                    <a:pt x="255" y="415"/>
                    <a:pt x="249" y="418"/>
                  </a:cubicBezTo>
                  <a:cubicBezTo>
                    <a:pt x="247" y="419"/>
                    <a:pt x="246" y="421"/>
                    <a:pt x="244" y="422"/>
                  </a:cubicBezTo>
                  <a:cubicBezTo>
                    <a:pt x="241" y="423"/>
                    <a:pt x="240" y="427"/>
                    <a:pt x="238" y="427"/>
                  </a:cubicBezTo>
                  <a:cubicBezTo>
                    <a:pt x="235" y="428"/>
                    <a:pt x="232" y="430"/>
                    <a:pt x="229" y="431"/>
                  </a:cubicBezTo>
                  <a:cubicBezTo>
                    <a:pt x="228" y="432"/>
                    <a:pt x="226" y="439"/>
                    <a:pt x="225" y="438"/>
                  </a:cubicBezTo>
                  <a:cubicBezTo>
                    <a:pt x="222" y="437"/>
                    <a:pt x="217" y="441"/>
                    <a:pt x="215" y="443"/>
                  </a:cubicBezTo>
                  <a:cubicBezTo>
                    <a:pt x="212" y="445"/>
                    <a:pt x="206" y="447"/>
                    <a:pt x="203" y="450"/>
                  </a:cubicBezTo>
                  <a:cubicBezTo>
                    <a:pt x="201" y="446"/>
                    <a:pt x="196" y="446"/>
                    <a:pt x="196" y="441"/>
                  </a:cubicBezTo>
                  <a:cubicBezTo>
                    <a:pt x="195" y="443"/>
                    <a:pt x="195" y="445"/>
                    <a:pt x="195" y="447"/>
                  </a:cubicBezTo>
                  <a:cubicBezTo>
                    <a:pt x="194" y="445"/>
                    <a:pt x="193" y="444"/>
                    <a:pt x="193" y="442"/>
                  </a:cubicBezTo>
                  <a:cubicBezTo>
                    <a:pt x="194" y="446"/>
                    <a:pt x="194" y="445"/>
                    <a:pt x="191" y="442"/>
                  </a:cubicBezTo>
                  <a:cubicBezTo>
                    <a:pt x="194" y="442"/>
                    <a:pt x="188" y="440"/>
                    <a:pt x="188" y="440"/>
                  </a:cubicBezTo>
                  <a:cubicBezTo>
                    <a:pt x="189" y="443"/>
                    <a:pt x="188" y="448"/>
                    <a:pt x="183" y="447"/>
                  </a:cubicBezTo>
                  <a:cubicBezTo>
                    <a:pt x="184" y="450"/>
                    <a:pt x="189" y="445"/>
                    <a:pt x="190" y="449"/>
                  </a:cubicBezTo>
                  <a:cubicBezTo>
                    <a:pt x="191" y="455"/>
                    <a:pt x="181" y="452"/>
                    <a:pt x="179" y="452"/>
                  </a:cubicBezTo>
                  <a:cubicBezTo>
                    <a:pt x="182" y="455"/>
                    <a:pt x="188" y="455"/>
                    <a:pt x="191" y="459"/>
                  </a:cubicBezTo>
                  <a:cubicBezTo>
                    <a:pt x="187" y="460"/>
                    <a:pt x="187" y="465"/>
                    <a:pt x="183" y="462"/>
                  </a:cubicBezTo>
                  <a:cubicBezTo>
                    <a:pt x="180" y="461"/>
                    <a:pt x="178" y="455"/>
                    <a:pt x="175" y="455"/>
                  </a:cubicBezTo>
                  <a:cubicBezTo>
                    <a:pt x="177" y="457"/>
                    <a:pt x="188" y="466"/>
                    <a:pt x="186" y="469"/>
                  </a:cubicBezTo>
                  <a:cubicBezTo>
                    <a:pt x="179" y="466"/>
                    <a:pt x="176" y="459"/>
                    <a:pt x="170" y="455"/>
                  </a:cubicBezTo>
                  <a:cubicBezTo>
                    <a:pt x="171" y="460"/>
                    <a:pt x="192" y="474"/>
                    <a:pt x="183" y="479"/>
                  </a:cubicBezTo>
                  <a:cubicBezTo>
                    <a:pt x="176" y="482"/>
                    <a:pt x="166" y="466"/>
                    <a:pt x="161" y="463"/>
                  </a:cubicBezTo>
                  <a:cubicBezTo>
                    <a:pt x="165" y="468"/>
                    <a:pt x="176" y="476"/>
                    <a:pt x="174" y="483"/>
                  </a:cubicBezTo>
                  <a:cubicBezTo>
                    <a:pt x="172" y="488"/>
                    <a:pt x="164" y="489"/>
                    <a:pt x="159" y="491"/>
                  </a:cubicBezTo>
                  <a:cubicBezTo>
                    <a:pt x="152" y="495"/>
                    <a:pt x="152" y="500"/>
                    <a:pt x="148" y="506"/>
                  </a:cubicBezTo>
                  <a:cubicBezTo>
                    <a:pt x="145" y="510"/>
                    <a:pt x="137" y="516"/>
                    <a:pt x="132" y="511"/>
                  </a:cubicBezTo>
                  <a:cubicBezTo>
                    <a:pt x="134" y="509"/>
                    <a:pt x="136" y="508"/>
                    <a:pt x="138" y="508"/>
                  </a:cubicBezTo>
                  <a:cubicBezTo>
                    <a:pt x="138" y="507"/>
                    <a:pt x="137" y="505"/>
                    <a:pt x="137" y="504"/>
                  </a:cubicBezTo>
                  <a:cubicBezTo>
                    <a:pt x="136" y="505"/>
                    <a:pt x="134" y="505"/>
                    <a:pt x="133" y="506"/>
                  </a:cubicBezTo>
                  <a:cubicBezTo>
                    <a:pt x="133" y="498"/>
                    <a:pt x="132" y="491"/>
                    <a:pt x="132" y="484"/>
                  </a:cubicBezTo>
                  <a:cubicBezTo>
                    <a:pt x="132" y="480"/>
                    <a:pt x="132" y="477"/>
                    <a:pt x="133" y="473"/>
                  </a:cubicBezTo>
                  <a:cubicBezTo>
                    <a:pt x="134" y="471"/>
                    <a:pt x="139" y="461"/>
                    <a:pt x="140" y="468"/>
                  </a:cubicBezTo>
                  <a:cubicBezTo>
                    <a:pt x="140" y="457"/>
                    <a:pt x="119" y="458"/>
                    <a:pt x="121" y="449"/>
                  </a:cubicBezTo>
                  <a:cubicBezTo>
                    <a:pt x="120" y="451"/>
                    <a:pt x="119" y="450"/>
                    <a:pt x="118" y="449"/>
                  </a:cubicBezTo>
                  <a:cubicBezTo>
                    <a:pt x="120" y="448"/>
                    <a:pt x="121" y="445"/>
                    <a:pt x="124" y="445"/>
                  </a:cubicBezTo>
                  <a:cubicBezTo>
                    <a:pt x="126" y="445"/>
                    <a:pt x="128" y="445"/>
                    <a:pt x="131" y="444"/>
                  </a:cubicBezTo>
                  <a:cubicBezTo>
                    <a:pt x="132" y="444"/>
                    <a:pt x="135" y="441"/>
                    <a:pt x="136" y="439"/>
                  </a:cubicBezTo>
                  <a:cubicBezTo>
                    <a:pt x="138" y="436"/>
                    <a:pt x="134" y="433"/>
                    <a:pt x="137" y="430"/>
                  </a:cubicBezTo>
                  <a:cubicBezTo>
                    <a:pt x="142" y="435"/>
                    <a:pt x="150" y="430"/>
                    <a:pt x="156" y="429"/>
                  </a:cubicBezTo>
                  <a:cubicBezTo>
                    <a:pt x="158" y="428"/>
                    <a:pt x="159" y="430"/>
                    <a:pt x="160" y="431"/>
                  </a:cubicBezTo>
                  <a:cubicBezTo>
                    <a:pt x="162" y="435"/>
                    <a:pt x="166" y="435"/>
                    <a:pt x="170" y="436"/>
                  </a:cubicBezTo>
                  <a:cubicBezTo>
                    <a:pt x="170" y="433"/>
                    <a:pt x="167" y="430"/>
                    <a:pt x="171" y="430"/>
                  </a:cubicBezTo>
                  <a:cubicBezTo>
                    <a:pt x="170" y="424"/>
                    <a:pt x="163" y="424"/>
                    <a:pt x="161" y="420"/>
                  </a:cubicBezTo>
                  <a:cubicBezTo>
                    <a:pt x="159" y="417"/>
                    <a:pt x="158" y="413"/>
                    <a:pt x="157" y="410"/>
                  </a:cubicBezTo>
                  <a:cubicBezTo>
                    <a:pt x="156" y="406"/>
                    <a:pt x="160" y="406"/>
                    <a:pt x="162" y="403"/>
                  </a:cubicBezTo>
                  <a:cubicBezTo>
                    <a:pt x="164" y="399"/>
                    <a:pt x="173" y="405"/>
                    <a:pt x="176" y="406"/>
                  </a:cubicBezTo>
                  <a:cubicBezTo>
                    <a:pt x="174" y="402"/>
                    <a:pt x="177" y="398"/>
                    <a:pt x="174" y="395"/>
                  </a:cubicBezTo>
                  <a:cubicBezTo>
                    <a:pt x="177" y="395"/>
                    <a:pt x="180" y="396"/>
                    <a:pt x="183" y="395"/>
                  </a:cubicBezTo>
                  <a:cubicBezTo>
                    <a:pt x="185" y="394"/>
                    <a:pt x="190" y="391"/>
                    <a:pt x="192" y="389"/>
                  </a:cubicBezTo>
                  <a:cubicBezTo>
                    <a:pt x="194" y="387"/>
                    <a:pt x="195" y="385"/>
                    <a:pt x="198" y="384"/>
                  </a:cubicBezTo>
                  <a:cubicBezTo>
                    <a:pt x="201" y="383"/>
                    <a:pt x="204" y="383"/>
                    <a:pt x="206" y="381"/>
                  </a:cubicBezTo>
                  <a:cubicBezTo>
                    <a:pt x="212" y="376"/>
                    <a:pt x="203" y="362"/>
                    <a:pt x="204" y="355"/>
                  </a:cubicBezTo>
                  <a:cubicBezTo>
                    <a:pt x="205" y="350"/>
                    <a:pt x="207" y="346"/>
                    <a:pt x="204" y="340"/>
                  </a:cubicBezTo>
                  <a:cubicBezTo>
                    <a:pt x="203" y="338"/>
                    <a:pt x="202" y="337"/>
                    <a:pt x="201" y="335"/>
                  </a:cubicBezTo>
                  <a:cubicBezTo>
                    <a:pt x="200" y="332"/>
                    <a:pt x="201" y="330"/>
                    <a:pt x="199" y="327"/>
                  </a:cubicBezTo>
                  <a:cubicBezTo>
                    <a:pt x="198" y="323"/>
                    <a:pt x="196" y="323"/>
                    <a:pt x="195" y="318"/>
                  </a:cubicBezTo>
                  <a:cubicBezTo>
                    <a:pt x="195" y="312"/>
                    <a:pt x="199" y="308"/>
                    <a:pt x="199" y="303"/>
                  </a:cubicBezTo>
                  <a:cubicBezTo>
                    <a:pt x="199" y="301"/>
                    <a:pt x="199" y="294"/>
                    <a:pt x="199" y="293"/>
                  </a:cubicBezTo>
                  <a:cubicBezTo>
                    <a:pt x="194" y="289"/>
                    <a:pt x="198" y="290"/>
                    <a:pt x="200" y="286"/>
                  </a:cubicBezTo>
                  <a:cubicBezTo>
                    <a:pt x="203" y="280"/>
                    <a:pt x="195" y="274"/>
                    <a:pt x="191" y="271"/>
                  </a:cubicBezTo>
                  <a:cubicBezTo>
                    <a:pt x="189" y="269"/>
                    <a:pt x="183" y="266"/>
                    <a:pt x="183" y="263"/>
                  </a:cubicBezTo>
                  <a:cubicBezTo>
                    <a:pt x="184" y="259"/>
                    <a:pt x="190" y="258"/>
                    <a:pt x="191" y="254"/>
                  </a:cubicBezTo>
                  <a:cubicBezTo>
                    <a:pt x="187" y="253"/>
                    <a:pt x="182" y="250"/>
                    <a:pt x="180" y="246"/>
                  </a:cubicBezTo>
                  <a:cubicBezTo>
                    <a:pt x="178" y="244"/>
                    <a:pt x="176" y="246"/>
                    <a:pt x="174" y="242"/>
                  </a:cubicBezTo>
                  <a:cubicBezTo>
                    <a:pt x="171" y="237"/>
                    <a:pt x="169" y="242"/>
                    <a:pt x="166" y="240"/>
                  </a:cubicBezTo>
                  <a:cubicBezTo>
                    <a:pt x="164" y="239"/>
                    <a:pt x="161" y="233"/>
                    <a:pt x="161" y="231"/>
                  </a:cubicBezTo>
                  <a:cubicBezTo>
                    <a:pt x="160" y="224"/>
                    <a:pt x="157" y="218"/>
                    <a:pt x="151" y="212"/>
                  </a:cubicBezTo>
                  <a:cubicBezTo>
                    <a:pt x="149" y="211"/>
                    <a:pt x="145" y="210"/>
                    <a:pt x="143" y="208"/>
                  </a:cubicBezTo>
                  <a:cubicBezTo>
                    <a:pt x="138" y="203"/>
                    <a:pt x="133" y="198"/>
                    <a:pt x="129" y="193"/>
                  </a:cubicBezTo>
                  <a:cubicBezTo>
                    <a:pt x="127" y="190"/>
                    <a:pt x="126" y="185"/>
                    <a:pt x="123" y="182"/>
                  </a:cubicBezTo>
                  <a:cubicBezTo>
                    <a:pt x="122" y="181"/>
                    <a:pt x="121" y="179"/>
                    <a:pt x="119" y="181"/>
                  </a:cubicBezTo>
                  <a:cubicBezTo>
                    <a:pt x="117" y="178"/>
                    <a:pt x="114" y="177"/>
                    <a:pt x="112" y="174"/>
                  </a:cubicBezTo>
                  <a:cubicBezTo>
                    <a:pt x="111" y="172"/>
                    <a:pt x="108" y="167"/>
                    <a:pt x="110" y="165"/>
                  </a:cubicBezTo>
                  <a:cubicBezTo>
                    <a:pt x="113" y="162"/>
                    <a:pt x="99" y="159"/>
                    <a:pt x="98" y="159"/>
                  </a:cubicBezTo>
                  <a:cubicBezTo>
                    <a:pt x="89" y="157"/>
                    <a:pt x="83" y="147"/>
                    <a:pt x="75" y="144"/>
                  </a:cubicBezTo>
                  <a:cubicBezTo>
                    <a:pt x="72" y="144"/>
                    <a:pt x="65" y="141"/>
                    <a:pt x="71" y="138"/>
                  </a:cubicBezTo>
                  <a:cubicBezTo>
                    <a:pt x="78" y="134"/>
                    <a:pt x="69" y="132"/>
                    <a:pt x="70" y="128"/>
                  </a:cubicBezTo>
                  <a:cubicBezTo>
                    <a:pt x="71" y="126"/>
                    <a:pt x="81" y="129"/>
                    <a:pt x="82" y="129"/>
                  </a:cubicBezTo>
                  <a:cubicBezTo>
                    <a:pt x="87" y="130"/>
                    <a:pt x="98" y="123"/>
                    <a:pt x="92" y="121"/>
                  </a:cubicBezTo>
                  <a:cubicBezTo>
                    <a:pt x="93" y="119"/>
                    <a:pt x="97" y="118"/>
                    <a:pt x="97" y="116"/>
                  </a:cubicBezTo>
                  <a:cubicBezTo>
                    <a:pt x="97" y="112"/>
                    <a:pt x="93" y="109"/>
                    <a:pt x="90" y="109"/>
                  </a:cubicBezTo>
                  <a:cubicBezTo>
                    <a:pt x="88" y="110"/>
                    <a:pt x="87" y="108"/>
                    <a:pt x="87" y="106"/>
                  </a:cubicBezTo>
                  <a:cubicBezTo>
                    <a:pt x="85" y="102"/>
                    <a:pt x="81" y="103"/>
                    <a:pt x="77" y="102"/>
                  </a:cubicBezTo>
                  <a:cubicBezTo>
                    <a:pt x="78" y="99"/>
                    <a:pt x="83" y="99"/>
                    <a:pt x="83" y="97"/>
                  </a:cubicBezTo>
                  <a:cubicBezTo>
                    <a:pt x="83" y="93"/>
                    <a:pt x="78" y="91"/>
                    <a:pt x="76" y="89"/>
                  </a:cubicBezTo>
                  <a:cubicBezTo>
                    <a:pt x="72" y="87"/>
                    <a:pt x="70" y="84"/>
                    <a:pt x="65" y="84"/>
                  </a:cubicBezTo>
                  <a:cubicBezTo>
                    <a:pt x="58" y="86"/>
                    <a:pt x="60" y="90"/>
                    <a:pt x="57" y="94"/>
                  </a:cubicBezTo>
                  <a:cubicBezTo>
                    <a:pt x="53" y="92"/>
                    <a:pt x="49" y="88"/>
                    <a:pt x="45" y="89"/>
                  </a:cubicBezTo>
                  <a:cubicBezTo>
                    <a:pt x="41" y="90"/>
                    <a:pt x="34" y="83"/>
                    <a:pt x="32" y="80"/>
                  </a:cubicBezTo>
                  <a:cubicBezTo>
                    <a:pt x="29" y="76"/>
                    <a:pt x="27" y="68"/>
                    <a:pt x="28" y="64"/>
                  </a:cubicBezTo>
                  <a:cubicBezTo>
                    <a:pt x="30" y="57"/>
                    <a:pt x="25" y="59"/>
                    <a:pt x="23" y="53"/>
                  </a:cubicBezTo>
                  <a:cubicBezTo>
                    <a:pt x="24" y="56"/>
                    <a:pt x="24" y="58"/>
                    <a:pt x="22" y="59"/>
                  </a:cubicBezTo>
                  <a:cubicBezTo>
                    <a:pt x="18" y="58"/>
                    <a:pt x="17" y="52"/>
                    <a:pt x="14" y="49"/>
                  </a:cubicBezTo>
                  <a:cubicBezTo>
                    <a:pt x="10" y="46"/>
                    <a:pt x="2" y="39"/>
                    <a:pt x="0" y="3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Freeform 554">
              <a:extLst>
                <a:ext uri="{FF2B5EF4-FFF2-40B4-BE49-F238E27FC236}">
                  <a16:creationId xmlns:a16="http://schemas.microsoft.com/office/drawing/2014/main" id="{E6B3E7A3-7A12-497C-A5FC-A5055B96A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959" y="1145255"/>
              <a:ext cx="2175609" cy="1081132"/>
            </a:xfrm>
            <a:custGeom>
              <a:avLst/>
              <a:gdLst>
                <a:gd name="T0" fmla="*/ 142 w 1004"/>
                <a:gd name="T1" fmla="*/ 159 h 499"/>
                <a:gd name="T2" fmla="*/ 162 w 1004"/>
                <a:gd name="T3" fmla="*/ 144 h 499"/>
                <a:gd name="T4" fmla="*/ 188 w 1004"/>
                <a:gd name="T5" fmla="*/ 150 h 499"/>
                <a:gd name="T6" fmla="*/ 215 w 1004"/>
                <a:gd name="T7" fmla="*/ 143 h 499"/>
                <a:gd name="T8" fmla="*/ 257 w 1004"/>
                <a:gd name="T9" fmla="*/ 158 h 499"/>
                <a:gd name="T10" fmla="*/ 279 w 1004"/>
                <a:gd name="T11" fmla="*/ 158 h 499"/>
                <a:gd name="T12" fmla="*/ 288 w 1004"/>
                <a:gd name="T13" fmla="*/ 131 h 499"/>
                <a:gd name="T14" fmla="*/ 258 w 1004"/>
                <a:gd name="T15" fmla="*/ 120 h 499"/>
                <a:gd name="T16" fmla="*/ 258 w 1004"/>
                <a:gd name="T17" fmla="*/ 108 h 499"/>
                <a:gd name="T18" fmla="*/ 262 w 1004"/>
                <a:gd name="T19" fmla="*/ 81 h 499"/>
                <a:gd name="T20" fmla="*/ 284 w 1004"/>
                <a:gd name="T21" fmla="*/ 74 h 499"/>
                <a:gd name="T22" fmla="*/ 265 w 1004"/>
                <a:gd name="T23" fmla="*/ 61 h 499"/>
                <a:gd name="T24" fmla="*/ 259 w 1004"/>
                <a:gd name="T25" fmla="*/ 49 h 499"/>
                <a:gd name="T26" fmla="*/ 293 w 1004"/>
                <a:gd name="T27" fmla="*/ 50 h 499"/>
                <a:gd name="T28" fmla="*/ 312 w 1004"/>
                <a:gd name="T29" fmla="*/ 41 h 499"/>
                <a:gd name="T30" fmla="*/ 342 w 1004"/>
                <a:gd name="T31" fmla="*/ 35 h 499"/>
                <a:gd name="T32" fmla="*/ 386 w 1004"/>
                <a:gd name="T33" fmla="*/ 24 h 499"/>
                <a:gd name="T34" fmla="*/ 427 w 1004"/>
                <a:gd name="T35" fmla="*/ 12 h 499"/>
                <a:gd name="T36" fmla="*/ 441 w 1004"/>
                <a:gd name="T37" fmla="*/ 3 h 499"/>
                <a:gd name="T38" fmla="*/ 457 w 1004"/>
                <a:gd name="T39" fmla="*/ 2 h 499"/>
                <a:gd name="T40" fmla="*/ 497 w 1004"/>
                <a:gd name="T41" fmla="*/ 17 h 499"/>
                <a:gd name="T42" fmla="*/ 520 w 1004"/>
                <a:gd name="T43" fmla="*/ 43 h 499"/>
                <a:gd name="T44" fmla="*/ 534 w 1004"/>
                <a:gd name="T45" fmla="*/ 34 h 499"/>
                <a:gd name="T46" fmla="*/ 554 w 1004"/>
                <a:gd name="T47" fmla="*/ 47 h 499"/>
                <a:gd name="T48" fmla="*/ 581 w 1004"/>
                <a:gd name="T49" fmla="*/ 51 h 499"/>
                <a:gd name="T50" fmla="*/ 591 w 1004"/>
                <a:gd name="T51" fmla="*/ 59 h 499"/>
                <a:gd name="T52" fmla="*/ 622 w 1004"/>
                <a:gd name="T53" fmla="*/ 44 h 499"/>
                <a:gd name="T54" fmla="*/ 641 w 1004"/>
                <a:gd name="T55" fmla="*/ 36 h 499"/>
                <a:gd name="T56" fmla="*/ 653 w 1004"/>
                <a:gd name="T57" fmla="*/ 35 h 499"/>
                <a:gd name="T58" fmla="*/ 686 w 1004"/>
                <a:gd name="T59" fmla="*/ 65 h 499"/>
                <a:gd name="T60" fmla="*/ 789 w 1004"/>
                <a:gd name="T61" fmla="*/ 154 h 499"/>
                <a:gd name="T62" fmla="*/ 812 w 1004"/>
                <a:gd name="T63" fmla="*/ 141 h 499"/>
                <a:gd name="T64" fmla="*/ 836 w 1004"/>
                <a:gd name="T65" fmla="*/ 154 h 499"/>
                <a:gd name="T66" fmla="*/ 863 w 1004"/>
                <a:gd name="T67" fmla="*/ 150 h 499"/>
                <a:gd name="T68" fmla="*/ 920 w 1004"/>
                <a:gd name="T69" fmla="*/ 174 h 499"/>
                <a:gd name="T70" fmla="*/ 947 w 1004"/>
                <a:gd name="T71" fmla="*/ 193 h 499"/>
                <a:gd name="T72" fmla="*/ 979 w 1004"/>
                <a:gd name="T73" fmla="*/ 189 h 499"/>
                <a:gd name="T74" fmla="*/ 986 w 1004"/>
                <a:gd name="T75" fmla="*/ 231 h 499"/>
                <a:gd name="T76" fmla="*/ 972 w 1004"/>
                <a:gd name="T77" fmla="*/ 283 h 499"/>
                <a:gd name="T78" fmla="*/ 920 w 1004"/>
                <a:gd name="T79" fmla="*/ 274 h 499"/>
                <a:gd name="T80" fmla="*/ 926 w 1004"/>
                <a:gd name="T81" fmla="*/ 342 h 499"/>
                <a:gd name="T82" fmla="*/ 899 w 1004"/>
                <a:gd name="T83" fmla="*/ 337 h 499"/>
                <a:gd name="T84" fmla="*/ 873 w 1004"/>
                <a:gd name="T85" fmla="*/ 360 h 499"/>
                <a:gd name="T86" fmla="*/ 899 w 1004"/>
                <a:gd name="T87" fmla="*/ 413 h 499"/>
                <a:gd name="T88" fmla="*/ 889 w 1004"/>
                <a:gd name="T89" fmla="*/ 423 h 499"/>
                <a:gd name="T90" fmla="*/ 877 w 1004"/>
                <a:gd name="T91" fmla="*/ 435 h 499"/>
                <a:gd name="T92" fmla="*/ 807 w 1004"/>
                <a:gd name="T93" fmla="*/ 420 h 499"/>
                <a:gd name="T94" fmla="*/ 763 w 1004"/>
                <a:gd name="T95" fmla="*/ 420 h 499"/>
                <a:gd name="T96" fmla="*/ 706 w 1004"/>
                <a:gd name="T97" fmla="*/ 436 h 499"/>
                <a:gd name="T98" fmla="*/ 654 w 1004"/>
                <a:gd name="T99" fmla="*/ 423 h 499"/>
                <a:gd name="T100" fmla="*/ 636 w 1004"/>
                <a:gd name="T101" fmla="*/ 442 h 499"/>
                <a:gd name="T102" fmla="*/ 601 w 1004"/>
                <a:gd name="T103" fmla="*/ 465 h 499"/>
                <a:gd name="T104" fmla="*/ 583 w 1004"/>
                <a:gd name="T105" fmla="*/ 487 h 499"/>
                <a:gd name="T106" fmla="*/ 559 w 1004"/>
                <a:gd name="T107" fmla="*/ 479 h 499"/>
                <a:gd name="T108" fmla="*/ 503 w 1004"/>
                <a:gd name="T109" fmla="*/ 450 h 499"/>
                <a:gd name="T110" fmla="*/ 461 w 1004"/>
                <a:gd name="T111" fmla="*/ 397 h 499"/>
                <a:gd name="T112" fmla="*/ 385 w 1004"/>
                <a:gd name="T113" fmla="*/ 399 h 499"/>
                <a:gd name="T114" fmla="*/ 314 w 1004"/>
                <a:gd name="T115" fmla="*/ 354 h 499"/>
                <a:gd name="T116" fmla="*/ 200 w 1004"/>
                <a:gd name="T117" fmla="*/ 348 h 499"/>
                <a:gd name="T118" fmla="*/ 215 w 1004"/>
                <a:gd name="T119" fmla="*/ 476 h 499"/>
                <a:gd name="T120" fmla="*/ 151 w 1004"/>
                <a:gd name="T121" fmla="*/ 441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04" h="499">
                  <a:moveTo>
                    <a:pt x="0" y="130"/>
                  </a:moveTo>
                  <a:cubicBezTo>
                    <a:pt x="2" y="132"/>
                    <a:pt x="25" y="117"/>
                    <a:pt x="52" y="122"/>
                  </a:cubicBezTo>
                  <a:cubicBezTo>
                    <a:pt x="92" y="129"/>
                    <a:pt x="139" y="156"/>
                    <a:pt x="142" y="159"/>
                  </a:cubicBezTo>
                  <a:cubicBezTo>
                    <a:pt x="146" y="163"/>
                    <a:pt x="150" y="160"/>
                    <a:pt x="154" y="156"/>
                  </a:cubicBezTo>
                  <a:cubicBezTo>
                    <a:pt x="156" y="155"/>
                    <a:pt x="155" y="152"/>
                    <a:pt x="156" y="151"/>
                  </a:cubicBezTo>
                  <a:cubicBezTo>
                    <a:pt x="159" y="150"/>
                    <a:pt x="162" y="148"/>
                    <a:pt x="162" y="144"/>
                  </a:cubicBezTo>
                  <a:cubicBezTo>
                    <a:pt x="164" y="145"/>
                    <a:pt x="166" y="145"/>
                    <a:pt x="168" y="147"/>
                  </a:cubicBezTo>
                  <a:cubicBezTo>
                    <a:pt x="168" y="143"/>
                    <a:pt x="180" y="142"/>
                    <a:pt x="182" y="145"/>
                  </a:cubicBezTo>
                  <a:cubicBezTo>
                    <a:pt x="183" y="147"/>
                    <a:pt x="186" y="148"/>
                    <a:pt x="188" y="150"/>
                  </a:cubicBezTo>
                  <a:cubicBezTo>
                    <a:pt x="191" y="152"/>
                    <a:pt x="194" y="148"/>
                    <a:pt x="197" y="149"/>
                  </a:cubicBezTo>
                  <a:cubicBezTo>
                    <a:pt x="197" y="141"/>
                    <a:pt x="196" y="144"/>
                    <a:pt x="205" y="144"/>
                  </a:cubicBezTo>
                  <a:cubicBezTo>
                    <a:pt x="209" y="144"/>
                    <a:pt x="211" y="141"/>
                    <a:pt x="215" y="143"/>
                  </a:cubicBezTo>
                  <a:cubicBezTo>
                    <a:pt x="219" y="145"/>
                    <a:pt x="220" y="148"/>
                    <a:pt x="221" y="151"/>
                  </a:cubicBezTo>
                  <a:cubicBezTo>
                    <a:pt x="223" y="156"/>
                    <a:pt x="251" y="158"/>
                    <a:pt x="248" y="163"/>
                  </a:cubicBezTo>
                  <a:cubicBezTo>
                    <a:pt x="251" y="162"/>
                    <a:pt x="255" y="162"/>
                    <a:pt x="257" y="158"/>
                  </a:cubicBezTo>
                  <a:cubicBezTo>
                    <a:pt x="258" y="156"/>
                    <a:pt x="256" y="152"/>
                    <a:pt x="258" y="151"/>
                  </a:cubicBezTo>
                  <a:cubicBezTo>
                    <a:pt x="262" y="150"/>
                    <a:pt x="264" y="155"/>
                    <a:pt x="266" y="156"/>
                  </a:cubicBezTo>
                  <a:cubicBezTo>
                    <a:pt x="269" y="158"/>
                    <a:pt x="275" y="158"/>
                    <a:pt x="279" y="158"/>
                  </a:cubicBezTo>
                  <a:cubicBezTo>
                    <a:pt x="283" y="158"/>
                    <a:pt x="294" y="156"/>
                    <a:pt x="295" y="151"/>
                  </a:cubicBezTo>
                  <a:cubicBezTo>
                    <a:pt x="296" y="147"/>
                    <a:pt x="292" y="138"/>
                    <a:pt x="298" y="138"/>
                  </a:cubicBezTo>
                  <a:cubicBezTo>
                    <a:pt x="294" y="136"/>
                    <a:pt x="293" y="132"/>
                    <a:pt x="288" y="131"/>
                  </a:cubicBezTo>
                  <a:cubicBezTo>
                    <a:pt x="284" y="131"/>
                    <a:pt x="280" y="132"/>
                    <a:pt x="277" y="129"/>
                  </a:cubicBezTo>
                  <a:cubicBezTo>
                    <a:pt x="274" y="126"/>
                    <a:pt x="272" y="125"/>
                    <a:pt x="268" y="125"/>
                  </a:cubicBezTo>
                  <a:cubicBezTo>
                    <a:pt x="263" y="125"/>
                    <a:pt x="262" y="123"/>
                    <a:pt x="258" y="120"/>
                  </a:cubicBezTo>
                  <a:cubicBezTo>
                    <a:pt x="255" y="118"/>
                    <a:pt x="253" y="117"/>
                    <a:pt x="250" y="117"/>
                  </a:cubicBezTo>
                  <a:cubicBezTo>
                    <a:pt x="246" y="117"/>
                    <a:pt x="246" y="113"/>
                    <a:pt x="250" y="113"/>
                  </a:cubicBezTo>
                  <a:cubicBezTo>
                    <a:pt x="253" y="114"/>
                    <a:pt x="255" y="109"/>
                    <a:pt x="258" y="108"/>
                  </a:cubicBezTo>
                  <a:cubicBezTo>
                    <a:pt x="263" y="107"/>
                    <a:pt x="266" y="104"/>
                    <a:pt x="270" y="102"/>
                  </a:cubicBezTo>
                  <a:cubicBezTo>
                    <a:pt x="269" y="101"/>
                    <a:pt x="258" y="91"/>
                    <a:pt x="258" y="90"/>
                  </a:cubicBezTo>
                  <a:cubicBezTo>
                    <a:pt x="257" y="86"/>
                    <a:pt x="266" y="85"/>
                    <a:pt x="262" y="81"/>
                  </a:cubicBezTo>
                  <a:cubicBezTo>
                    <a:pt x="270" y="80"/>
                    <a:pt x="277" y="81"/>
                    <a:pt x="284" y="81"/>
                  </a:cubicBezTo>
                  <a:cubicBezTo>
                    <a:pt x="286" y="81"/>
                    <a:pt x="290" y="83"/>
                    <a:pt x="290" y="80"/>
                  </a:cubicBezTo>
                  <a:cubicBezTo>
                    <a:pt x="291" y="76"/>
                    <a:pt x="286" y="75"/>
                    <a:pt x="284" y="74"/>
                  </a:cubicBezTo>
                  <a:cubicBezTo>
                    <a:pt x="277" y="73"/>
                    <a:pt x="270" y="72"/>
                    <a:pt x="264" y="70"/>
                  </a:cubicBezTo>
                  <a:cubicBezTo>
                    <a:pt x="256" y="67"/>
                    <a:pt x="271" y="63"/>
                    <a:pt x="272" y="63"/>
                  </a:cubicBezTo>
                  <a:cubicBezTo>
                    <a:pt x="270" y="60"/>
                    <a:pt x="268" y="61"/>
                    <a:pt x="265" y="61"/>
                  </a:cubicBezTo>
                  <a:cubicBezTo>
                    <a:pt x="261" y="62"/>
                    <a:pt x="257" y="60"/>
                    <a:pt x="254" y="58"/>
                  </a:cubicBezTo>
                  <a:cubicBezTo>
                    <a:pt x="264" y="57"/>
                    <a:pt x="256" y="51"/>
                    <a:pt x="253" y="49"/>
                  </a:cubicBezTo>
                  <a:cubicBezTo>
                    <a:pt x="255" y="48"/>
                    <a:pt x="257" y="48"/>
                    <a:pt x="259" y="49"/>
                  </a:cubicBezTo>
                  <a:cubicBezTo>
                    <a:pt x="257" y="43"/>
                    <a:pt x="271" y="47"/>
                    <a:pt x="274" y="48"/>
                  </a:cubicBezTo>
                  <a:cubicBezTo>
                    <a:pt x="278" y="49"/>
                    <a:pt x="279" y="47"/>
                    <a:pt x="283" y="46"/>
                  </a:cubicBezTo>
                  <a:cubicBezTo>
                    <a:pt x="288" y="45"/>
                    <a:pt x="289" y="50"/>
                    <a:pt x="293" y="50"/>
                  </a:cubicBezTo>
                  <a:cubicBezTo>
                    <a:pt x="292" y="43"/>
                    <a:pt x="300" y="44"/>
                    <a:pt x="305" y="44"/>
                  </a:cubicBezTo>
                  <a:cubicBezTo>
                    <a:pt x="306" y="43"/>
                    <a:pt x="306" y="42"/>
                    <a:pt x="306" y="41"/>
                  </a:cubicBezTo>
                  <a:cubicBezTo>
                    <a:pt x="308" y="41"/>
                    <a:pt x="310" y="40"/>
                    <a:pt x="312" y="41"/>
                  </a:cubicBezTo>
                  <a:cubicBezTo>
                    <a:pt x="316" y="40"/>
                    <a:pt x="319" y="40"/>
                    <a:pt x="323" y="40"/>
                  </a:cubicBezTo>
                  <a:cubicBezTo>
                    <a:pt x="327" y="41"/>
                    <a:pt x="326" y="36"/>
                    <a:pt x="330" y="36"/>
                  </a:cubicBezTo>
                  <a:cubicBezTo>
                    <a:pt x="334" y="36"/>
                    <a:pt x="338" y="34"/>
                    <a:pt x="342" y="35"/>
                  </a:cubicBezTo>
                  <a:cubicBezTo>
                    <a:pt x="345" y="36"/>
                    <a:pt x="348" y="33"/>
                    <a:pt x="351" y="35"/>
                  </a:cubicBezTo>
                  <a:cubicBezTo>
                    <a:pt x="355" y="37"/>
                    <a:pt x="355" y="35"/>
                    <a:pt x="355" y="32"/>
                  </a:cubicBezTo>
                  <a:cubicBezTo>
                    <a:pt x="355" y="22"/>
                    <a:pt x="380" y="25"/>
                    <a:pt x="386" y="24"/>
                  </a:cubicBezTo>
                  <a:cubicBezTo>
                    <a:pt x="393" y="22"/>
                    <a:pt x="402" y="19"/>
                    <a:pt x="410" y="19"/>
                  </a:cubicBezTo>
                  <a:cubicBezTo>
                    <a:pt x="413" y="19"/>
                    <a:pt x="416" y="15"/>
                    <a:pt x="418" y="15"/>
                  </a:cubicBezTo>
                  <a:cubicBezTo>
                    <a:pt x="421" y="15"/>
                    <a:pt x="425" y="15"/>
                    <a:pt x="427" y="12"/>
                  </a:cubicBezTo>
                  <a:cubicBezTo>
                    <a:pt x="425" y="12"/>
                    <a:pt x="423" y="8"/>
                    <a:pt x="426" y="8"/>
                  </a:cubicBezTo>
                  <a:cubicBezTo>
                    <a:pt x="430" y="8"/>
                    <a:pt x="435" y="6"/>
                    <a:pt x="433" y="2"/>
                  </a:cubicBezTo>
                  <a:cubicBezTo>
                    <a:pt x="436" y="3"/>
                    <a:pt x="438" y="3"/>
                    <a:pt x="441" y="3"/>
                  </a:cubicBezTo>
                  <a:cubicBezTo>
                    <a:pt x="440" y="2"/>
                    <a:pt x="439" y="1"/>
                    <a:pt x="438" y="0"/>
                  </a:cubicBezTo>
                  <a:cubicBezTo>
                    <a:pt x="441" y="0"/>
                    <a:pt x="444" y="2"/>
                    <a:pt x="447" y="2"/>
                  </a:cubicBezTo>
                  <a:cubicBezTo>
                    <a:pt x="450" y="3"/>
                    <a:pt x="453" y="2"/>
                    <a:pt x="457" y="2"/>
                  </a:cubicBezTo>
                  <a:cubicBezTo>
                    <a:pt x="459" y="3"/>
                    <a:pt x="478" y="13"/>
                    <a:pt x="479" y="7"/>
                  </a:cubicBezTo>
                  <a:cubicBezTo>
                    <a:pt x="479" y="0"/>
                    <a:pt x="490" y="7"/>
                    <a:pt x="493" y="9"/>
                  </a:cubicBezTo>
                  <a:cubicBezTo>
                    <a:pt x="495" y="12"/>
                    <a:pt x="496" y="14"/>
                    <a:pt x="497" y="17"/>
                  </a:cubicBezTo>
                  <a:cubicBezTo>
                    <a:pt x="499" y="21"/>
                    <a:pt x="504" y="23"/>
                    <a:pt x="507" y="24"/>
                  </a:cubicBezTo>
                  <a:cubicBezTo>
                    <a:pt x="503" y="28"/>
                    <a:pt x="514" y="37"/>
                    <a:pt x="505" y="38"/>
                  </a:cubicBezTo>
                  <a:cubicBezTo>
                    <a:pt x="511" y="44"/>
                    <a:pt x="515" y="39"/>
                    <a:pt x="520" y="43"/>
                  </a:cubicBezTo>
                  <a:cubicBezTo>
                    <a:pt x="523" y="44"/>
                    <a:pt x="526" y="42"/>
                    <a:pt x="527" y="39"/>
                  </a:cubicBezTo>
                  <a:cubicBezTo>
                    <a:pt x="527" y="36"/>
                    <a:pt x="535" y="41"/>
                    <a:pt x="537" y="40"/>
                  </a:cubicBezTo>
                  <a:cubicBezTo>
                    <a:pt x="534" y="39"/>
                    <a:pt x="533" y="37"/>
                    <a:pt x="534" y="34"/>
                  </a:cubicBezTo>
                  <a:cubicBezTo>
                    <a:pt x="538" y="36"/>
                    <a:pt x="541" y="42"/>
                    <a:pt x="546" y="42"/>
                  </a:cubicBezTo>
                  <a:cubicBezTo>
                    <a:pt x="542" y="45"/>
                    <a:pt x="546" y="46"/>
                    <a:pt x="548" y="50"/>
                  </a:cubicBezTo>
                  <a:cubicBezTo>
                    <a:pt x="549" y="48"/>
                    <a:pt x="551" y="47"/>
                    <a:pt x="554" y="47"/>
                  </a:cubicBezTo>
                  <a:cubicBezTo>
                    <a:pt x="552" y="45"/>
                    <a:pt x="550" y="44"/>
                    <a:pt x="548" y="45"/>
                  </a:cubicBezTo>
                  <a:cubicBezTo>
                    <a:pt x="552" y="33"/>
                    <a:pt x="572" y="58"/>
                    <a:pt x="577" y="44"/>
                  </a:cubicBezTo>
                  <a:cubicBezTo>
                    <a:pt x="579" y="46"/>
                    <a:pt x="581" y="48"/>
                    <a:pt x="581" y="51"/>
                  </a:cubicBezTo>
                  <a:cubicBezTo>
                    <a:pt x="575" y="50"/>
                    <a:pt x="574" y="53"/>
                    <a:pt x="572" y="58"/>
                  </a:cubicBezTo>
                  <a:cubicBezTo>
                    <a:pt x="570" y="61"/>
                    <a:pt x="578" y="63"/>
                    <a:pt x="579" y="66"/>
                  </a:cubicBezTo>
                  <a:cubicBezTo>
                    <a:pt x="583" y="62"/>
                    <a:pt x="585" y="59"/>
                    <a:pt x="591" y="59"/>
                  </a:cubicBezTo>
                  <a:cubicBezTo>
                    <a:pt x="596" y="59"/>
                    <a:pt x="600" y="64"/>
                    <a:pt x="604" y="64"/>
                  </a:cubicBezTo>
                  <a:cubicBezTo>
                    <a:pt x="604" y="55"/>
                    <a:pt x="608" y="55"/>
                    <a:pt x="614" y="53"/>
                  </a:cubicBezTo>
                  <a:cubicBezTo>
                    <a:pt x="617" y="52"/>
                    <a:pt x="626" y="48"/>
                    <a:pt x="622" y="44"/>
                  </a:cubicBezTo>
                  <a:cubicBezTo>
                    <a:pt x="626" y="44"/>
                    <a:pt x="629" y="43"/>
                    <a:pt x="632" y="42"/>
                  </a:cubicBezTo>
                  <a:cubicBezTo>
                    <a:pt x="634" y="41"/>
                    <a:pt x="636" y="40"/>
                    <a:pt x="638" y="39"/>
                  </a:cubicBezTo>
                  <a:cubicBezTo>
                    <a:pt x="639" y="38"/>
                    <a:pt x="640" y="37"/>
                    <a:pt x="641" y="36"/>
                  </a:cubicBezTo>
                  <a:cubicBezTo>
                    <a:pt x="643" y="35"/>
                    <a:pt x="645" y="37"/>
                    <a:pt x="647" y="35"/>
                  </a:cubicBezTo>
                  <a:cubicBezTo>
                    <a:pt x="650" y="32"/>
                    <a:pt x="651" y="33"/>
                    <a:pt x="655" y="32"/>
                  </a:cubicBezTo>
                  <a:cubicBezTo>
                    <a:pt x="654" y="33"/>
                    <a:pt x="653" y="34"/>
                    <a:pt x="653" y="35"/>
                  </a:cubicBezTo>
                  <a:cubicBezTo>
                    <a:pt x="655" y="35"/>
                    <a:pt x="656" y="38"/>
                    <a:pt x="655" y="40"/>
                  </a:cubicBezTo>
                  <a:cubicBezTo>
                    <a:pt x="652" y="43"/>
                    <a:pt x="650" y="41"/>
                    <a:pt x="647" y="43"/>
                  </a:cubicBezTo>
                  <a:cubicBezTo>
                    <a:pt x="659" y="52"/>
                    <a:pt x="673" y="57"/>
                    <a:pt x="686" y="65"/>
                  </a:cubicBezTo>
                  <a:cubicBezTo>
                    <a:pt x="700" y="72"/>
                    <a:pt x="711" y="83"/>
                    <a:pt x="722" y="93"/>
                  </a:cubicBezTo>
                  <a:cubicBezTo>
                    <a:pt x="735" y="104"/>
                    <a:pt x="748" y="116"/>
                    <a:pt x="760" y="128"/>
                  </a:cubicBezTo>
                  <a:cubicBezTo>
                    <a:pt x="768" y="135"/>
                    <a:pt x="778" y="152"/>
                    <a:pt x="789" y="154"/>
                  </a:cubicBezTo>
                  <a:cubicBezTo>
                    <a:pt x="784" y="149"/>
                    <a:pt x="800" y="150"/>
                    <a:pt x="795" y="144"/>
                  </a:cubicBezTo>
                  <a:cubicBezTo>
                    <a:pt x="791" y="138"/>
                    <a:pt x="798" y="141"/>
                    <a:pt x="798" y="136"/>
                  </a:cubicBezTo>
                  <a:cubicBezTo>
                    <a:pt x="801" y="137"/>
                    <a:pt x="811" y="137"/>
                    <a:pt x="812" y="141"/>
                  </a:cubicBezTo>
                  <a:cubicBezTo>
                    <a:pt x="813" y="145"/>
                    <a:pt x="811" y="149"/>
                    <a:pt x="817" y="148"/>
                  </a:cubicBezTo>
                  <a:cubicBezTo>
                    <a:pt x="823" y="147"/>
                    <a:pt x="824" y="154"/>
                    <a:pt x="829" y="155"/>
                  </a:cubicBezTo>
                  <a:cubicBezTo>
                    <a:pt x="831" y="156"/>
                    <a:pt x="833" y="154"/>
                    <a:pt x="836" y="154"/>
                  </a:cubicBezTo>
                  <a:cubicBezTo>
                    <a:pt x="839" y="154"/>
                    <a:pt x="842" y="156"/>
                    <a:pt x="846" y="156"/>
                  </a:cubicBezTo>
                  <a:cubicBezTo>
                    <a:pt x="852" y="155"/>
                    <a:pt x="854" y="154"/>
                    <a:pt x="859" y="150"/>
                  </a:cubicBezTo>
                  <a:cubicBezTo>
                    <a:pt x="860" y="149"/>
                    <a:pt x="862" y="150"/>
                    <a:pt x="863" y="150"/>
                  </a:cubicBezTo>
                  <a:cubicBezTo>
                    <a:pt x="866" y="149"/>
                    <a:pt x="865" y="147"/>
                    <a:pt x="867" y="147"/>
                  </a:cubicBezTo>
                  <a:cubicBezTo>
                    <a:pt x="881" y="142"/>
                    <a:pt x="896" y="159"/>
                    <a:pt x="904" y="167"/>
                  </a:cubicBezTo>
                  <a:cubicBezTo>
                    <a:pt x="908" y="172"/>
                    <a:pt x="914" y="173"/>
                    <a:pt x="920" y="174"/>
                  </a:cubicBezTo>
                  <a:cubicBezTo>
                    <a:pt x="927" y="177"/>
                    <a:pt x="929" y="181"/>
                    <a:pt x="934" y="186"/>
                  </a:cubicBezTo>
                  <a:cubicBezTo>
                    <a:pt x="936" y="188"/>
                    <a:pt x="938" y="189"/>
                    <a:pt x="940" y="191"/>
                  </a:cubicBezTo>
                  <a:cubicBezTo>
                    <a:pt x="942" y="195"/>
                    <a:pt x="944" y="192"/>
                    <a:pt x="947" y="193"/>
                  </a:cubicBezTo>
                  <a:cubicBezTo>
                    <a:pt x="952" y="195"/>
                    <a:pt x="958" y="193"/>
                    <a:pt x="963" y="195"/>
                  </a:cubicBezTo>
                  <a:cubicBezTo>
                    <a:pt x="968" y="197"/>
                    <a:pt x="968" y="194"/>
                    <a:pt x="972" y="191"/>
                  </a:cubicBezTo>
                  <a:cubicBezTo>
                    <a:pt x="973" y="190"/>
                    <a:pt x="981" y="184"/>
                    <a:pt x="979" y="189"/>
                  </a:cubicBezTo>
                  <a:cubicBezTo>
                    <a:pt x="975" y="197"/>
                    <a:pt x="1000" y="205"/>
                    <a:pt x="1004" y="210"/>
                  </a:cubicBezTo>
                  <a:cubicBezTo>
                    <a:pt x="999" y="209"/>
                    <a:pt x="985" y="208"/>
                    <a:pt x="991" y="216"/>
                  </a:cubicBezTo>
                  <a:cubicBezTo>
                    <a:pt x="995" y="223"/>
                    <a:pt x="992" y="228"/>
                    <a:pt x="986" y="231"/>
                  </a:cubicBezTo>
                  <a:cubicBezTo>
                    <a:pt x="981" y="233"/>
                    <a:pt x="971" y="230"/>
                    <a:pt x="971" y="238"/>
                  </a:cubicBezTo>
                  <a:cubicBezTo>
                    <a:pt x="970" y="249"/>
                    <a:pt x="977" y="260"/>
                    <a:pt x="983" y="268"/>
                  </a:cubicBezTo>
                  <a:cubicBezTo>
                    <a:pt x="989" y="278"/>
                    <a:pt x="976" y="279"/>
                    <a:pt x="972" y="283"/>
                  </a:cubicBezTo>
                  <a:cubicBezTo>
                    <a:pt x="968" y="286"/>
                    <a:pt x="967" y="287"/>
                    <a:pt x="963" y="283"/>
                  </a:cubicBezTo>
                  <a:cubicBezTo>
                    <a:pt x="959" y="279"/>
                    <a:pt x="952" y="281"/>
                    <a:pt x="947" y="281"/>
                  </a:cubicBezTo>
                  <a:cubicBezTo>
                    <a:pt x="936" y="283"/>
                    <a:pt x="929" y="278"/>
                    <a:pt x="920" y="274"/>
                  </a:cubicBezTo>
                  <a:cubicBezTo>
                    <a:pt x="911" y="271"/>
                    <a:pt x="914" y="292"/>
                    <a:pt x="914" y="297"/>
                  </a:cubicBezTo>
                  <a:cubicBezTo>
                    <a:pt x="914" y="307"/>
                    <a:pt x="913" y="316"/>
                    <a:pt x="913" y="326"/>
                  </a:cubicBezTo>
                  <a:cubicBezTo>
                    <a:pt x="913" y="336"/>
                    <a:pt x="928" y="331"/>
                    <a:pt x="926" y="342"/>
                  </a:cubicBezTo>
                  <a:cubicBezTo>
                    <a:pt x="925" y="346"/>
                    <a:pt x="921" y="343"/>
                    <a:pt x="919" y="342"/>
                  </a:cubicBezTo>
                  <a:cubicBezTo>
                    <a:pt x="915" y="340"/>
                    <a:pt x="912" y="343"/>
                    <a:pt x="907" y="342"/>
                  </a:cubicBezTo>
                  <a:cubicBezTo>
                    <a:pt x="904" y="342"/>
                    <a:pt x="902" y="336"/>
                    <a:pt x="899" y="337"/>
                  </a:cubicBezTo>
                  <a:cubicBezTo>
                    <a:pt x="894" y="339"/>
                    <a:pt x="887" y="342"/>
                    <a:pt x="882" y="343"/>
                  </a:cubicBezTo>
                  <a:cubicBezTo>
                    <a:pt x="876" y="344"/>
                    <a:pt x="859" y="344"/>
                    <a:pt x="856" y="352"/>
                  </a:cubicBezTo>
                  <a:cubicBezTo>
                    <a:pt x="854" y="357"/>
                    <a:pt x="878" y="353"/>
                    <a:pt x="873" y="360"/>
                  </a:cubicBezTo>
                  <a:cubicBezTo>
                    <a:pt x="868" y="366"/>
                    <a:pt x="882" y="385"/>
                    <a:pt x="885" y="389"/>
                  </a:cubicBezTo>
                  <a:cubicBezTo>
                    <a:pt x="889" y="393"/>
                    <a:pt x="893" y="397"/>
                    <a:pt x="895" y="402"/>
                  </a:cubicBezTo>
                  <a:cubicBezTo>
                    <a:pt x="896" y="406"/>
                    <a:pt x="901" y="409"/>
                    <a:pt x="899" y="413"/>
                  </a:cubicBezTo>
                  <a:cubicBezTo>
                    <a:pt x="896" y="411"/>
                    <a:pt x="893" y="415"/>
                    <a:pt x="891" y="417"/>
                  </a:cubicBezTo>
                  <a:cubicBezTo>
                    <a:pt x="893" y="418"/>
                    <a:pt x="895" y="419"/>
                    <a:pt x="897" y="421"/>
                  </a:cubicBezTo>
                  <a:cubicBezTo>
                    <a:pt x="894" y="422"/>
                    <a:pt x="892" y="423"/>
                    <a:pt x="889" y="423"/>
                  </a:cubicBezTo>
                  <a:cubicBezTo>
                    <a:pt x="889" y="426"/>
                    <a:pt x="889" y="429"/>
                    <a:pt x="890" y="432"/>
                  </a:cubicBezTo>
                  <a:cubicBezTo>
                    <a:pt x="892" y="436"/>
                    <a:pt x="896" y="439"/>
                    <a:pt x="895" y="444"/>
                  </a:cubicBezTo>
                  <a:cubicBezTo>
                    <a:pt x="888" y="440"/>
                    <a:pt x="885" y="436"/>
                    <a:pt x="877" y="435"/>
                  </a:cubicBezTo>
                  <a:cubicBezTo>
                    <a:pt x="869" y="435"/>
                    <a:pt x="866" y="429"/>
                    <a:pt x="860" y="425"/>
                  </a:cubicBezTo>
                  <a:cubicBezTo>
                    <a:pt x="854" y="422"/>
                    <a:pt x="843" y="422"/>
                    <a:pt x="837" y="422"/>
                  </a:cubicBezTo>
                  <a:cubicBezTo>
                    <a:pt x="828" y="421"/>
                    <a:pt x="817" y="421"/>
                    <a:pt x="807" y="420"/>
                  </a:cubicBezTo>
                  <a:cubicBezTo>
                    <a:pt x="804" y="420"/>
                    <a:pt x="802" y="419"/>
                    <a:pt x="799" y="418"/>
                  </a:cubicBezTo>
                  <a:cubicBezTo>
                    <a:pt x="795" y="416"/>
                    <a:pt x="792" y="419"/>
                    <a:pt x="788" y="420"/>
                  </a:cubicBezTo>
                  <a:cubicBezTo>
                    <a:pt x="784" y="421"/>
                    <a:pt x="764" y="417"/>
                    <a:pt x="763" y="420"/>
                  </a:cubicBezTo>
                  <a:cubicBezTo>
                    <a:pt x="760" y="431"/>
                    <a:pt x="724" y="410"/>
                    <a:pt x="716" y="408"/>
                  </a:cubicBezTo>
                  <a:cubicBezTo>
                    <a:pt x="718" y="410"/>
                    <a:pt x="705" y="413"/>
                    <a:pt x="704" y="414"/>
                  </a:cubicBezTo>
                  <a:cubicBezTo>
                    <a:pt x="698" y="418"/>
                    <a:pt x="701" y="432"/>
                    <a:pt x="706" y="436"/>
                  </a:cubicBezTo>
                  <a:cubicBezTo>
                    <a:pt x="702" y="437"/>
                    <a:pt x="698" y="434"/>
                    <a:pt x="696" y="433"/>
                  </a:cubicBezTo>
                  <a:cubicBezTo>
                    <a:pt x="691" y="431"/>
                    <a:pt x="686" y="431"/>
                    <a:pt x="681" y="430"/>
                  </a:cubicBezTo>
                  <a:cubicBezTo>
                    <a:pt x="673" y="427"/>
                    <a:pt x="663" y="423"/>
                    <a:pt x="654" y="423"/>
                  </a:cubicBezTo>
                  <a:cubicBezTo>
                    <a:pt x="652" y="423"/>
                    <a:pt x="649" y="426"/>
                    <a:pt x="647" y="424"/>
                  </a:cubicBezTo>
                  <a:cubicBezTo>
                    <a:pt x="646" y="423"/>
                    <a:pt x="641" y="424"/>
                    <a:pt x="640" y="425"/>
                  </a:cubicBezTo>
                  <a:cubicBezTo>
                    <a:pt x="637" y="427"/>
                    <a:pt x="631" y="442"/>
                    <a:pt x="636" y="442"/>
                  </a:cubicBezTo>
                  <a:cubicBezTo>
                    <a:pt x="634" y="444"/>
                    <a:pt x="630" y="448"/>
                    <a:pt x="629" y="449"/>
                  </a:cubicBezTo>
                  <a:cubicBezTo>
                    <a:pt x="625" y="451"/>
                    <a:pt x="624" y="446"/>
                    <a:pt x="620" y="451"/>
                  </a:cubicBezTo>
                  <a:cubicBezTo>
                    <a:pt x="615" y="458"/>
                    <a:pt x="609" y="461"/>
                    <a:pt x="601" y="465"/>
                  </a:cubicBezTo>
                  <a:cubicBezTo>
                    <a:pt x="598" y="467"/>
                    <a:pt x="595" y="469"/>
                    <a:pt x="593" y="471"/>
                  </a:cubicBezTo>
                  <a:cubicBezTo>
                    <a:pt x="591" y="473"/>
                    <a:pt x="594" y="475"/>
                    <a:pt x="591" y="478"/>
                  </a:cubicBezTo>
                  <a:cubicBezTo>
                    <a:pt x="588" y="481"/>
                    <a:pt x="585" y="483"/>
                    <a:pt x="583" y="487"/>
                  </a:cubicBezTo>
                  <a:cubicBezTo>
                    <a:pt x="580" y="492"/>
                    <a:pt x="585" y="494"/>
                    <a:pt x="586" y="499"/>
                  </a:cubicBezTo>
                  <a:cubicBezTo>
                    <a:pt x="581" y="497"/>
                    <a:pt x="568" y="496"/>
                    <a:pt x="569" y="489"/>
                  </a:cubicBezTo>
                  <a:cubicBezTo>
                    <a:pt x="569" y="484"/>
                    <a:pt x="565" y="479"/>
                    <a:pt x="559" y="479"/>
                  </a:cubicBezTo>
                  <a:cubicBezTo>
                    <a:pt x="550" y="478"/>
                    <a:pt x="531" y="486"/>
                    <a:pt x="525" y="476"/>
                  </a:cubicBezTo>
                  <a:cubicBezTo>
                    <a:pt x="521" y="470"/>
                    <a:pt x="520" y="463"/>
                    <a:pt x="517" y="457"/>
                  </a:cubicBezTo>
                  <a:cubicBezTo>
                    <a:pt x="514" y="448"/>
                    <a:pt x="509" y="454"/>
                    <a:pt x="503" y="450"/>
                  </a:cubicBezTo>
                  <a:cubicBezTo>
                    <a:pt x="495" y="444"/>
                    <a:pt x="496" y="427"/>
                    <a:pt x="495" y="418"/>
                  </a:cubicBezTo>
                  <a:cubicBezTo>
                    <a:pt x="487" y="419"/>
                    <a:pt x="486" y="419"/>
                    <a:pt x="481" y="412"/>
                  </a:cubicBezTo>
                  <a:cubicBezTo>
                    <a:pt x="475" y="405"/>
                    <a:pt x="467" y="403"/>
                    <a:pt x="461" y="397"/>
                  </a:cubicBezTo>
                  <a:cubicBezTo>
                    <a:pt x="453" y="389"/>
                    <a:pt x="451" y="396"/>
                    <a:pt x="443" y="398"/>
                  </a:cubicBezTo>
                  <a:cubicBezTo>
                    <a:pt x="434" y="399"/>
                    <a:pt x="425" y="397"/>
                    <a:pt x="417" y="396"/>
                  </a:cubicBezTo>
                  <a:cubicBezTo>
                    <a:pt x="406" y="395"/>
                    <a:pt x="395" y="397"/>
                    <a:pt x="385" y="399"/>
                  </a:cubicBezTo>
                  <a:cubicBezTo>
                    <a:pt x="375" y="401"/>
                    <a:pt x="370" y="393"/>
                    <a:pt x="362" y="388"/>
                  </a:cubicBezTo>
                  <a:cubicBezTo>
                    <a:pt x="355" y="382"/>
                    <a:pt x="349" y="375"/>
                    <a:pt x="343" y="369"/>
                  </a:cubicBezTo>
                  <a:cubicBezTo>
                    <a:pt x="335" y="363"/>
                    <a:pt x="323" y="359"/>
                    <a:pt x="314" y="354"/>
                  </a:cubicBezTo>
                  <a:cubicBezTo>
                    <a:pt x="303" y="349"/>
                    <a:pt x="293" y="344"/>
                    <a:pt x="283" y="338"/>
                  </a:cubicBezTo>
                  <a:cubicBezTo>
                    <a:pt x="274" y="334"/>
                    <a:pt x="267" y="328"/>
                    <a:pt x="257" y="331"/>
                  </a:cubicBezTo>
                  <a:cubicBezTo>
                    <a:pt x="239" y="336"/>
                    <a:pt x="217" y="340"/>
                    <a:pt x="200" y="348"/>
                  </a:cubicBezTo>
                  <a:cubicBezTo>
                    <a:pt x="197" y="350"/>
                    <a:pt x="210" y="397"/>
                    <a:pt x="211" y="403"/>
                  </a:cubicBezTo>
                  <a:cubicBezTo>
                    <a:pt x="216" y="426"/>
                    <a:pt x="221" y="450"/>
                    <a:pt x="226" y="474"/>
                  </a:cubicBezTo>
                  <a:cubicBezTo>
                    <a:pt x="222" y="474"/>
                    <a:pt x="219" y="476"/>
                    <a:pt x="215" y="476"/>
                  </a:cubicBezTo>
                  <a:cubicBezTo>
                    <a:pt x="210" y="476"/>
                    <a:pt x="206" y="471"/>
                    <a:pt x="203" y="468"/>
                  </a:cubicBezTo>
                  <a:cubicBezTo>
                    <a:pt x="196" y="460"/>
                    <a:pt x="190" y="451"/>
                    <a:pt x="180" y="446"/>
                  </a:cubicBezTo>
                  <a:cubicBezTo>
                    <a:pt x="170" y="440"/>
                    <a:pt x="163" y="438"/>
                    <a:pt x="151" y="441"/>
                  </a:cubicBezTo>
                  <a:cubicBezTo>
                    <a:pt x="88" y="468"/>
                    <a:pt x="53" y="381"/>
                    <a:pt x="53" y="392"/>
                  </a:cubicBezTo>
                  <a:lnTo>
                    <a:pt x="0" y="130"/>
                  </a:lnTo>
                  <a:close/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555">
              <a:extLst>
                <a:ext uri="{FF2B5EF4-FFF2-40B4-BE49-F238E27FC236}">
                  <a16:creationId xmlns:a16="http://schemas.microsoft.com/office/drawing/2014/main" id="{6DEC8BE4-F2C4-4C64-8785-1AF42D9D2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518" y="3725731"/>
              <a:ext cx="573935" cy="1121172"/>
            </a:xfrm>
            <a:custGeom>
              <a:avLst/>
              <a:gdLst>
                <a:gd name="T0" fmla="*/ 10 w 265"/>
                <a:gd name="T1" fmla="*/ 55 h 516"/>
                <a:gd name="T2" fmla="*/ 17 w 265"/>
                <a:gd name="T3" fmla="*/ 28 h 516"/>
                <a:gd name="T4" fmla="*/ 44 w 265"/>
                <a:gd name="T5" fmla="*/ 26 h 516"/>
                <a:gd name="T6" fmla="*/ 75 w 265"/>
                <a:gd name="T7" fmla="*/ 11 h 516"/>
                <a:gd name="T8" fmla="*/ 87 w 265"/>
                <a:gd name="T9" fmla="*/ 26 h 516"/>
                <a:gd name="T10" fmla="*/ 113 w 265"/>
                <a:gd name="T11" fmla="*/ 40 h 516"/>
                <a:gd name="T12" fmla="*/ 113 w 265"/>
                <a:gd name="T13" fmla="*/ 74 h 516"/>
                <a:gd name="T14" fmla="*/ 120 w 265"/>
                <a:gd name="T15" fmla="*/ 108 h 516"/>
                <a:gd name="T16" fmla="*/ 153 w 265"/>
                <a:gd name="T17" fmla="*/ 88 h 516"/>
                <a:gd name="T18" fmla="*/ 180 w 265"/>
                <a:gd name="T19" fmla="*/ 80 h 516"/>
                <a:gd name="T20" fmla="*/ 231 w 265"/>
                <a:gd name="T21" fmla="*/ 136 h 516"/>
                <a:gd name="T22" fmla="*/ 261 w 265"/>
                <a:gd name="T23" fmla="*/ 168 h 516"/>
                <a:gd name="T24" fmla="*/ 263 w 265"/>
                <a:gd name="T25" fmla="*/ 196 h 516"/>
                <a:gd name="T26" fmla="*/ 228 w 265"/>
                <a:gd name="T27" fmla="*/ 214 h 516"/>
                <a:gd name="T28" fmla="*/ 193 w 265"/>
                <a:gd name="T29" fmla="*/ 216 h 516"/>
                <a:gd name="T30" fmla="*/ 170 w 265"/>
                <a:gd name="T31" fmla="*/ 243 h 516"/>
                <a:gd name="T32" fmla="*/ 186 w 265"/>
                <a:gd name="T33" fmla="*/ 290 h 516"/>
                <a:gd name="T34" fmla="*/ 181 w 265"/>
                <a:gd name="T35" fmla="*/ 290 h 516"/>
                <a:gd name="T36" fmla="*/ 170 w 265"/>
                <a:gd name="T37" fmla="*/ 282 h 516"/>
                <a:gd name="T38" fmla="*/ 144 w 265"/>
                <a:gd name="T39" fmla="*/ 276 h 516"/>
                <a:gd name="T40" fmla="*/ 128 w 265"/>
                <a:gd name="T41" fmla="*/ 255 h 516"/>
                <a:gd name="T42" fmla="*/ 101 w 265"/>
                <a:gd name="T43" fmla="*/ 255 h 516"/>
                <a:gd name="T44" fmla="*/ 100 w 265"/>
                <a:gd name="T45" fmla="*/ 298 h 516"/>
                <a:gd name="T46" fmla="*/ 86 w 265"/>
                <a:gd name="T47" fmla="*/ 346 h 516"/>
                <a:gd name="T48" fmla="*/ 88 w 265"/>
                <a:gd name="T49" fmla="*/ 389 h 516"/>
                <a:gd name="T50" fmla="*/ 119 w 265"/>
                <a:gd name="T51" fmla="*/ 420 h 516"/>
                <a:gd name="T52" fmla="*/ 119 w 265"/>
                <a:gd name="T53" fmla="*/ 444 h 516"/>
                <a:gd name="T54" fmla="*/ 135 w 265"/>
                <a:gd name="T55" fmla="*/ 466 h 516"/>
                <a:gd name="T56" fmla="*/ 173 w 265"/>
                <a:gd name="T57" fmla="*/ 490 h 516"/>
                <a:gd name="T58" fmla="*/ 166 w 265"/>
                <a:gd name="T59" fmla="*/ 508 h 516"/>
                <a:gd name="T60" fmla="*/ 145 w 265"/>
                <a:gd name="T61" fmla="*/ 496 h 516"/>
                <a:gd name="T62" fmla="*/ 120 w 265"/>
                <a:gd name="T63" fmla="*/ 490 h 516"/>
                <a:gd name="T64" fmla="*/ 95 w 265"/>
                <a:gd name="T65" fmla="*/ 457 h 516"/>
                <a:gd name="T66" fmla="*/ 83 w 265"/>
                <a:gd name="T67" fmla="*/ 438 h 516"/>
                <a:gd name="T68" fmla="*/ 69 w 265"/>
                <a:gd name="T69" fmla="*/ 423 h 516"/>
                <a:gd name="T70" fmla="*/ 67 w 265"/>
                <a:gd name="T71" fmla="*/ 365 h 516"/>
                <a:gd name="T72" fmla="*/ 92 w 265"/>
                <a:gd name="T73" fmla="*/ 301 h 516"/>
                <a:gd name="T74" fmla="*/ 75 w 265"/>
                <a:gd name="T75" fmla="*/ 257 h 516"/>
                <a:gd name="T76" fmla="*/ 40 w 265"/>
                <a:gd name="T77" fmla="*/ 191 h 516"/>
                <a:gd name="T78" fmla="*/ 48 w 265"/>
                <a:gd name="T79" fmla="*/ 160 h 516"/>
                <a:gd name="T80" fmla="*/ 51 w 265"/>
                <a:gd name="T81" fmla="*/ 149 h 516"/>
                <a:gd name="T82" fmla="*/ 16 w 265"/>
                <a:gd name="T83" fmla="*/ 99 h 516"/>
                <a:gd name="T84" fmla="*/ 0 w 265"/>
                <a:gd name="T85" fmla="*/ 6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5" h="516">
                  <a:moveTo>
                    <a:pt x="0" y="69"/>
                  </a:moveTo>
                  <a:cubicBezTo>
                    <a:pt x="2" y="72"/>
                    <a:pt x="9" y="72"/>
                    <a:pt x="12" y="70"/>
                  </a:cubicBezTo>
                  <a:cubicBezTo>
                    <a:pt x="15" y="67"/>
                    <a:pt x="9" y="59"/>
                    <a:pt x="10" y="55"/>
                  </a:cubicBezTo>
                  <a:cubicBezTo>
                    <a:pt x="10" y="52"/>
                    <a:pt x="12" y="51"/>
                    <a:pt x="12" y="49"/>
                  </a:cubicBezTo>
                  <a:cubicBezTo>
                    <a:pt x="12" y="45"/>
                    <a:pt x="9" y="43"/>
                    <a:pt x="10" y="39"/>
                  </a:cubicBezTo>
                  <a:cubicBezTo>
                    <a:pt x="11" y="36"/>
                    <a:pt x="15" y="28"/>
                    <a:pt x="17" y="28"/>
                  </a:cubicBezTo>
                  <a:cubicBezTo>
                    <a:pt x="22" y="29"/>
                    <a:pt x="27" y="31"/>
                    <a:pt x="32" y="30"/>
                  </a:cubicBezTo>
                  <a:cubicBezTo>
                    <a:pt x="34" y="30"/>
                    <a:pt x="36" y="27"/>
                    <a:pt x="39" y="27"/>
                  </a:cubicBezTo>
                  <a:cubicBezTo>
                    <a:pt x="41" y="27"/>
                    <a:pt x="42" y="29"/>
                    <a:pt x="44" y="26"/>
                  </a:cubicBezTo>
                  <a:cubicBezTo>
                    <a:pt x="46" y="23"/>
                    <a:pt x="42" y="18"/>
                    <a:pt x="47" y="16"/>
                  </a:cubicBezTo>
                  <a:cubicBezTo>
                    <a:pt x="50" y="15"/>
                    <a:pt x="63" y="18"/>
                    <a:pt x="56" y="9"/>
                  </a:cubicBezTo>
                  <a:cubicBezTo>
                    <a:pt x="61" y="9"/>
                    <a:pt x="75" y="0"/>
                    <a:pt x="75" y="11"/>
                  </a:cubicBezTo>
                  <a:cubicBezTo>
                    <a:pt x="77" y="10"/>
                    <a:pt x="78" y="6"/>
                    <a:pt x="81" y="7"/>
                  </a:cubicBezTo>
                  <a:cubicBezTo>
                    <a:pt x="83" y="8"/>
                    <a:pt x="87" y="14"/>
                    <a:pt x="89" y="15"/>
                  </a:cubicBezTo>
                  <a:cubicBezTo>
                    <a:pt x="91" y="18"/>
                    <a:pt x="87" y="23"/>
                    <a:pt x="87" y="26"/>
                  </a:cubicBezTo>
                  <a:cubicBezTo>
                    <a:pt x="85" y="31"/>
                    <a:pt x="89" y="34"/>
                    <a:pt x="92" y="37"/>
                  </a:cubicBezTo>
                  <a:cubicBezTo>
                    <a:pt x="96" y="41"/>
                    <a:pt x="103" y="33"/>
                    <a:pt x="108" y="35"/>
                  </a:cubicBezTo>
                  <a:cubicBezTo>
                    <a:pt x="111" y="36"/>
                    <a:pt x="114" y="36"/>
                    <a:pt x="113" y="40"/>
                  </a:cubicBezTo>
                  <a:cubicBezTo>
                    <a:pt x="111" y="44"/>
                    <a:pt x="116" y="50"/>
                    <a:pt x="117" y="53"/>
                  </a:cubicBezTo>
                  <a:cubicBezTo>
                    <a:pt x="118" y="57"/>
                    <a:pt x="116" y="60"/>
                    <a:pt x="116" y="63"/>
                  </a:cubicBezTo>
                  <a:cubicBezTo>
                    <a:pt x="117" y="68"/>
                    <a:pt x="113" y="70"/>
                    <a:pt x="113" y="74"/>
                  </a:cubicBezTo>
                  <a:cubicBezTo>
                    <a:pt x="113" y="75"/>
                    <a:pt x="116" y="77"/>
                    <a:pt x="117" y="79"/>
                  </a:cubicBezTo>
                  <a:cubicBezTo>
                    <a:pt x="117" y="83"/>
                    <a:pt x="117" y="86"/>
                    <a:pt x="116" y="90"/>
                  </a:cubicBezTo>
                  <a:cubicBezTo>
                    <a:pt x="112" y="99"/>
                    <a:pt x="109" y="104"/>
                    <a:pt x="120" y="108"/>
                  </a:cubicBezTo>
                  <a:cubicBezTo>
                    <a:pt x="124" y="101"/>
                    <a:pt x="135" y="96"/>
                    <a:pt x="136" y="87"/>
                  </a:cubicBezTo>
                  <a:cubicBezTo>
                    <a:pt x="140" y="90"/>
                    <a:pt x="141" y="82"/>
                    <a:pt x="145" y="82"/>
                  </a:cubicBezTo>
                  <a:cubicBezTo>
                    <a:pt x="147" y="82"/>
                    <a:pt x="151" y="87"/>
                    <a:pt x="153" y="88"/>
                  </a:cubicBezTo>
                  <a:cubicBezTo>
                    <a:pt x="155" y="89"/>
                    <a:pt x="159" y="89"/>
                    <a:pt x="160" y="91"/>
                  </a:cubicBezTo>
                  <a:cubicBezTo>
                    <a:pt x="164" y="97"/>
                    <a:pt x="168" y="89"/>
                    <a:pt x="172" y="89"/>
                  </a:cubicBezTo>
                  <a:cubicBezTo>
                    <a:pt x="175" y="90"/>
                    <a:pt x="176" y="80"/>
                    <a:pt x="180" y="80"/>
                  </a:cubicBezTo>
                  <a:cubicBezTo>
                    <a:pt x="173" y="72"/>
                    <a:pt x="194" y="77"/>
                    <a:pt x="196" y="78"/>
                  </a:cubicBezTo>
                  <a:cubicBezTo>
                    <a:pt x="208" y="81"/>
                    <a:pt x="213" y="99"/>
                    <a:pt x="224" y="105"/>
                  </a:cubicBezTo>
                  <a:cubicBezTo>
                    <a:pt x="234" y="110"/>
                    <a:pt x="229" y="128"/>
                    <a:pt x="231" y="136"/>
                  </a:cubicBezTo>
                  <a:cubicBezTo>
                    <a:pt x="232" y="142"/>
                    <a:pt x="237" y="145"/>
                    <a:pt x="240" y="149"/>
                  </a:cubicBezTo>
                  <a:cubicBezTo>
                    <a:pt x="245" y="156"/>
                    <a:pt x="247" y="156"/>
                    <a:pt x="255" y="159"/>
                  </a:cubicBezTo>
                  <a:cubicBezTo>
                    <a:pt x="248" y="163"/>
                    <a:pt x="258" y="166"/>
                    <a:pt x="261" y="168"/>
                  </a:cubicBezTo>
                  <a:cubicBezTo>
                    <a:pt x="264" y="171"/>
                    <a:pt x="258" y="182"/>
                    <a:pt x="262" y="182"/>
                  </a:cubicBezTo>
                  <a:cubicBezTo>
                    <a:pt x="261" y="184"/>
                    <a:pt x="258" y="187"/>
                    <a:pt x="260" y="190"/>
                  </a:cubicBezTo>
                  <a:cubicBezTo>
                    <a:pt x="261" y="192"/>
                    <a:pt x="264" y="193"/>
                    <a:pt x="263" y="196"/>
                  </a:cubicBezTo>
                  <a:cubicBezTo>
                    <a:pt x="263" y="202"/>
                    <a:pt x="265" y="209"/>
                    <a:pt x="258" y="214"/>
                  </a:cubicBezTo>
                  <a:cubicBezTo>
                    <a:pt x="254" y="216"/>
                    <a:pt x="251" y="222"/>
                    <a:pt x="248" y="216"/>
                  </a:cubicBezTo>
                  <a:cubicBezTo>
                    <a:pt x="244" y="209"/>
                    <a:pt x="234" y="216"/>
                    <a:pt x="228" y="214"/>
                  </a:cubicBezTo>
                  <a:cubicBezTo>
                    <a:pt x="225" y="213"/>
                    <a:pt x="221" y="214"/>
                    <a:pt x="217" y="215"/>
                  </a:cubicBezTo>
                  <a:cubicBezTo>
                    <a:pt x="213" y="216"/>
                    <a:pt x="212" y="213"/>
                    <a:pt x="208" y="213"/>
                  </a:cubicBezTo>
                  <a:cubicBezTo>
                    <a:pt x="203" y="212"/>
                    <a:pt x="197" y="215"/>
                    <a:pt x="193" y="216"/>
                  </a:cubicBezTo>
                  <a:cubicBezTo>
                    <a:pt x="186" y="219"/>
                    <a:pt x="185" y="227"/>
                    <a:pt x="182" y="233"/>
                  </a:cubicBezTo>
                  <a:cubicBezTo>
                    <a:pt x="180" y="235"/>
                    <a:pt x="176" y="238"/>
                    <a:pt x="176" y="241"/>
                  </a:cubicBezTo>
                  <a:cubicBezTo>
                    <a:pt x="177" y="244"/>
                    <a:pt x="172" y="243"/>
                    <a:pt x="170" y="243"/>
                  </a:cubicBezTo>
                  <a:cubicBezTo>
                    <a:pt x="172" y="249"/>
                    <a:pt x="173" y="255"/>
                    <a:pt x="175" y="261"/>
                  </a:cubicBezTo>
                  <a:cubicBezTo>
                    <a:pt x="177" y="266"/>
                    <a:pt x="177" y="273"/>
                    <a:pt x="182" y="276"/>
                  </a:cubicBezTo>
                  <a:cubicBezTo>
                    <a:pt x="187" y="280"/>
                    <a:pt x="186" y="284"/>
                    <a:pt x="186" y="290"/>
                  </a:cubicBezTo>
                  <a:cubicBezTo>
                    <a:pt x="187" y="297"/>
                    <a:pt x="195" y="302"/>
                    <a:pt x="193" y="309"/>
                  </a:cubicBezTo>
                  <a:cubicBezTo>
                    <a:pt x="193" y="306"/>
                    <a:pt x="190" y="304"/>
                    <a:pt x="189" y="301"/>
                  </a:cubicBezTo>
                  <a:cubicBezTo>
                    <a:pt x="187" y="297"/>
                    <a:pt x="187" y="292"/>
                    <a:pt x="181" y="290"/>
                  </a:cubicBezTo>
                  <a:cubicBezTo>
                    <a:pt x="181" y="292"/>
                    <a:pt x="181" y="293"/>
                    <a:pt x="181" y="295"/>
                  </a:cubicBezTo>
                  <a:cubicBezTo>
                    <a:pt x="180" y="291"/>
                    <a:pt x="167" y="289"/>
                    <a:pt x="174" y="284"/>
                  </a:cubicBezTo>
                  <a:cubicBezTo>
                    <a:pt x="172" y="286"/>
                    <a:pt x="171" y="284"/>
                    <a:pt x="170" y="282"/>
                  </a:cubicBezTo>
                  <a:cubicBezTo>
                    <a:pt x="170" y="289"/>
                    <a:pt x="163" y="279"/>
                    <a:pt x="161" y="276"/>
                  </a:cubicBezTo>
                  <a:cubicBezTo>
                    <a:pt x="161" y="282"/>
                    <a:pt x="157" y="270"/>
                    <a:pt x="152" y="273"/>
                  </a:cubicBezTo>
                  <a:cubicBezTo>
                    <a:pt x="150" y="274"/>
                    <a:pt x="147" y="276"/>
                    <a:pt x="144" y="276"/>
                  </a:cubicBezTo>
                  <a:cubicBezTo>
                    <a:pt x="141" y="275"/>
                    <a:pt x="136" y="273"/>
                    <a:pt x="133" y="274"/>
                  </a:cubicBezTo>
                  <a:cubicBezTo>
                    <a:pt x="125" y="276"/>
                    <a:pt x="129" y="268"/>
                    <a:pt x="129" y="263"/>
                  </a:cubicBezTo>
                  <a:cubicBezTo>
                    <a:pt x="128" y="261"/>
                    <a:pt x="128" y="258"/>
                    <a:pt x="128" y="255"/>
                  </a:cubicBezTo>
                  <a:cubicBezTo>
                    <a:pt x="128" y="252"/>
                    <a:pt x="130" y="249"/>
                    <a:pt x="130" y="245"/>
                  </a:cubicBezTo>
                  <a:cubicBezTo>
                    <a:pt x="126" y="248"/>
                    <a:pt x="118" y="245"/>
                    <a:pt x="117" y="242"/>
                  </a:cubicBezTo>
                  <a:cubicBezTo>
                    <a:pt x="118" y="249"/>
                    <a:pt x="94" y="242"/>
                    <a:pt x="101" y="255"/>
                  </a:cubicBezTo>
                  <a:cubicBezTo>
                    <a:pt x="105" y="261"/>
                    <a:pt x="102" y="265"/>
                    <a:pt x="101" y="271"/>
                  </a:cubicBezTo>
                  <a:cubicBezTo>
                    <a:pt x="100" y="278"/>
                    <a:pt x="105" y="284"/>
                    <a:pt x="104" y="291"/>
                  </a:cubicBezTo>
                  <a:cubicBezTo>
                    <a:pt x="103" y="294"/>
                    <a:pt x="101" y="296"/>
                    <a:pt x="100" y="298"/>
                  </a:cubicBezTo>
                  <a:cubicBezTo>
                    <a:pt x="98" y="301"/>
                    <a:pt x="99" y="304"/>
                    <a:pt x="97" y="307"/>
                  </a:cubicBezTo>
                  <a:cubicBezTo>
                    <a:pt x="94" y="312"/>
                    <a:pt x="93" y="320"/>
                    <a:pt x="92" y="326"/>
                  </a:cubicBezTo>
                  <a:cubicBezTo>
                    <a:pt x="90" y="334"/>
                    <a:pt x="89" y="339"/>
                    <a:pt x="86" y="346"/>
                  </a:cubicBezTo>
                  <a:cubicBezTo>
                    <a:pt x="85" y="348"/>
                    <a:pt x="87" y="355"/>
                    <a:pt x="83" y="354"/>
                  </a:cubicBezTo>
                  <a:cubicBezTo>
                    <a:pt x="88" y="360"/>
                    <a:pt x="82" y="372"/>
                    <a:pt x="86" y="380"/>
                  </a:cubicBezTo>
                  <a:cubicBezTo>
                    <a:pt x="87" y="383"/>
                    <a:pt x="89" y="386"/>
                    <a:pt x="88" y="389"/>
                  </a:cubicBezTo>
                  <a:cubicBezTo>
                    <a:pt x="86" y="394"/>
                    <a:pt x="93" y="394"/>
                    <a:pt x="95" y="393"/>
                  </a:cubicBezTo>
                  <a:cubicBezTo>
                    <a:pt x="103" y="389"/>
                    <a:pt x="108" y="389"/>
                    <a:pt x="109" y="400"/>
                  </a:cubicBezTo>
                  <a:cubicBezTo>
                    <a:pt x="109" y="403"/>
                    <a:pt x="114" y="428"/>
                    <a:pt x="119" y="420"/>
                  </a:cubicBezTo>
                  <a:cubicBezTo>
                    <a:pt x="122" y="427"/>
                    <a:pt x="123" y="435"/>
                    <a:pt x="125" y="442"/>
                  </a:cubicBezTo>
                  <a:cubicBezTo>
                    <a:pt x="127" y="448"/>
                    <a:pt x="130" y="455"/>
                    <a:pt x="130" y="462"/>
                  </a:cubicBezTo>
                  <a:cubicBezTo>
                    <a:pt x="126" y="461"/>
                    <a:pt x="125" y="440"/>
                    <a:pt x="119" y="444"/>
                  </a:cubicBezTo>
                  <a:cubicBezTo>
                    <a:pt x="116" y="447"/>
                    <a:pt x="121" y="455"/>
                    <a:pt x="123" y="457"/>
                  </a:cubicBezTo>
                  <a:cubicBezTo>
                    <a:pt x="125" y="459"/>
                    <a:pt x="127" y="461"/>
                    <a:pt x="129" y="463"/>
                  </a:cubicBezTo>
                  <a:cubicBezTo>
                    <a:pt x="131" y="465"/>
                    <a:pt x="133" y="464"/>
                    <a:pt x="135" y="466"/>
                  </a:cubicBezTo>
                  <a:cubicBezTo>
                    <a:pt x="139" y="470"/>
                    <a:pt x="140" y="474"/>
                    <a:pt x="147" y="474"/>
                  </a:cubicBezTo>
                  <a:cubicBezTo>
                    <a:pt x="152" y="474"/>
                    <a:pt x="158" y="472"/>
                    <a:pt x="162" y="476"/>
                  </a:cubicBezTo>
                  <a:cubicBezTo>
                    <a:pt x="167" y="479"/>
                    <a:pt x="168" y="486"/>
                    <a:pt x="173" y="490"/>
                  </a:cubicBezTo>
                  <a:cubicBezTo>
                    <a:pt x="178" y="495"/>
                    <a:pt x="181" y="497"/>
                    <a:pt x="179" y="503"/>
                  </a:cubicBezTo>
                  <a:cubicBezTo>
                    <a:pt x="177" y="506"/>
                    <a:pt x="175" y="512"/>
                    <a:pt x="172" y="513"/>
                  </a:cubicBezTo>
                  <a:cubicBezTo>
                    <a:pt x="169" y="514"/>
                    <a:pt x="168" y="509"/>
                    <a:pt x="166" y="508"/>
                  </a:cubicBezTo>
                  <a:cubicBezTo>
                    <a:pt x="160" y="506"/>
                    <a:pt x="157" y="516"/>
                    <a:pt x="153" y="516"/>
                  </a:cubicBezTo>
                  <a:cubicBezTo>
                    <a:pt x="146" y="516"/>
                    <a:pt x="148" y="509"/>
                    <a:pt x="150" y="505"/>
                  </a:cubicBezTo>
                  <a:cubicBezTo>
                    <a:pt x="153" y="501"/>
                    <a:pt x="148" y="497"/>
                    <a:pt x="145" y="496"/>
                  </a:cubicBezTo>
                  <a:cubicBezTo>
                    <a:pt x="140" y="495"/>
                    <a:pt x="142" y="489"/>
                    <a:pt x="136" y="488"/>
                  </a:cubicBezTo>
                  <a:cubicBezTo>
                    <a:pt x="131" y="487"/>
                    <a:pt x="128" y="487"/>
                    <a:pt x="125" y="483"/>
                  </a:cubicBezTo>
                  <a:cubicBezTo>
                    <a:pt x="120" y="476"/>
                    <a:pt x="122" y="487"/>
                    <a:pt x="120" y="490"/>
                  </a:cubicBezTo>
                  <a:cubicBezTo>
                    <a:pt x="119" y="482"/>
                    <a:pt x="99" y="474"/>
                    <a:pt x="107" y="465"/>
                  </a:cubicBezTo>
                  <a:cubicBezTo>
                    <a:pt x="100" y="469"/>
                    <a:pt x="103" y="459"/>
                    <a:pt x="100" y="457"/>
                  </a:cubicBezTo>
                  <a:cubicBezTo>
                    <a:pt x="100" y="461"/>
                    <a:pt x="96" y="460"/>
                    <a:pt x="95" y="457"/>
                  </a:cubicBezTo>
                  <a:cubicBezTo>
                    <a:pt x="93" y="454"/>
                    <a:pt x="93" y="449"/>
                    <a:pt x="90" y="446"/>
                  </a:cubicBezTo>
                  <a:cubicBezTo>
                    <a:pt x="89" y="445"/>
                    <a:pt x="85" y="447"/>
                    <a:pt x="84" y="444"/>
                  </a:cubicBezTo>
                  <a:cubicBezTo>
                    <a:pt x="84" y="441"/>
                    <a:pt x="85" y="440"/>
                    <a:pt x="83" y="438"/>
                  </a:cubicBezTo>
                  <a:cubicBezTo>
                    <a:pt x="81" y="435"/>
                    <a:pt x="81" y="435"/>
                    <a:pt x="77" y="434"/>
                  </a:cubicBezTo>
                  <a:cubicBezTo>
                    <a:pt x="75" y="434"/>
                    <a:pt x="75" y="430"/>
                    <a:pt x="75" y="428"/>
                  </a:cubicBezTo>
                  <a:cubicBezTo>
                    <a:pt x="74" y="426"/>
                    <a:pt x="72" y="422"/>
                    <a:pt x="69" y="423"/>
                  </a:cubicBezTo>
                  <a:cubicBezTo>
                    <a:pt x="65" y="424"/>
                    <a:pt x="66" y="427"/>
                    <a:pt x="65" y="430"/>
                  </a:cubicBezTo>
                  <a:cubicBezTo>
                    <a:pt x="56" y="428"/>
                    <a:pt x="58" y="414"/>
                    <a:pt x="59" y="407"/>
                  </a:cubicBezTo>
                  <a:cubicBezTo>
                    <a:pt x="61" y="393"/>
                    <a:pt x="64" y="379"/>
                    <a:pt x="67" y="365"/>
                  </a:cubicBezTo>
                  <a:cubicBezTo>
                    <a:pt x="68" y="359"/>
                    <a:pt x="72" y="352"/>
                    <a:pt x="72" y="347"/>
                  </a:cubicBezTo>
                  <a:cubicBezTo>
                    <a:pt x="72" y="341"/>
                    <a:pt x="75" y="340"/>
                    <a:pt x="77" y="335"/>
                  </a:cubicBezTo>
                  <a:cubicBezTo>
                    <a:pt x="80" y="328"/>
                    <a:pt x="98" y="309"/>
                    <a:pt x="92" y="301"/>
                  </a:cubicBezTo>
                  <a:cubicBezTo>
                    <a:pt x="90" y="298"/>
                    <a:pt x="87" y="289"/>
                    <a:pt x="86" y="285"/>
                  </a:cubicBezTo>
                  <a:cubicBezTo>
                    <a:pt x="85" y="279"/>
                    <a:pt x="83" y="277"/>
                    <a:pt x="80" y="272"/>
                  </a:cubicBezTo>
                  <a:cubicBezTo>
                    <a:pt x="78" y="269"/>
                    <a:pt x="74" y="261"/>
                    <a:pt x="75" y="257"/>
                  </a:cubicBezTo>
                  <a:cubicBezTo>
                    <a:pt x="76" y="249"/>
                    <a:pt x="76" y="244"/>
                    <a:pt x="72" y="236"/>
                  </a:cubicBezTo>
                  <a:cubicBezTo>
                    <a:pt x="67" y="224"/>
                    <a:pt x="55" y="216"/>
                    <a:pt x="47" y="206"/>
                  </a:cubicBezTo>
                  <a:cubicBezTo>
                    <a:pt x="44" y="201"/>
                    <a:pt x="40" y="197"/>
                    <a:pt x="40" y="191"/>
                  </a:cubicBezTo>
                  <a:cubicBezTo>
                    <a:pt x="39" y="188"/>
                    <a:pt x="40" y="180"/>
                    <a:pt x="45" y="184"/>
                  </a:cubicBezTo>
                  <a:cubicBezTo>
                    <a:pt x="44" y="180"/>
                    <a:pt x="49" y="181"/>
                    <a:pt x="50" y="178"/>
                  </a:cubicBezTo>
                  <a:cubicBezTo>
                    <a:pt x="51" y="174"/>
                    <a:pt x="49" y="165"/>
                    <a:pt x="48" y="160"/>
                  </a:cubicBezTo>
                  <a:cubicBezTo>
                    <a:pt x="47" y="153"/>
                    <a:pt x="53" y="157"/>
                    <a:pt x="55" y="153"/>
                  </a:cubicBezTo>
                  <a:cubicBezTo>
                    <a:pt x="57" y="150"/>
                    <a:pt x="57" y="145"/>
                    <a:pt x="54" y="142"/>
                  </a:cubicBezTo>
                  <a:cubicBezTo>
                    <a:pt x="54" y="145"/>
                    <a:pt x="52" y="147"/>
                    <a:pt x="51" y="149"/>
                  </a:cubicBezTo>
                  <a:cubicBezTo>
                    <a:pt x="46" y="143"/>
                    <a:pt x="45" y="135"/>
                    <a:pt x="43" y="128"/>
                  </a:cubicBezTo>
                  <a:cubicBezTo>
                    <a:pt x="41" y="124"/>
                    <a:pt x="35" y="119"/>
                    <a:pt x="31" y="116"/>
                  </a:cubicBezTo>
                  <a:cubicBezTo>
                    <a:pt x="26" y="110"/>
                    <a:pt x="20" y="105"/>
                    <a:pt x="16" y="99"/>
                  </a:cubicBezTo>
                  <a:cubicBezTo>
                    <a:pt x="14" y="95"/>
                    <a:pt x="15" y="92"/>
                    <a:pt x="14" y="89"/>
                  </a:cubicBezTo>
                  <a:cubicBezTo>
                    <a:pt x="13" y="86"/>
                    <a:pt x="9" y="83"/>
                    <a:pt x="10" y="79"/>
                  </a:cubicBezTo>
                  <a:cubicBezTo>
                    <a:pt x="4" y="81"/>
                    <a:pt x="1" y="73"/>
                    <a:pt x="0" y="6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Freeform 556">
              <a:extLst>
                <a:ext uri="{FF2B5EF4-FFF2-40B4-BE49-F238E27FC236}">
                  <a16:creationId xmlns:a16="http://schemas.microsoft.com/office/drawing/2014/main" id="{C2F6C73C-597A-4531-805D-E8CDEE814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518" y="3725731"/>
              <a:ext cx="573935" cy="1121172"/>
            </a:xfrm>
            <a:custGeom>
              <a:avLst/>
              <a:gdLst>
                <a:gd name="T0" fmla="*/ 10 w 265"/>
                <a:gd name="T1" fmla="*/ 55 h 516"/>
                <a:gd name="T2" fmla="*/ 17 w 265"/>
                <a:gd name="T3" fmla="*/ 28 h 516"/>
                <a:gd name="T4" fmla="*/ 44 w 265"/>
                <a:gd name="T5" fmla="*/ 26 h 516"/>
                <a:gd name="T6" fmla="*/ 75 w 265"/>
                <a:gd name="T7" fmla="*/ 11 h 516"/>
                <a:gd name="T8" fmla="*/ 87 w 265"/>
                <a:gd name="T9" fmla="*/ 26 h 516"/>
                <a:gd name="T10" fmla="*/ 113 w 265"/>
                <a:gd name="T11" fmla="*/ 40 h 516"/>
                <a:gd name="T12" fmla="*/ 113 w 265"/>
                <a:gd name="T13" fmla="*/ 74 h 516"/>
                <a:gd name="T14" fmla="*/ 120 w 265"/>
                <a:gd name="T15" fmla="*/ 108 h 516"/>
                <a:gd name="T16" fmla="*/ 153 w 265"/>
                <a:gd name="T17" fmla="*/ 88 h 516"/>
                <a:gd name="T18" fmla="*/ 180 w 265"/>
                <a:gd name="T19" fmla="*/ 80 h 516"/>
                <a:gd name="T20" fmla="*/ 231 w 265"/>
                <a:gd name="T21" fmla="*/ 136 h 516"/>
                <a:gd name="T22" fmla="*/ 261 w 265"/>
                <a:gd name="T23" fmla="*/ 168 h 516"/>
                <a:gd name="T24" fmla="*/ 263 w 265"/>
                <a:gd name="T25" fmla="*/ 196 h 516"/>
                <a:gd name="T26" fmla="*/ 228 w 265"/>
                <a:gd name="T27" fmla="*/ 214 h 516"/>
                <a:gd name="T28" fmla="*/ 193 w 265"/>
                <a:gd name="T29" fmla="*/ 216 h 516"/>
                <a:gd name="T30" fmla="*/ 170 w 265"/>
                <a:gd name="T31" fmla="*/ 243 h 516"/>
                <a:gd name="T32" fmla="*/ 186 w 265"/>
                <a:gd name="T33" fmla="*/ 290 h 516"/>
                <a:gd name="T34" fmla="*/ 181 w 265"/>
                <a:gd name="T35" fmla="*/ 290 h 516"/>
                <a:gd name="T36" fmla="*/ 170 w 265"/>
                <a:gd name="T37" fmla="*/ 282 h 516"/>
                <a:gd name="T38" fmla="*/ 144 w 265"/>
                <a:gd name="T39" fmla="*/ 276 h 516"/>
                <a:gd name="T40" fmla="*/ 128 w 265"/>
                <a:gd name="T41" fmla="*/ 255 h 516"/>
                <a:gd name="T42" fmla="*/ 101 w 265"/>
                <a:gd name="T43" fmla="*/ 255 h 516"/>
                <a:gd name="T44" fmla="*/ 100 w 265"/>
                <a:gd name="T45" fmla="*/ 298 h 516"/>
                <a:gd name="T46" fmla="*/ 86 w 265"/>
                <a:gd name="T47" fmla="*/ 346 h 516"/>
                <a:gd name="T48" fmla="*/ 88 w 265"/>
                <a:gd name="T49" fmla="*/ 389 h 516"/>
                <a:gd name="T50" fmla="*/ 119 w 265"/>
                <a:gd name="T51" fmla="*/ 420 h 516"/>
                <a:gd name="T52" fmla="*/ 119 w 265"/>
                <a:gd name="T53" fmla="*/ 444 h 516"/>
                <a:gd name="T54" fmla="*/ 135 w 265"/>
                <a:gd name="T55" fmla="*/ 466 h 516"/>
                <a:gd name="T56" fmla="*/ 173 w 265"/>
                <a:gd name="T57" fmla="*/ 490 h 516"/>
                <a:gd name="T58" fmla="*/ 166 w 265"/>
                <a:gd name="T59" fmla="*/ 508 h 516"/>
                <a:gd name="T60" fmla="*/ 145 w 265"/>
                <a:gd name="T61" fmla="*/ 496 h 516"/>
                <a:gd name="T62" fmla="*/ 120 w 265"/>
                <a:gd name="T63" fmla="*/ 490 h 516"/>
                <a:gd name="T64" fmla="*/ 95 w 265"/>
                <a:gd name="T65" fmla="*/ 457 h 516"/>
                <a:gd name="T66" fmla="*/ 83 w 265"/>
                <a:gd name="T67" fmla="*/ 438 h 516"/>
                <a:gd name="T68" fmla="*/ 69 w 265"/>
                <a:gd name="T69" fmla="*/ 423 h 516"/>
                <a:gd name="T70" fmla="*/ 67 w 265"/>
                <a:gd name="T71" fmla="*/ 365 h 516"/>
                <a:gd name="T72" fmla="*/ 92 w 265"/>
                <a:gd name="T73" fmla="*/ 301 h 516"/>
                <a:gd name="T74" fmla="*/ 75 w 265"/>
                <a:gd name="T75" fmla="*/ 257 h 516"/>
                <a:gd name="T76" fmla="*/ 40 w 265"/>
                <a:gd name="T77" fmla="*/ 191 h 516"/>
                <a:gd name="T78" fmla="*/ 48 w 265"/>
                <a:gd name="T79" fmla="*/ 160 h 516"/>
                <a:gd name="T80" fmla="*/ 51 w 265"/>
                <a:gd name="T81" fmla="*/ 149 h 516"/>
                <a:gd name="T82" fmla="*/ 16 w 265"/>
                <a:gd name="T83" fmla="*/ 99 h 516"/>
                <a:gd name="T84" fmla="*/ 0 w 265"/>
                <a:gd name="T85" fmla="*/ 6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5" h="516">
                  <a:moveTo>
                    <a:pt x="0" y="69"/>
                  </a:moveTo>
                  <a:cubicBezTo>
                    <a:pt x="2" y="72"/>
                    <a:pt x="9" y="72"/>
                    <a:pt x="12" y="70"/>
                  </a:cubicBezTo>
                  <a:cubicBezTo>
                    <a:pt x="15" y="67"/>
                    <a:pt x="9" y="59"/>
                    <a:pt x="10" y="55"/>
                  </a:cubicBezTo>
                  <a:cubicBezTo>
                    <a:pt x="10" y="52"/>
                    <a:pt x="12" y="51"/>
                    <a:pt x="12" y="49"/>
                  </a:cubicBezTo>
                  <a:cubicBezTo>
                    <a:pt x="12" y="45"/>
                    <a:pt x="9" y="43"/>
                    <a:pt x="10" y="39"/>
                  </a:cubicBezTo>
                  <a:cubicBezTo>
                    <a:pt x="11" y="36"/>
                    <a:pt x="15" y="28"/>
                    <a:pt x="17" y="28"/>
                  </a:cubicBezTo>
                  <a:cubicBezTo>
                    <a:pt x="22" y="29"/>
                    <a:pt x="27" y="31"/>
                    <a:pt x="32" y="30"/>
                  </a:cubicBezTo>
                  <a:cubicBezTo>
                    <a:pt x="34" y="30"/>
                    <a:pt x="36" y="27"/>
                    <a:pt x="39" y="27"/>
                  </a:cubicBezTo>
                  <a:cubicBezTo>
                    <a:pt x="41" y="27"/>
                    <a:pt x="42" y="29"/>
                    <a:pt x="44" y="26"/>
                  </a:cubicBezTo>
                  <a:cubicBezTo>
                    <a:pt x="46" y="23"/>
                    <a:pt x="42" y="18"/>
                    <a:pt x="47" y="16"/>
                  </a:cubicBezTo>
                  <a:cubicBezTo>
                    <a:pt x="50" y="15"/>
                    <a:pt x="63" y="18"/>
                    <a:pt x="56" y="9"/>
                  </a:cubicBezTo>
                  <a:cubicBezTo>
                    <a:pt x="61" y="9"/>
                    <a:pt x="75" y="0"/>
                    <a:pt x="75" y="11"/>
                  </a:cubicBezTo>
                  <a:cubicBezTo>
                    <a:pt x="77" y="10"/>
                    <a:pt x="78" y="6"/>
                    <a:pt x="81" y="7"/>
                  </a:cubicBezTo>
                  <a:cubicBezTo>
                    <a:pt x="83" y="8"/>
                    <a:pt x="87" y="14"/>
                    <a:pt x="89" y="15"/>
                  </a:cubicBezTo>
                  <a:cubicBezTo>
                    <a:pt x="91" y="18"/>
                    <a:pt x="87" y="23"/>
                    <a:pt x="87" y="26"/>
                  </a:cubicBezTo>
                  <a:cubicBezTo>
                    <a:pt x="85" y="31"/>
                    <a:pt x="89" y="34"/>
                    <a:pt x="92" y="37"/>
                  </a:cubicBezTo>
                  <a:cubicBezTo>
                    <a:pt x="96" y="41"/>
                    <a:pt x="103" y="33"/>
                    <a:pt x="108" y="35"/>
                  </a:cubicBezTo>
                  <a:cubicBezTo>
                    <a:pt x="111" y="36"/>
                    <a:pt x="114" y="36"/>
                    <a:pt x="113" y="40"/>
                  </a:cubicBezTo>
                  <a:cubicBezTo>
                    <a:pt x="111" y="44"/>
                    <a:pt x="116" y="50"/>
                    <a:pt x="117" y="53"/>
                  </a:cubicBezTo>
                  <a:cubicBezTo>
                    <a:pt x="118" y="57"/>
                    <a:pt x="116" y="60"/>
                    <a:pt x="116" y="63"/>
                  </a:cubicBezTo>
                  <a:cubicBezTo>
                    <a:pt x="117" y="68"/>
                    <a:pt x="113" y="70"/>
                    <a:pt x="113" y="74"/>
                  </a:cubicBezTo>
                  <a:cubicBezTo>
                    <a:pt x="113" y="75"/>
                    <a:pt x="116" y="77"/>
                    <a:pt x="117" y="79"/>
                  </a:cubicBezTo>
                  <a:cubicBezTo>
                    <a:pt x="117" y="83"/>
                    <a:pt x="117" y="86"/>
                    <a:pt x="116" y="90"/>
                  </a:cubicBezTo>
                  <a:cubicBezTo>
                    <a:pt x="112" y="99"/>
                    <a:pt x="109" y="104"/>
                    <a:pt x="120" y="108"/>
                  </a:cubicBezTo>
                  <a:cubicBezTo>
                    <a:pt x="124" y="101"/>
                    <a:pt x="135" y="96"/>
                    <a:pt x="136" y="87"/>
                  </a:cubicBezTo>
                  <a:cubicBezTo>
                    <a:pt x="140" y="90"/>
                    <a:pt x="141" y="82"/>
                    <a:pt x="145" y="82"/>
                  </a:cubicBezTo>
                  <a:cubicBezTo>
                    <a:pt x="147" y="82"/>
                    <a:pt x="151" y="87"/>
                    <a:pt x="153" y="88"/>
                  </a:cubicBezTo>
                  <a:cubicBezTo>
                    <a:pt x="155" y="89"/>
                    <a:pt x="159" y="89"/>
                    <a:pt x="160" y="91"/>
                  </a:cubicBezTo>
                  <a:cubicBezTo>
                    <a:pt x="164" y="97"/>
                    <a:pt x="168" y="89"/>
                    <a:pt x="172" y="89"/>
                  </a:cubicBezTo>
                  <a:cubicBezTo>
                    <a:pt x="175" y="90"/>
                    <a:pt x="176" y="80"/>
                    <a:pt x="180" y="80"/>
                  </a:cubicBezTo>
                  <a:cubicBezTo>
                    <a:pt x="173" y="72"/>
                    <a:pt x="194" y="77"/>
                    <a:pt x="196" y="78"/>
                  </a:cubicBezTo>
                  <a:cubicBezTo>
                    <a:pt x="208" y="81"/>
                    <a:pt x="213" y="99"/>
                    <a:pt x="224" y="105"/>
                  </a:cubicBezTo>
                  <a:cubicBezTo>
                    <a:pt x="234" y="110"/>
                    <a:pt x="229" y="128"/>
                    <a:pt x="231" y="136"/>
                  </a:cubicBezTo>
                  <a:cubicBezTo>
                    <a:pt x="232" y="142"/>
                    <a:pt x="237" y="145"/>
                    <a:pt x="240" y="149"/>
                  </a:cubicBezTo>
                  <a:cubicBezTo>
                    <a:pt x="245" y="156"/>
                    <a:pt x="247" y="156"/>
                    <a:pt x="255" y="159"/>
                  </a:cubicBezTo>
                  <a:cubicBezTo>
                    <a:pt x="248" y="163"/>
                    <a:pt x="258" y="166"/>
                    <a:pt x="261" y="168"/>
                  </a:cubicBezTo>
                  <a:cubicBezTo>
                    <a:pt x="264" y="171"/>
                    <a:pt x="258" y="182"/>
                    <a:pt x="262" y="182"/>
                  </a:cubicBezTo>
                  <a:cubicBezTo>
                    <a:pt x="261" y="184"/>
                    <a:pt x="258" y="187"/>
                    <a:pt x="260" y="190"/>
                  </a:cubicBezTo>
                  <a:cubicBezTo>
                    <a:pt x="261" y="192"/>
                    <a:pt x="264" y="193"/>
                    <a:pt x="263" y="196"/>
                  </a:cubicBezTo>
                  <a:cubicBezTo>
                    <a:pt x="263" y="202"/>
                    <a:pt x="265" y="209"/>
                    <a:pt x="258" y="214"/>
                  </a:cubicBezTo>
                  <a:cubicBezTo>
                    <a:pt x="254" y="216"/>
                    <a:pt x="251" y="222"/>
                    <a:pt x="248" y="216"/>
                  </a:cubicBezTo>
                  <a:cubicBezTo>
                    <a:pt x="244" y="209"/>
                    <a:pt x="234" y="216"/>
                    <a:pt x="228" y="214"/>
                  </a:cubicBezTo>
                  <a:cubicBezTo>
                    <a:pt x="225" y="213"/>
                    <a:pt x="221" y="214"/>
                    <a:pt x="217" y="215"/>
                  </a:cubicBezTo>
                  <a:cubicBezTo>
                    <a:pt x="213" y="216"/>
                    <a:pt x="212" y="213"/>
                    <a:pt x="208" y="213"/>
                  </a:cubicBezTo>
                  <a:cubicBezTo>
                    <a:pt x="203" y="212"/>
                    <a:pt x="197" y="215"/>
                    <a:pt x="193" y="216"/>
                  </a:cubicBezTo>
                  <a:cubicBezTo>
                    <a:pt x="186" y="219"/>
                    <a:pt x="185" y="227"/>
                    <a:pt x="182" y="233"/>
                  </a:cubicBezTo>
                  <a:cubicBezTo>
                    <a:pt x="180" y="235"/>
                    <a:pt x="176" y="238"/>
                    <a:pt x="176" y="241"/>
                  </a:cubicBezTo>
                  <a:cubicBezTo>
                    <a:pt x="177" y="244"/>
                    <a:pt x="172" y="243"/>
                    <a:pt x="170" y="243"/>
                  </a:cubicBezTo>
                  <a:cubicBezTo>
                    <a:pt x="172" y="249"/>
                    <a:pt x="173" y="255"/>
                    <a:pt x="175" y="261"/>
                  </a:cubicBezTo>
                  <a:cubicBezTo>
                    <a:pt x="177" y="266"/>
                    <a:pt x="177" y="273"/>
                    <a:pt x="182" y="276"/>
                  </a:cubicBezTo>
                  <a:cubicBezTo>
                    <a:pt x="187" y="280"/>
                    <a:pt x="186" y="284"/>
                    <a:pt x="186" y="290"/>
                  </a:cubicBezTo>
                  <a:cubicBezTo>
                    <a:pt x="187" y="297"/>
                    <a:pt x="195" y="302"/>
                    <a:pt x="193" y="309"/>
                  </a:cubicBezTo>
                  <a:cubicBezTo>
                    <a:pt x="193" y="306"/>
                    <a:pt x="190" y="304"/>
                    <a:pt x="189" y="301"/>
                  </a:cubicBezTo>
                  <a:cubicBezTo>
                    <a:pt x="187" y="297"/>
                    <a:pt x="187" y="292"/>
                    <a:pt x="181" y="290"/>
                  </a:cubicBezTo>
                  <a:cubicBezTo>
                    <a:pt x="181" y="292"/>
                    <a:pt x="181" y="293"/>
                    <a:pt x="181" y="295"/>
                  </a:cubicBezTo>
                  <a:cubicBezTo>
                    <a:pt x="180" y="291"/>
                    <a:pt x="167" y="289"/>
                    <a:pt x="174" y="284"/>
                  </a:cubicBezTo>
                  <a:cubicBezTo>
                    <a:pt x="172" y="286"/>
                    <a:pt x="171" y="284"/>
                    <a:pt x="170" y="282"/>
                  </a:cubicBezTo>
                  <a:cubicBezTo>
                    <a:pt x="170" y="289"/>
                    <a:pt x="163" y="279"/>
                    <a:pt x="161" y="276"/>
                  </a:cubicBezTo>
                  <a:cubicBezTo>
                    <a:pt x="161" y="282"/>
                    <a:pt x="157" y="270"/>
                    <a:pt x="152" y="273"/>
                  </a:cubicBezTo>
                  <a:cubicBezTo>
                    <a:pt x="150" y="274"/>
                    <a:pt x="147" y="276"/>
                    <a:pt x="144" y="276"/>
                  </a:cubicBezTo>
                  <a:cubicBezTo>
                    <a:pt x="141" y="275"/>
                    <a:pt x="136" y="273"/>
                    <a:pt x="133" y="274"/>
                  </a:cubicBezTo>
                  <a:cubicBezTo>
                    <a:pt x="125" y="276"/>
                    <a:pt x="129" y="268"/>
                    <a:pt x="129" y="263"/>
                  </a:cubicBezTo>
                  <a:cubicBezTo>
                    <a:pt x="128" y="261"/>
                    <a:pt x="128" y="258"/>
                    <a:pt x="128" y="255"/>
                  </a:cubicBezTo>
                  <a:cubicBezTo>
                    <a:pt x="128" y="252"/>
                    <a:pt x="130" y="249"/>
                    <a:pt x="130" y="245"/>
                  </a:cubicBezTo>
                  <a:cubicBezTo>
                    <a:pt x="126" y="248"/>
                    <a:pt x="118" y="245"/>
                    <a:pt x="117" y="242"/>
                  </a:cubicBezTo>
                  <a:cubicBezTo>
                    <a:pt x="118" y="249"/>
                    <a:pt x="94" y="242"/>
                    <a:pt x="101" y="255"/>
                  </a:cubicBezTo>
                  <a:cubicBezTo>
                    <a:pt x="105" y="261"/>
                    <a:pt x="102" y="265"/>
                    <a:pt x="101" y="271"/>
                  </a:cubicBezTo>
                  <a:cubicBezTo>
                    <a:pt x="100" y="278"/>
                    <a:pt x="105" y="284"/>
                    <a:pt x="104" y="291"/>
                  </a:cubicBezTo>
                  <a:cubicBezTo>
                    <a:pt x="103" y="294"/>
                    <a:pt x="101" y="296"/>
                    <a:pt x="100" y="298"/>
                  </a:cubicBezTo>
                  <a:cubicBezTo>
                    <a:pt x="98" y="301"/>
                    <a:pt x="99" y="304"/>
                    <a:pt x="97" y="307"/>
                  </a:cubicBezTo>
                  <a:cubicBezTo>
                    <a:pt x="94" y="312"/>
                    <a:pt x="93" y="320"/>
                    <a:pt x="92" y="326"/>
                  </a:cubicBezTo>
                  <a:cubicBezTo>
                    <a:pt x="90" y="334"/>
                    <a:pt x="89" y="339"/>
                    <a:pt x="86" y="346"/>
                  </a:cubicBezTo>
                  <a:cubicBezTo>
                    <a:pt x="85" y="348"/>
                    <a:pt x="87" y="355"/>
                    <a:pt x="83" y="354"/>
                  </a:cubicBezTo>
                  <a:cubicBezTo>
                    <a:pt x="88" y="360"/>
                    <a:pt x="82" y="372"/>
                    <a:pt x="86" y="380"/>
                  </a:cubicBezTo>
                  <a:cubicBezTo>
                    <a:pt x="87" y="383"/>
                    <a:pt x="89" y="386"/>
                    <a:pt x="88" y="389"/>
                  </a:cubicBezTo>
                  <a:cubicBezTo>
                    <a:pt x="86" y="394"/>
                    <a:pt x="93" y="394"/>
                    <a:pt x="95" y="393"/>
                  </a:cubicBezTo>
                  <a:cubicBezTo>
                    <a:pt x="103" y="389"/>
                    <a:pt x="108" y="389"/>
                    <a:pt x="109" y="400"/>
                  </a:cubicBezTo>
                  <a:cubicBezTo>
                    <a:pt x="109" y="403"/>
                    <a:pt x="114" y="428"/>
                    <a:pt x="119" y="420"/>
                  </a:cubicBezTo>
                  <a:cubicBezTo>
                    <a:pt x="122" y="427"/>
                    <a:pt x="123" y="435"/>
                    <a:pt x="125" y="442"/>
                  </a:cubicBezTo>
                  <a:cubicBezTo>
                    <a:pt x="127" y="448"/>
                    <a:pt x="130" y="455"/>
                    <a:pt x="130" y="462"/>
                  </a:cubicBezTo>
                  <a:cubicBezTo>
                    <a:pt x="126" y="461"/>
                    <a:pt x="125" y="440"/>
                    <a:pt x="119" y="444"/>
                  </a:cubicBezTo>
                  <a:cubicBezTo>
                    <a:pt x="116" y="447"/>
                    <a:pt x="121" y="455"/>
                    <a:pt x="123" y="457"/>
                  </a:cubicBezTo>
                  <a:cubicBezTo>
                    <a:pt x="125" y="459"/>
                    <a:pt x="127" y="461"/>
                    <a:pt x="129" y="463"/>
                  </a:cubicBezTo>
                  <a:cubicBezTo>
                    <a:pt x="131" y="465"/>
                    <a:pt x="133" y="464"/>
                    <a:pt x="135" y="466"/>
                  </a:cubicBezTo>
                  <a:cubicBezTo>
                    <a:pt x="139" y="470"/>
                    <a:pt x="140" y="474"/>
                    <a:pt x="147" y="474"/>
                  </a:cubicBezTo>
                  <a:cubicBezTo>
                    <a:pt x="152" y="474"/>
                    <a:pt x="158" y="472"/>
                    <a:pt x="162" y="476"/>
                  </a:cubicBezTo>
                  <a:cubicBezTo>
                    <a:pt x="167" y="479"/>
                    <a:pt x="168" y="486"/>
                    <a:pt x="173" y="490"/>
                  </a:cubicBezTo>
                  <a:cubicBezTo>
                    <a:pt x="178" y="495"/>
                    <a:pt x="181" y="497"/>
                    <a:pt x="179" y="503"/>
                  </a:cubicBezTo>
                  <a:cubicBezTo>
                    <a:pt x="177" y="506"/>
                    <a:pt x="175" y="512"/>
                    <a:pt x="172" y="513"/>
                  </a:cubicBezTo>
                  <a:cubicBezTo>
                    <a:pt x="169" y="514"/>
                    <a:pt x="168" y="509"/>
                    <a:pt x="166" y="508"/>
                  </a:cubicBezTo>
                  <a:cubicBezTo>
                    <a:pt x="160" y="506"/>
                    <a:pt x="157" y="516"/>
                    <a:pt x="153" y="516"/>
                  </a:cubicBezTo>
                  <a:cubicBezTo>
                    <a:pt x="146" y="516"/>
                    <a:pt x="148" y="509"/>
                    <a:pt x="150" y="505"/>
                  </a:cubicBezTo>
                  <a:cubicBezTo>
                    <a:pt x="153" y="501"/>
                    <a:pt x="148" y="497"/>
                    <a:pt x="145" y="496"/>
                  </a:cubicBezTo>
                  <a:cubicBezTo>
                    <a:pt x="140" y="495"/>
                    <a:pt x="142" y="489"/>
                    <a:pt x="136" y="488"/>
                  </a:cubicBezTo>
                  <a:cubicBezTo>
                    <a:pt x="131" y="487"/>
                    <a:pt x="128" y="487"/>
                    <a:pt x="125" y="483"/>
                  </a:cubicBezTo>
                  <a:cubicBezTo>
                    <a:pt x="120" y="476"/>
                    <a:pt x="122" y="487"/>
                    <a:pt x="120" y="490"/>
                  </a:cubicBezTo>
                  <a:cubicBezTo>
                    <a:pt x="119" y="482"/>
                    <a:pt x="99" y="474"/>
                    <a:pt x="107" y="465"/>
                  </a:cubicBezTo>
                  <a:cubicBezTo>
                    <a:pt x="100" y="469"/>
                    <a:pt x="103" y="459"/>
                    <a:pt x="100" y="457"/>
                  </a:cubicBezTo>
                  <a:cubicBezTo>
                    <a:pt x="100" y="461"/>
                    <a:pt x="96" y="460"/>
                    <a:pt x="95" y="457"/>
                  </a:cubicBezTo>
                  <a:cubicBezTo>
                    <a:pt x="93" y="454"/>
                    <a:pt x="93" y="449"/>
                    <a:pt x="90" y="446"/>
                  </a:cubicBezTo>
                  <a:cubicBezTo>
                    <a:pt x="89" y="445"/>
                    <a:pt x="85" y="447"/>
                    <a:pt x="84" y="444"/>
                  </a:cubicBezTo>
                  <a:cubicBezTo>
                    <a:pt x="84" y="441"/>
                    <a:pt x="85" y="440"/>
                    <a:pt x="83" y="438"/>
                  </a:cubicBezTo>
                  <a:cubicBezTo>
                    <a:pt x="81" y="435"/>
                    <a:pt x="81" y="435"/>
                    <a:pt x="77" y="434"/>
                  </a:cubicBezTo>
                  <a:cubicBezTo>
                    <a:pt x="75" y="434"/>
                    <a:pt x="75" y="430"/>
                    <a:pt x="75" y="428"/>
                  </a:cubicBezTo>
                  <a:cubicBezTo>
                    <a:pt x="74" y="426"/>
                    <a:pt x="72" y="422"/>
                    <a:pt x="69" y="423"/>
                  </a:cubicBezTo>
                  <a:cubicBezTo>
                    <a:pt x="65" y="424"/>
                    <a:pt x="66" y="427"/>
                    <a:pt x="65" y="430"/>
                  </a:cubicBezTo>
                  <a:cubicBezTo>
                    <a:pt x="56" y="428"/>
                    <a:pt x="58" y="414"/>
                    <a:pt x="59" y="407"/>
                  </a:cubicBezTo>
                  <a:cubicBezTo>
                    <a:pt x="61" y="393"/>
                    <a:pt x="64" y="379"/>
                    <a:pt x="67" y="365"/>
                  </a:cubicBezTo>
                  <a:cubicBezTo>
                    <a:pt x="68" y="359"/>
                    <a:pt x="72" y="352"/>
                    <a:pt x="72" y="347"/>
                  </a:cubicBezTo>
                  <a:cubicBezTo>
                    <a:pt x="72" y="341"/>
                    <a:pt x="75" y="340"/>
                    <a:pt x="77" y="335"/>
                  </a:cubicBezTo>
                  <a:cubicBezTo>
                    <a:pt x="80" y="328"/>
                    <a:pt x="98" y="309"/>
                    <a:pt x="92" y="301"/>
                  </a:cubicBezTo>
                  <a:cubicBezTo>
                    <a:pt x="90" y="298"/>
                    <a:pt x="87" y="289"/>
                    <a:pt x="86" y="285"/>
                  </a:cubicBezTo>
                  <a:cubicBezTo>
                    <a:pt x="85" y="279"/>
                    <a:pt x="83" y="277"/>
                    <a:pt x="80" y="272"/>
                  </a:cubicBezTo>
                  <a:cubicBezTo>
                    <a:pt x="78" y="269"/>
                    <a:pt x="74" y="261"/>
                    <a:pt x="75" y="257"/>
                  </a:cubicBezTo>
                  <a:cubicBezTo>
                    <a:pt x="76" y="249"/>
                    <a:pt x="76" y="244"/>
                    <a:pt x="72" y="236"/>
                  </a:cubicBezTo>
                  <a:cubicBezTo>
                    <a:pt x="67" y="224"/>
                    <a:pt x="55" y="216"/>
                    <a:pt x="47" y="206"/>
                  </a:cubicBezTo>
                  <a:cubicBezTo>
                    <a:pt x="44" y="201"/>
                    <a:pt x="40" y="197"/>
                    <a:pt x="40" y="191"/>
                  </a:cubicBezTo>
                  <a:cubicBezTo>
                    <a:pt x="39" y="188"/>
                    <a:pt x="40" y="180"/>
                    <a:pt x="45" y="184"/>
                  </a:cubicBezTo>
                  <a:cubicBezTo>
                    <a:pt x="44" y="180"/>
                    <a:pt x="49" y="181"/>
                    <a:pt x="50" y="178"/>
                  </a:cubicBezTo>
                  <a:cubicBezTo>
                    <a:pt x="51" y="174"/>
                    <a:pt x="49" y="165"/>
                    <a:pt x="48" y="160"/>
                  </a:cubicBezTo>
                  <a:cubicBezTo>
                    <a:pt x="47" y="153"/>
                    <a:pt x="53" y="157"/>
                    <a:pt x="55" y="153"/>
                  </a:cubicBezTo>
                  <a:cubicBezTo>
                    <a:pt x="57" y="150"/>
                    <a:pt x="57" y="145"/>
                    <a:pt x="54" y="142"/>
                  </a:cubicBezTo>
                  <a:cubicBezTo>
                    <a:pt x="54" y="145"/>
                    <a:pt x="52" y="147"/>
                    <a:pt x="51" y="149"/>
                  </a:cubicBezTo>
                  <a:cubicBezTo>
                    <a:pt x="46" y="143"/>
                    <a:pt x="45" y="135"/>
                    <a:pt x="43" y="128"/>
                  </a:cubicBezTo>
                  <a:cubicBezTo>
                    <a:pt x="41" y="124"/>
                    <a:pt x="35" y="119"/>
                    <a:pt x="31" y="116"/>
                  </a:cubicBezTo>
                  <a:cubicBezTo>
                    <a:pt x="26" y="110"/>
                    <a:pt x="20" y="105"/>
                    <a:pt x="16" y="99"/>
                  </a:cubicBezTo>
                  <a:cubicBezTo>
                    <a:pt x="14" y="95"/>
                    <a:pt x="15" y="92"/>
                    <a:pt x="14" y="89"/>
                  </a:cubicBezTo>
                  <a:cubicBezTo>
                    <a:pt x="13" y="86"/>
                    <a:pt x="9" y="83"/>
                    <a:pt x="10" y="79"/>
                  </a:cubicBezTo>
                  <a:cubicBezTo>
                    <a:pt x="4" y="81"/>
                    <a:pt x="1" y="73"/>
                    <a:pt x="0" y="6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Freeform 557">
              <a:extLst>
                <a:ext uri="{FF2B5EF4-FFF2-40B4-BE49-F238E27FC236}">
                  <a16:creationId xmlns:a16="http://schemas.microsoft.com/office/drawing/2014/main" id="{87BC9AF8-CEEF-400E-875D-DD8D56BA9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6692" y="3129552"/>
              <a:ext cx="582833" cy="1392569"/>
            </a:xfrm>
            <a:custGeom>
              <a:avLst/>
              <a:gdLst>
                <a:gd name="T0" fmla="*/ 14 w 269"/>
                <a:gd name="T1" fmla="*/ 251 h 643"/>
                <a:gd name="T2" fmla="*/ 11 w 269"/>
                <a:gd name="T3" fmla="*/ 221 h 643"/>
                <a:gd name="T4" fmla="*/ 24 w 269"/>
                <a:gd name="T5" fmla="*/ 212 h 643"/>
                <a:gd name="T6" fmla="*/ 21 w 269"/>
                <a:gd name="T7" fmla="*/ 156 h 643"/>
                <a:gd name="T8" fmla="*/ 46 w 269"/>
                <a:gd name="T9" fmla="*/ 163 h 643"/>
                <a:gd name="T10" fmla="*/ 61 w 269"/>
                <a:gd name="T11" fmla="*/ 82 h 643"/>
                <a:gd name="T12" fmla="*/ 77 w 269"/>
                <a:gd name="T13" fmla="*/ 56 h 643"/>
                <a:gd name="T14" fmla="*/ 105 w 269"/>
                <a:gd name="T15" fmla="*/ 43 h 643"/>
                <a:gd name="T16" fmla="*/ 111 w 269"/>
                <a:gd name="T17" fmla="*/ 26 h 643"/>
                <a:gd name="T18" fmla="*/ 118 w 269"/>
                <a:gd name="T19" fmla="*/ 0 h 643"/>
                <a:gd name="T20" fmla="*/ 148 w 269"/>
                <a:gd name="T21" fmla="*/ 35 h 643"/>
                <a:gd name="T22" fmla="*/ 167 w 269"/>
                <a:gd name="T23" fmla="*/ 76 h 643"/>
                <a:gd name="T24" fmla="*/ 162 w 269"/>
                <a:gd name="T25" fmla="*/ 101 h 643"/>
                <a:gd name="T26" fmla="*/ 149 w 269"/>
                <a:gd name="T27" fmla="*/ 129 h 643"/>
                <a:gd name="T28" fmla="*/ 152 w 269"/>
                <a:gd name="T29" fmla="*/ 152 h 643"/>
                <a:gd name="T30" fmla="*/ 186 w 269"/>
                <a:gd name="T31" fmla="*/ 152 h 643"/>
                <a:gd name="T32" fmla="*/ 188 w 269"/>
                <a:gd name="T33" fmla="*/ 175 h 643"/>
                <a:gd name="T34" fmla="*/ 209 w 269"/>
                <a:gd name="T35" fmla="*/ 208 h 643"/>
                <a:gd name="T36" fmla="*/ 237 w 269"/>
                <a:gd name="T37" fmla="*/ 238 h 643"/>
                <a:gd name="T38" fmla="*/ 265 w 269"/>
                <a:gd name="T39" fmla="*/ 235 h 643"/>
                <a:gd name="T40" fmla="*/ 255 w 269"/>
                <a:gd name="T41" fmla="*/ 265 h 643"/>
                <a:gd name="T42" fmla="*/ 223 w 269"/>
                <a:gd name="T43" fmla="*/ 285 h 643"/>
                <a:gd name="T44" fmla="*/ 211 w 269"/>
                <a:gd name="T45" fmla="*/ 302 h 643"/>
                <a:gd name="T46" fmla="*/ 182 w 269"/>
                <a:gd name="T47" fmla="*/ 304 h 643"/>
                <a:gd name="T48" fmla="*/ 176 w 269"/>
                <a:gd name="T49" fmla="*/ 333 h 643"/>
                <a:gd name="T50" fmla="*/ 177 w 269"/>
                <a:gd name="T51" fmla="*/ 355 h 643"/>
                <a:gd name="T52" fmla="*/ 196 w 269"/>
                <a:gd name="T53" fmla="*/ 389 h 643"/>
                <a:gd name="T54" fmla="*/ 218 w 269"/>
                <a:gd name="T55" fmla="*/ 425 h 643"/>
                <a:gd name="T56" fmla="*/ 215 w 269"/>
                <a:gd name="T57" fmla="*/ 438 h 643"/>
                <a:gd name="T58" fmla="*/ 206 w 269"/>
                <a:gd name="T59" fmla="*/ 463 h 643"/>
                <a:gd name="T60" fmla="*/ 243 w 269"/>
                <a:gd name="T61" fmla="*/ 530 h 643"/>
                <a:gd name="T62" fmla="*/ 254 w 269"/>
                <a:gd name="T63" fmla="*/ 563 h 643"/>
                <a:gd name="T64" fmla="*/ 239 w 269"/>
                <a:gd name="T65" fmla="*/ 617 h 643"/>
                <a:gd name="T66" fmla="*/ 229 w 269"/>
                <a:gd name="T67" fmla="*/ 623 h 643"/>
                <a:gd name="T68" fmla="*/ 234 w 269"/>
                <a:gd name="T69" fmla="*/ 595 h 643"/>
                <a:gd name="T70" fmla="*/ 230 w 269"/>
                <a:gd name="T71" fmla="*/ 583 h 643"/>
                <a:gd name="T72" fmla="*/ 226 w 269"/>
                <a:gd name="T73" fmla="*/ 563 h 643"/>
                <a:gd name="T74" fmla="*/ 228 w 269"/>
                <a:gd name="T75" fmla="*/ 548 h 643"/>
                <a:gd name="T76" fmla="*/ 210 w 269"/>
                <a:gd name="T77" fmla="*/ 502 h 643"/>
                <a:gd name="T78" fmla="*/ 207 w 269"/>
                <a:gd name="T79" fmla="*/ 498 h 643"/>
                <a:gd name="T80" fmla="*/ 197 w 269"/>
                <a:gd name="T81" fmla="*/ 479 h 643"/>
                <a:gd name="T82" fmla="*/ 185 w 269"/>
                <a:gd name="T83" fmla="*/ 428 h 643"/>
                <a:gd name="T84" fmla="*/ 168 w 269"/>
                <a:gd name="T85" fmla="*/ 395 h 643"/>
                <a:gd name="T86" fmla="*/ 158 w 269"/>
                <a:gd name="T87" fmla="*/ 393 h 643"/>
                <a:gd name="T88" fmla="*/ 142 w 269"/>
                <a:gd name="T89" fmla="*/ 406 h 643"/>
                <a:gd name="T90" fmla="*/ 127 w 269"/>
                <a:gd name="T91" fmla="*/ 427 h 643"/>
                <a:gd name="T92" fmla="*/ 115 w 269"/>
                <a:gd name="T93" fmla="*/ 434 h 643"/>
                <a:gd name="T94" fmla="*/ 103 w 269"/>
                <a:gd name="T95" fmla="*/ 443 h 643"/>
                <a:gd name="T96" fmla="*/ 95 w 269"/>
                <a:gd name="T97" fmla="*/ 437 h 643"/>
                <a:gd name="T98" fmla="*/ 96 w 269"/>
                <a:gd name="T99" fmla="*/ 416 h 643"/>
                <a:gd name="T100" fmla="*/ 85 w 269"/>
                <a:gd name="T101" fmla="*/ 406 h 643"/>
                <a:gd name="T102" fmla="*/ 79 w 269"/>
                <a:gd name="T103" fmla="*/ 353 h 643"/>
                <a:gd name="T104" fmla="*/ 66 w 269"/>
                <a:gd name="T105" fmla="*/ 331 h 643"/>
                <a:gd name="T106" fmla="*/ 63 w 269"/>
                <a:gd name="T107" fmla="*/ 335 h 643"/>
                <a:gd name="T108" fmla="*/ 56 w 269"/>
                <a:gd name="T109" fmla="*/ 321 h 643"/>
                <a:gd name="T110" fmla="*/ 49 w 269"/>
                <a:gd name="T111" fmla="*/ 305 h 643"/>
                <a:gd name="T112" fmla="*/ 33 w 269"/>
                <a:gd name="T113" fmla="*/ 293 h 643"/>
                <a:gd name="T114" fmla="*/ 35 w 269"/>
                <a:gd name="T115" fmla="*/ 302 h 643"/>
                <a:gd name="T116" fmla="*/ 31 w 269"/>
                <a:gd name="T117" fmla="*/ 283 h 643"/>
                <a:gd name="T118" fmla="*/ 25 w 269"/>
                <a:gd name="T119" fmla="*/ 292 h 643"/>
                <a:gd name="T120" fmla="*/ 19 w 269"/>
                <a:gd name="T121" fmla="*/ 285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" h="643">
                  <a:moveTo>
                    <a:pt x="0" y="255"/>
                  </a:moveTo>
                  <a:cubicBezTo>
                    <a:pt x="0" y="253"/>
                    <a:pt x="0" y="247"/>
                    <a:pt x="3" y="247"/>
                  </a:cubicBezTo>
                  <a:cubicBezTo>
                    <a:pt x="7" y="246"/>
                    <a:pt x="10" y="252"/>
                    <a:pt x="14" y="251"/>
                  </a:cubicBezTo>
                  <a:cubicBezTo>
                    <a:pt x="12" y="246"/>
                    <a:pt x="10" y="241"/>
                    <a:pt x="10" y="235"/>
                  </a:cubicBezTo>
                  <a:cubicBezTo>
                    <a:pt x="10" y="233"/>
                    <a:pt x="10" y="230"/>
                    <a:pt x="9" y="228"/>
                  </a:cubicBezTo>
                  <a:cubicBezTo>
                    <a:pt x="8" y="226"/>
                    <a:pt x="12" y="224"/>
                    <a:pt x="11" y="221"/>
                  </a:cubicBezTo>
                  <a:cubicBezTo>
                    <a:pt x="14" y="223"/>
                    <a:pt x="16" y="229"/>
                    <a:pt x="19" y="228"/>
                  </a:cubicBezTo>
                  <a:cubicBezTo>
                    <a:pt x="22" y="227"/>
                    <a:pt x="21" y="222"/>
                    <a:pt x="21" y="220"/>
                  </a:cubicBezTo>
                  <a:cubicBezTo>
                    <a:pt x="27" y="223"/>
                    <a:pt x="25" y="214"/>
                    <a:pt x="24" y="212"/>
                  </a:cubicBezTo>
                  <a:cubicBezTo>
                    <a:pt x="20" y="204"/>
                    <a:pt x="21" y="198"/>
                    <a:pt x="20" y="191"/>
                  </a:cubicBezTo>
                  <a:cubicBezTo>
                    <a:pt x="26" y="195"/>
                    <a:pt x="26" y="186"/>
                    <a:pt x="26" y="182"/>
                  </a:cubicBezTo>
                  <a:cubicBezTo>
                    <a:pt x="26" y="173"/>
                    <a:pt x="24" y="165"/>
                    <a:pt x="21" y="156"/>
                  </a:cubicBezTo>
                  <a:cubicBezTo>
                    <a:pt x="22" y="156"/>
                    <a:pt x="24" y="157"/>
                    <a:pt x="25" y="158"/>
                  </a:cubicBezTo>
                  <a:cubicBezTo>
                    <a:pt x="27" y="159"/>
                    <a:pt x="27" y="158"/>
                    <a:pt x="30" y="157"/>
                  </a:cubicBezTo>
                  <a:cubicBezTo>
                    <a:pt x="34" y="157"/>
                    <a:pt x="43" y="161"/>
                    <a:pt x="46" y="163"/>
                  </a:cubicBezTo>
                  <a:cubicBezTo>
                    <a:pt x="46" y="150"/>
                    <a:pt x="64" y="126"/>
                    <a:pt x="54" y="116"/>
                  </a:cubicBezTo>
                  <a:cubicBezTo>
                    <a:pt x="48" y="110"/>
                    <a:pt x="60" y="103"/>
                    <a:pt x="61" y="97"/>
                  </a:cubicBezTo>
                  <a:cubicBezTo>
                    <a:pt x="63" y="91"/>
                    <a:pt x="64" y="87"/>
                    <a:pt x="61" y="82"/>
                  </a:cubicBezTo>
                  <a:cubicBezTo>
                    <a:pt x="59" y="77"/>
                    <a:pt x="58" y="68"/>
                    <a:pt x="63" y="65"/>
                  </a:cubicBezTo>
                  <a:cubicBezTo>
                    <a:pt x="65" y="64"/>
                    <a:pt x="69" y="65"/>
                    <a:pt x="70" y="62"/>
                  </a:cubicBezTo>
                  <a:cubicBezTo>
                    <a:pt x="70" y="60"/>
                    <a:pt x="75" y="58"/>
                    <a:pt x="77" y="56"/>
                  </a:cubicBezTo>
                  <a:cubicBezTo>
                    <a:pt x="79" y="54"/>
                    <a:pt x="81" y="51"/>
                    <a:pt x="83" y="48"/>
                  </a:cubicBezTo>
                  <a:cubicBezTo>
                    <a:pt x="85" y="43"/>
                    <a:pt x="93" y="44"/>
                    <a:pt x="98" y="43"/>
                  </a:cubicBezTo>
                  <a:cubicBezTo>
                    <a:pt x="100" y="43"/>
                    <a:pt x="103" y="41"/>
                    <a:pt x="105" y="43"/>
                  </a:cubicBezTo>
                  <a:cubicBezTo>
                    <a:pt x="108" y="46"/>
                    <a:pt x="111" y="52"/>
                    <a:pt x="116" y="50"/>
                  </a:cubicBezTo>
                  <a:cubicBezTo>
                    <a:pt x="115" y="46"/>
                    <a:pt x="111" y="44"/>
                    <a:pt x="108" y="40"/>
                  </a:cubicBezTo>
                  <a:cubicBezTo>
                    <a:pt x="103" y="35"/>
                    <a:pt x="107" y="30"/>
                    <a:pt x="111" y="26"/>
                  </a:cubicBezTo>
                  <a:cubicBezTo>
                    <a:pt x="117" y="19"/>
                    <a:pt x="114" y="21"/>
                    <a:pt x="114" y="14"/>
                  </a:cubicBezTo>
                  <a:cubicBezTo>
                    <a:pt x="114" y="12"/>
                    <a:pt x="118" y="11"/>
                    <a:pt x="117" y="8"/>
                  </a:cubicBezTo>
                  <a:cubicBezTo>
                    <a:pt x="117" y="6"/>
                    <a:pt x="118" y="3"/>
                    <a:pt x="118" y="0"/>
                  </a:cubicBezTo>
                  <a:cubicBezTo>
                    <a:pt x="124" y="6"/>
                    <a:pt x="134" y="7"/>
                    <a:pt x="139" y="15"/>
                  </a:cubicBezTo>
                  <a:cubicBezTo>
                    <a:pt x="140" y="18"/>
                    <a:pt x="140" y="21"/>
                    <a:pt x="141" y="24"/>
                  </a:cubicBezTo>
                  <a:cubicBezTo>
                    <a:pt x="143" y="28"/>
                    <a:pt x="146" y="31"/>
                    <a:pt x="148" y="35"/>
                  </a:cubicBezTo>
                  <a:cubicBezTo>
                    <a:pt x="150" y="34"/>
                    <a:pt x="151" y="32"/>
                    <a:pt x="150" y="30"/>
                  </a:cubicBezTo>
                  <a:cubicBezTo>
                    <a:pt x="162" y="35"/>
                    <a:pt x="162" y="48"/>
                    <a:pt x="166" y="60"/>
                  </a:cubicBezTo>
                  <a:cubicBezTo>
                    <a:pt x="167" y="65"/>
                    <a:pt x="168" y="70"/>
                    <a:pt x="167" y="76"/>
                  </a:cubicBezTo>
                  <a:cubicBezTo>
                    <a:pt x="167" y="79"/>
                    <a:pt x="172" y="87"/>
                    <a:pt x="165" y="85"/>
                  </a:cubicBezTo>
                  <a:cubicBezTo>
                    <a:pt x="166" y="87"/>
                    <a:pt x="174" y="97"/>
                    <a:pt x="166" y="94"/>
                  </a:cubicBezTo>
                  <a:cubicBezTo>
                    <a:pt x="165" y="94"/>
                    <a:pt x="162" y="100"/>
                    <a:pt x="162" y="101"/>
                  </a:cubicBezTo>
                  <a:cubicBezTo>
                    <a:pt x="163" y="105"/>
                    <a:pt x="158" y="103"/>
                    <a:pt x="156" y="103"/>
                  </a:cubicBezTo>
                  <a:cubicBezTo>
                    <a:pt x="156" y="105"/>
                    <a:pt x="155" y="120"/>
                    <a:pt x="148" y="114"/>
                  </a:cubicBezTo>
                  <a:cubicBezTo>
                    <a:pt x="149" y="120"/>
                    <a:pt x="146" y="124"/>
                    <a:pt x="149" y="129"/>
                  </a:cubicBezTo>
                  <a:cubicBezTo>
                    <a:pt x="144" y="129"/>
                    <a:pt x="144" y="133"/>
                    <a:pt x="144" y="137"/>
                  </a:cubicBezTo>
                  <a:cubicBezTo>
                    <a:pt x="144" y="142"/>
                    <a:pt x="148" y="142"/>
                    <a:pt x="149" y="145"/>
                  </a:cubicBezTo>
                  <a:cubicBezTo>
                    <a:pt x="150" y="146"/>
                    <a:pt x="152" y="151"/>
                    <a:pt x="152" y="152"/>
                  </a:cubicBezTo>
                  <a:cubicBezTo>
                    <a:pt x="150" y="155"/>
                    <a:pt x="146" y="159"/>
                    <a:pt x="150" y="162"/>
                  </a:cubicBezTo>
                  <a:cubicBezTo>
                    <a:pt x="151" y="163"/>
                    <a:pt x="161" y="156"/>
                    <a:pt x="163" y="155"/>
                  </a:cubicBezTo>
                  <a:cubicBezTo>
                    <a:pt x="170" y="151"/>
                    <a:pt x="179" y="157"/>
                    <a:pt x="186" y="152"/>
                  </a:cubicBezTo>
                  <a:cubicBezTo>
                    <a:pt x="187" y="157"/>
                    <a:pt x="181" y="158"/>
                    <a:pt x="183" y="163"/>
                  </a:cubicBezTo>
                  <a:cubicBezTo>
                    <a:pt x="183" y="165"/>
                    <a:pt x="185" y="167"/>
                    <a:pt x="187" y="168"/>
                  </a:cubicBezTo>
                  <a:cubicBezTo>
                    <a:pt x="189" y="171"/>
                    <a:pt x="186" y="173"/>
                    <a:pt x="188" y="175"/>
                  </a:cubicBezTo>
                  <a:cubicBezTo>
                    <a:pt x="192" y="178"/>
                    <a:pt x="190" y="185"/>
                    <a:pt x="196" y="188"/>
                  </a:cubicBezTo>
                  <a:cubicBezTo>
                    <a:pt x="203" y="191"/>
                    <a:pt x="209" y="187"/>
                    <a:pt x="212" y="195"/>
                  </a:cubicBezTo>
                  <a:cubicBezTo>
                    <a:pt x="204" y="195"/>
                    <a:pt x="208" y="204"/>
                    <a:pt x="209" y="208"/>
                  </a:cubicBezTo>
                  <a:cubicBezTo>
                    <a:pt x="210" y="212"/>
                    <a:pt x="200" y="221"/>
                    <a:pt x="208" y="223"/>
                  </a:cubicBezTo>
                  <a:cubicBezTo>
                    <a:pt x="213" y="225"/>
                    <a:pt x="224" y="221"/>
                    <a:pt x="229" y="225"/>
                  </a:cubicBezTo>
                  <a:cubicBezTo>
                    <a:pt x="234" y="230"/>
                    <a:pt x="227" y="238"/>
                    <a:pt x="237" y="238"/>
                  </a:cubicBezTo>
                  <a:cubicBezTo>
                    <a:pt x="235" y="240"/>
                    <a:pt x="236" y="244"/>
                    <a:pt x="238" y="246"/>
                  </a:cubicBezTo>
                  <a:cubicBezTo>
                    <a:pt x="240" y="248"/>
                    <a:pt x="242" y="242"/>
                    <a:pt x="245" y="244"/>
                  </a:cubicBezTo>
                  <a:cubicBezTo>
                    <a:pt x="252" y="248"/>
                    <a:pt x="260" y="238"/>
                    <a:pt x="265" y="235"/>
                  </a:cubicBezTo>
                  <a:cubicBezTo>
                    <a:pt x="265" y="240"/>
                    <a:pt x="269" y="243"/>
                    <a:pt x="264" y="247"/>
                  </a:cubicBezTo>
                  <a:cubicBezTo>
                    <a:pt x="262" y="249"/>
                    <a:pt x="257" y="250"/>
                    <a:pt x="256" y="252"/>
                  </a:cubicBezTo>
                  <a:cubicBezTo>
                    <a:pt x="255" y="254"/>
                    <a:pt x="249" y="269"/>
                    <a:pt x="255" y="265"/>
                  </a:cubicBezTo>
                  <a:cubicBezTo>
                    <a:pt x="254" y="270"/>
                    <a:pt x="247" y="267"/>
                    <a:pt x="245" y="269"/>
                  </a:cubicBezTo>
                  <a:cubicBezTo>
                    <a:pt x="241" y="273"/>
                    <a:pt x="242" y="279"/>
                    <a:pt x="241" y="284"/>
                  </a:cubicBezTo>
                  <a:cubicBezTo>
                    <a:pt x="235" y="278"/>
                    <a:pt x="230" y="285"/>
                    <a:pt x="223" y="285"/>
                  </a:cubicBezTo>
                  <a:cubicBezTo>
                    <a:pt x="225" y="288"/>
                    <a:pt x="225" y="292"/>
                    <a:pt x="222" y="293"/>
                  </a:cubicBezTo>
                  <a:cubicBezTo>
                    <a:pt x="219" y="294"/>
                    <a:pt x="217" y="291"/>
                    <a:pt x="214" y="291"/>
                  </a:cubicBezTo>
                  <a:cubicBezTo>
                    <a:pt x="211" y="292"/>
                    <a:pt x="211" y="299"/>
                    <a:pt x="211" y="302"/>
                  </a:cubicBezTo>
                  <a:cubicBezTo>
                    <a:pt x="210" y="304"/>
                    <a:pt x="208" y="304"/>
                    <a:pt x="207" y="303"/>
                  </a:cubicBezTo>
                  <a:cubicBezTo>
                    <a:pt x="205" y="302"/>
                    <a:pt x="200" y="307"/>
                    <a:pt x="197" y="307"/>
                  </a:cubicBezTo>
                  <a:cubicBezTo>
                    <a:pt x="196" y="307"/>
                    <a:pt x="182" y="305"/>
                    <a:pt x="182" y="304"/>
                  </a:cubicBezTo>
                  <a:cubicBezTo>
                    <a:pt x="182" y="309"/>
                    <a:pt x="178" y="312"/>
                    <a:pt x="177" y="317"/>
                  </a:cubicBezTo>
                  <a:cubicBezTo>
                    <a:pt x="177" y="319"/>
                    <a:pt x="178" y="322"/>
                    <a:pt x="179" y="324"/>
                  </a:cubicBezTo>
                  <a:cubicBezTo>
                    <a:pt x="180" y="327"/>
                    <a:pt x="177" y="330"/>
                    <a:pt x="176" y="333"/>
                  </a:cubicBezTo>
                  <a:cubicBezTo>
                    <a:pt x="176" y="336"/>
                    <a:pt x="182" y="341"/>
                    <a:pt x="179" y="345"/>
                  </a:cubicBezTo>
                  <a:cubicBezTo>
                    <a:pt x="177" y="348"/>
                    <a:pt x="169" y="349"/>
                    <a:pt x="167" y="345"/>
                  </a:cubicBezTo>
                  <a:cubicBezTo>
                    <a:pt x="168" y="349"/>
                    <a:pt x="171" y="357"/>
                    <a:pt x="177" y="355"/>
                  </a:cubicBezTo>
                  <a:cubicBezTo>
                    <a:pt x="176" y="358"/>
                    <a:pt x="178" y="360"/>
                    <a:pt x="180" y="362"/>
                  </a:cubicBezTo>
                  <a:cubicBezTo>
                    <a:pt x="181" y="366"/>
                    <a:pt x="180" y="369"/>
                    <a:pt x="182" y="372"/>
                  </a:cubicBezTo>
                  <a:cubicBezTo>
                    <a:pt x="184" y="378"/>
                    <a:pt x="192" y="385"/>
                    <a:pt x="196" y="389"/>
                  </a:cubicBezTo>
                  <a:cubicBezTo>
                    <a:pt x="198" y="392"/>
                    <a:pt x="201" y="394"/>
                    <a:pt x="203" y="398"/>
                  </a:cubicBezTo>
                  <a:cubicBezTo>
                    <a:pt x="205" y="400"/>
                    <a:pt x="208" y="400"/>
                    <a:pt x="210" y="404"/>
                  </a:cubicBezTo>
                  <a:cubicBezTo>
                    <a:pt x="212" y="411"/>
                    <a:pt x="213" y="418"/>
                    <a:pt x="218" y="425"/>
                  </a:cubicBezTo>
                  <a:cubicBezTo>
                    <a:pt x="219" y="423"/>
                    <a:pt x="221" y="421"/>
                    <a:pt x="221" y="418"/>
                  </a:cubicBezTo>
                  <a:cubicBezTo>
                    <a:pt x="225" y="421"/>
                    <a:pt x="224" y="428"/>
                    <a:pt x="220" y="430"/>
                  </a:cubicBezTo>
                  <a:cubicBezTo>
                    <a:pt x="216" y="434"/>
                    <a:pt x="214" y="430"/>
                    <a:pt x="215" y="438"/>
                  </a:cubicBezTo>
                  <a:cubicBezTo>
                    <a:pt x="216" y="442"/>
                    <a:pt x="217" y="449"/>
                    <a:pt x="217" y="453"/>
                  </a:cubicBezTo>
                  <a:cubicBezTo>
                    <a:pt x="216" y="456"/>
                    <a:pt x="211" y="456"/>
                    <a:pt x="212" y="460"/>
                  </a:cubicBezTo>
                  <a:cubicBezTo>
                    <a:pt x="209" y="458"/>
                    <a:pt x="207" y="460"/>
                    <a:pt x="206" y="463"/>
                  </a:cubicBezTo>
                  <a:cubicBezTo>
                    <a:pt x="206" y="467"/>
                    <a:pt x="208" y="473"/>
                    <a:pt x="210" y="476"/>
                  </a:cubicBezTo>
                  <a:cubicBezTo>
                    <a:pt x="216" y="486"/>
                    <a:pt x="226" y="494"/>
                    <a:pt x="234" y="502"/>
                  </a:cubicBezTo>
                  <a:cubicBezTo>
                    <a:pt x="241" y="510"/>
                    <a:pt x="242" y="520"/>
                    <a:pt x="243" y="530"/>
                  </a:cubicBezTo>
                  <a:cubicBezTo>
                    <a:pt x="244" y="535"/>
                    <a:pt x="241" y="534"/>
                    <a:pt x="243" y="539"/>
                  </a:cubicBezTo>
                  <a:cubicBezTo>
                    <a:pt x="245" y="544"/>
                    <a:pt x="245" y="547"/>
                    <a:pt x="249" y="551"/>
                  </a:cubicBezTo>
                  <a:cubicBezTo>
                    <a:pt x="253" y="554"/>
                    <a:pt x="252" y="558"/>
                    <a:pt x="254" y="563"/>
                  </a:cubicBezTo>
                  <a:cubicBezTo>
                    <a:pt x="255" y="568"/>
                    <a:pt x="258" y="572"/>
                    <a:pt x="260" y="576"/>
                  </a:cubicBezTo>
                  <a:cubicBezTo>
                    <a:pt x="261" y="583"/>
                    <a:pt x="255" y="592"/>
                    <a:pt x="252" y="598"/>
                  </a:cubicBezTo>
                  <a:cubicBezTo>
                    <a:pt x="249" y="605"/>
                    <a:pt x="245" y="612"/>
                    <a:pt x="239" y="617"/>
                  </a:cubicBezTo>
                  <a:cubicBezTo>
                    <a:pt x="236" y="620"/>
                    <a:pt x="240" y="623"/>
                    <a:pt x="238" y="627"/>
                  </a:cubicBezTo>
                  <a:cubicBezTo>
                    <a:pt x="235" y="632"/>
                    <a:pt x="235" y="638"/>
                    <a:pt x="232" y="643"/>
                  </a:cubicBezTo>
                  <a:cubicBezTo>
                    <a:pt x="229" y="637"/>
                    <a:pt x="230" y="629"/>
                    <a:pt x="229" y="623"/>
                  </a:cubicBezTo>
                  <a:cubicBezTo>
                    <a:pt x="228" y="621"/>
                    <a:pt x="227" y="619"/>
                    <a:pt x="229" y="617"/>
                  </a:cubicBezTo>
                  <a:cubicBezTo>
                    <a:pt x="232" y="615"/>
                    <a:pt x="230" y="614"/>
                    <a:pt x="232" y="612"/>
                  </a:cubicBezTo>
                  <a:cubicBezTo>
                    <a:pt x="235" y="607"/>
                    <a:pt x="235" y="601"/>
                    <a:pt x="234" y="595"/>
                  </a:cubicBezTo>
                  <a:cubicBezTo>
                    <a:pt x="234" y="592"/>
                    <a:pt x="232" y="583"/>
                    <a:pt x="237" y="583"/>
                  </a:cubicBezTo>
                  <a:cubicBezTo>
                    <a:pt x="236" y="582"/>
                    <a:pt x="236" y="580"/>
                    <a:pt x="236" y="579"/>
                  </a:cubicBezTo>
                  <a:cubicBezTo>
                    <a:pt x="234" y="581"/>
                    <a:pt x="232" y="582"/>
                    <a:pt x="230" y="583"/>
                  </a:cubicBezTo>
                  <a:cubicBezTo>
                    <a:pt x="229" y="579"/>
                    <a:pt x="235" y="577"/>
                    <a:pt x="229" y="577"/>
                  </a:cubicBezTo>
                  <a:cubicBezTo>
                    <a:pt x="236" y="574"/>
                    <a:pt x="226" y="569"/>
                    <a:pt x="231" y="566"/>
                  </a:cubicBezTo>
                  <a:cubicBezTo>
                    <a:pt x="229" y="567"/>
                    <a:pt x="227" y="565"/>
                    <a:pt x="226" y="563"/>
                  </a:cubicBezTo>
                  <a:cubicBezTo>
                    <a:pt x="228" y="563"/>
                    <a:pt x="229" y="562"/>
                    <a:pt x="231" y="561"/>
                  </a:cubicBezTo>
                  <a:cubicBezTo>
                    <a:pt x="228" y="560"/>
                    <a:pt x="226" y="557"/>
                    <a:pt x="230" y="556"/>
                  </a:cubicBezTo>
                  <a:cubicBezTo>
                    <a:pt x="227" y="555"/>
                    <a:pt x="229" y="551"/>
                    <a:pt x="228" y="548"/>
                  </a:cubicBezTo>
                  <a:cubicBezTo>
                    <a:pt x="227" y="543"/>
                    <a:pt x="225" y="537"/>
                    <a:pt x="223" y="532"/>
                  </a:cubicBezTo>
                  <a:cubicBezTo>
                    <a:pt x="221" y="527"/>
                    <a:pt x="218" y="522"/>
                    <a:pt x="215" y="517"/>
                  </a:cubicBezTo>
                  <a:cubicBezTo>
                    <a:pt x="213" y="512"/>
                    <a:pt x="213" y="506"/>
                    <a:pt x="210" y="502"/>
                  </a:cubicBezTo>
                  <a:cubicBezTo>
                    <a:pt x="211" y="506"/>
                    <a:pt x="213" y="515"/>
                    <a:pt x="210" y="519"/>
                  </a:cubicBezTo>
                  <a:cubicBezTo>
                    <a:pt x="211" y="516"/>
                    <a:pt x="208" y="512"/>
                    <a:pt x="208" y="509"/>
                  </a:cubicBezTo>
                  <a:cubicBezTo>
                    <a:pt x="207" y="506"/>
                    <a:pt x="207" y="501"/>
                    <a:pt x="207" y="498"/>
                  </a:cubicBezTo>
                  <a:cubicBezTo>
                    <a:pt x="206" y="496"/>
                    <a:pt x="195" y="477"/>
                    <a:pt x="202" y="480"/>
                  </a:cubicBezTo>
                  <a:cubicBezTo>
                    <a:pt x="201" y="479"/>
                    <a:pt x="201" y="478"/>
                    <a:pt x="200" y="477"/>
                  </a:cubicBezTo>
                  <a:cubicBezTo>
                    <a:pt x="199" y="478"/>
                    <a:pt x="198" y="478"/>
                    <a:pt x="197" y="479"/>
                  </a:cubicBezTo>
                  <a:cubicBezTo>
                    <a:pt x="192" y="467"/>
                    <a:pt x="194" y="453"/>
                    <a:pt x="189" y="440"/>
                  </a:cubicBezTo>
                  <a:cubicBezTo>
                    <a:pt x="188" y="438"/>
                    <a:pt x="186" y="437"/>
                    <a:pt x="185" y="434"/>
                  </a:cubicBezTo>
                  <a:cubicBezTo>
                    <a:pt x="184" y="432"/>
                    <a:pt x="185" y="430"/>
                    <a:pt x="185" y="428"/>
                  </a:cubicBezTo>
                  <a:cubicBezTo>
                    <a:pt x="185" y="424"/>
                    <a:pt x="182" y="417"/>
                    <a:pt x="187" y="415"/>
                  </a:cubicBezTo>
                  <a:cubicBezTo>
                    <a:pt x="184" y="416"/>
                    <a:pt x="178" y="418"/>
                    <a:pt x="176" y="415"/>
                  </a:cubicBezTo>
                  <a:cubicBezTo>
                    <a:pt x="172" y="409"/>
                    <a:pt x="168" y="403"/>
                    <a:pt x="168" y="395"/>
                  </a:cubicBezTo>
                  <a:cubicBezTo>
                    <a:pt x="165" y="397"/>
                    <a:pt x="165" y="393"/>
                    <a:pt x="163" y="391"/>
                  </a:cubicBezTo>
                  <a:cubicBezTo>
                    <a:pt x="161" y="389"/>
                    <a:pt x="158" y="387"/>
                    <a:pt x="157" y="384"/>
                  </a:cubicBezTo>
                  <a:cubicBezTo>
                    <a:pt x="157" y="385"/>
                    <a:pt x="158" y="391"/>
                    <a:pt x="158" y="393"/>
                  </a:cubicBezTo>
                  <a:cubicBezTo>
                    <a:pt x="158" y="398"/>
                    <a:pt x="161" y="403"/>
                    <a:pt x="158" y="408"/>
                  </a:cubicBezTo>
                  <a:cubicBezTo>
                    <a:pt x="156" y="411"/>
                    <a:pt x="154" y="417"/>
                    <a:pt x="149" y="417"/>
                  </a:cubicBezTo>
                  <a:cubicBezTo>
                    <a:pt x="144" y="417"/>
                    <a:pt x="139" y="411"/>
                    <a:pt x="142" y="406"/>
                  </a:cubicBezTo>
                  <a:cubicBezTo>
                    <a:pt x="136" y="408"/>
                    <a:pt x="141" y="412"/>
                    <a:pt x="143" y="415"/>
                  </a:cubicBezTo>
                  <a:cubicBezTo>
                    <a:pt x="145" y="420"/>
                    <a:pt x="140" y="426"/>
                    <a:pt x="135" y="421"/>
                  </a:cubicBezTo>
                  <a:cubicBezTo>
                    <a:pt x="140" y="425"/>
                    <a:pt x="131" y="431"/>
                    <a:pt x="127" y="427"/>
                  </a:cubicBezTo>
                  <a:cubicBezTo>
                    <a:pt x="129" y="432"/>
                    <a:pt x="125" y="446"/>
                    <a:pt x="118" y="444"/>
                  </a:cubicBezTo>
                  <a:cubicBezTo>
                    <a:pt x="114" y="442"/>
                    <a:pt x="118" y="432"/>
                    <a:pt x="117" y="429"/>
                  </a:cubicBezTo>
                  <a:cubicBezTo>
                    <a:pt x="117" y="430"/>
                    <a:pt x="113" y="443"/>
                    <a:pt x="115" y="434"/>
                  </a:cubicBezTo>
                  <a:cubicBezTo>
                    <a:pt x="114" y="437"/>
                    <a:pt x="113" y="439"/>
                    <a:pt x="113" y="442"/>
                  </a:cubicBezTo>
                  <a:cubicBezTo>
                    <a:pt x="110" y="440"/>
                    <a:pt x="109" y="432"/>
                    <a:pt x="112" y="430"/>
                  </a:cubicBezTo>
                  <a:cubicBezTo>
                    <a:pt x="107" y="427"/>
                    <a:pt x="109" y="448"/>
                    <a:pt x="103" y="443"/>
                  </a:cubicBezTo>
                  <a:cubicBezTo>
                    <a:pt x="101" y="440"/>
                    <a:pt x="103" y="427"/>
                    <a:pt x="105" y="426"/>
                  </a:cubicBezTo>
                  <a:cubicBezTo>
                    <a:pt x="101" y="428"/>
                    <a:pt x="100" y="436"/>
                    <a:pt x="98" y="440"/>
                  </a:cubicBezTo>
                  <a:cubicBezTo>
                    <a:pt x="96" y="439"/>
                    <a:pt x="95" y="438"/>
                    <a:pt x="95" y="437"/>
                  </a:cubicBezTo>
                  <a:cubicBezTo>
                    <a:pt x="98" y="436"/>
                    <a:pt x="99" y="432"/>
                    <a:pt x="99" y="429"/>
                  </a:cubicBezTo>
                  <a:cubicBezTo>
                    <a:pt x="98" y="432"/>
                    <a:pt x="97" y="436"/>
                    <a:pt x="93" y="436"/>
                  </a:cubicBezTo>
                  <a:cubicBezTo>
                    <a:pt x="97" y="430"/>
                    <a:pt x="96" y="423"/>
                    <a:pt x="96" y="416"/>
                  </a:cubicBezTo>
                  <a:cubicBezTo>
                    <a:pt x="96" y="416"/>
                    <a:pt x="95" y="416"/>
                    <a:pt x="95" y="416"/>
                  </a:cubicBezTo>
                  <a:cubicBezTo>
                    <a:pt x="97" y="421"/>
                    <a:pt x="90" y="432"/>
                    <a:pt x="86" y="434"/>
                  </a:cubicBezTo>
                  <a:cubicBezTo>
                    <a:pt x="79" y="436"/>
                    <a:pt x="85" y="409"/>
                    <a:pt x="85" y="406"/>
                  </a:cubicBezTo>
                  <a:cubicBezTo>
                    <a:pt x="86" y="403"/>
                    <a:pt x="85" y="394"/>
                    <a:pt x="87" y="392"/>
                  </a:cubicBezTo>
                  <a:cubicBezTo>
                    <a:pt x="91" y="388"/>
                    <a:pt x="87" y="377"/>
                    <a:pt x="85" y="372"/>
                  </a:cubicBezTo>
                  <a:cubicBezTo>
                    <a:pt x="82" y="367"/>
                    <a:pt x="83" y="358"/>
                    <a:pt x="79" y="353"/>
                  </a:cubicBezTo>
                  <a:cubicBezTo>
                    <a:pt x="77" y="351"/>
                    <a:pt x="76" y="349"/>
                    <a:pt x="75" y="346"/>
                  </a:cubicBezTo>
                  <a:cubicBezTo>
                    <a:pt x="73" y="343"/>
                    <a:pt x="68" y="340"/>
                    <a:pt x="73" y="340"/>
                  </a:cubicBezTo>
                  <a:cubicBezTo>
                    <a:pt x="70" y="337"/>
                    <a:pt x="66" y="336"/>
                    <a:pt x="66" y="331"/>
                  </a:cubicBezTo>
                  <a:cubicBezTo>
                    <a:pt x="66" y="328"/>
                    <a:pt x="66" y="322"/>
                    <a:pt x="64" y="319"/>
                  </a:cubicBezTo>
                  <a:cubicBezTo>
                    <a:pt x="64" y="321"/>
                    <a:pt x="65" y="327"/>
                    <a:pt x="61" y="324"/>
                  </a:cubicBezTo>
                  <a:cubicBezTo>
                    <a:pt x="63" y="327"/>
                    <a:pt x="65" y="332"/>
                    <a:pt x="63" y="335"/>
                  </a:cubicBezTo>
                  <a:cubicBezTo>
                    <a:pt x="56" y="333"/>
                    <a:pt x="52" y="325"/>
                    <a:pt x="48" y="320"/>
                  </a:cubicBezTo>
                  <a:cubicBezTo>
                    <a:pt x="46" y="318"/>
                    <a:pt x="50" y="316"/>
                    <a:pt x="51" y="318"/>
                  </a:cubicBezTo>
                  <a:cubicBezTo>
                    <a:pt x="52" y="320"/>
                    <a:pt x="54" y="321"/>
                    <a:pt x="56" y="321"/>
                  </a:cubicBezTo>
                  <a:cubicBezTo>
                    <a:pt x="60" y="322"/>
                    <a:pt x="65" y="320"/>
                    <a:pt x="61" y="316"/>
                  </a:cubicBezTo>
                  <a:cubicBezTo>
                    <a:pt x="59" y="313"/>
                    <a:pt x="51" y="310"/>
                    <a:pt x="56" y="306"/>
                  </a:cubicBezTo>
                  <a:cubicBezTo>
                    <a:pt x="53" y="306"/>
                    <a:pt x="51" y="306"/>
                    <a:pt x="49" y="305"/>
                  </a:cubicBezTo>
                  <a:cubicBezTo>
                    <a:pt x="49" y="303"/>
                    <a:pt x="50" y="301"/>
                    <a:pt x="50" y="299"/>
                  </a:cubicBezTo>
                  <a:cubicBezTo>
                    <a:pt x="47" y="301"/>
                    <a:pt x="43" y="297"/>
                    <a:pt x="42" y="296"/>
                  </a:cubicBezTo>
                  <a:cubicBezTo>
                    <a:pt x="39" y="292"/>
                    <a:pt x="37" y="295"/>
                    <a:pt x="33" y="293"/>
                  </a:cubicBezTo>
                  <a:cubicBezTo>
                    <a:pt x="34" y="296"/>
                    <a:pt x="36" y="299"/>
                    <a:pt x="37" y="302"/>
                  </a:cubicBezTo>
                  <a:cubicBezTo>
                    <a:pt x="36" y="300"/>
                    <a:pt x="35" y="298"/>
                    <a:pt x="34" y="296"/>
                  </a:cubicBezTo>
                  <a:cubicBezTo>
                    <a:pt x="33" y="298"/>
                    <a:pt x="33" y="300"/>
                    <a:pt x="35" y="302"/>
                  </a:cubicBezTo>
                  <a:cubicBezTo>
                    <a:pt x="31" y="297"/>
                    <a:pt x="29" y="294"/>
                    <a:pt x="32" y="289"/>
                  </a:cubicBezTo>
                  <a:cubicBezTo>
                    <a:pt x="31" y="289"/>
                    <a:pt x="30" y="289"/>
                    <a:pt x="28" y="289"/>
                  </a:cubicBezTo>
                  <a:cubicBezTo>
                    <a:pt x="29" y="287"/>
                    <a:pt x="30" y="285"/>
                    <a:pt x="31" y="283"/>
                  </a:cubicBezTo>
                  <a:cubicBezTo>
                    <a:pt x="30" y="283"/>
                    <a:pt x="30" y="283"/>
                    <a:pt x="30" y="284"/>
                  </a:cubicBezTo>
                  <a:cubicBezTo>
                    <a:pt x="29" y="281"/>
                    <a:pt x="29" y="279"/>
                    <a:pt x="30" y="277"/>
                  </a:cubicBezTo>
                  <a:cubicBezTo>
                    <a:pt x="28" y="282"/>
                    <a:pt x="28" y="287"/>
                    <a:pt x="25" y="292"/>
                  </a:cubicBezTo>
                  <a:cubicBezTo>
                    <a:pt x="22" y="290"/>
                    <a:pt x="23" y="288"/>
                    <a:pt x="24" y="285"/>
                  </a:cubicBezTo>
                  <a:cubicBezTo>
                    <a:pt x="24" y="282"/>
                    <a:pt x="20" y="279"/>
                    <a:pt x="19" y="276"/>
                  </a:cubicBezTo>
                  <a:cubicBezTo>
                    <a:pt x="19" y="279"/>
                    <a:pt x="21" y="282"/>
                    <a:pt x="19" y="285"/>
                  </a:cubicBezTo>
                  <a:cubicBezTo>
                    <a:pt x="17" y="280"/>
                    <a:pt x="12" y="277"/>
                    <a:pt x="9" y="273"/>
                  </a:cubicBezTo>
                  <a:cubicBezTo>
                    <a:pt x="5" y="268"/>
                    <a:pt x="3" y="261"/>
                    <a:pt x="0" y="25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558">
              <a:extLst>
                <a:ext uri="{FF2B5EF4-FFF2-40B4-BE49-F238E27FC236}">
                  <a16:creationId xmlns:a16="http://schemas.microsoft.com/office/drawing/2014/main" id="{460BA01D-412B-49D4-95B0-12CC8AB57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6692" y="3129552"/>
              <a:ext cx="582833" cy="1392569"/>
            </a:xfrm>
            <a:custGeom>
              <a:avLst/>
              <a:gdLst>
                <a:gd name="T0" fmla="*/ 14 w 269"/>
                <a:gd name="T1" fmla="*/ 251 h 643"/>
                <a:gd name="T2" fmla="*/ 11 w 269"/>
                <a:gd name="T3" fmla="*/ 221 h 643"/>
                <a:gd name="T4" fmla="*/ 24 w 269"/>
                <a:gd name="T5" fmla="*/ 212 h 643"/>
                <a:gd name="T6" fmla="*/ 21 w 269"/>
                <a:gd name="T7" fmla="*/ 156 h 643"/>
                <a:gd name="T8" fmla="*/ 46 w 269"/>
                <a:gd name="T9" fmla="*/ 163 h 643"/>
                <a:gd name="T10" fmla="*/ 61 w 269"/>
                <a:gd name="T11" fmla="*/ 82 h 643"/>
                <a:gd name="T12" fmla="*/ 77 w 269"/>
                <a:gd name="T13" fmla="*/ 56 h 643"/>
                <a:gd name="T14" fmla="*/ 105 w 269"/>
                <a:gd name="T15" fmla="*/ 43 h 643"/>
                <a:gd name="T16" fmla="*/ 111 w 269"/>
                <a:gd name="T17" fmla="*/ 26 h 643"/>
                <a:gd name="T18" fmla="*/ 118 w 269"/>
                <a:gd name="T19" fmla="*/ 0 h 643"/>
                <a:gd name="T20" fmla="*/ 148 w 269"/>
                <a:gd name="T21" fmla="*/ 35 h 643"/>
                <a:gd name="T22" fmla="*/ 167 w 269"/>
                <a:gd name="T23" fmla="*/ 76 h 643"/>
                <a:gd name="T24" fmla="*/ 162 w 269"/>
                <a:gd name="T25" fmla="*/ 101 h 643"/>
                <a:gd name="T26" fmla="*/ 149 w 269"/>
                <a:gd name="T27" fmla="*/ 129 h 643"/>
                <a:gd name="T28" fmla="*/ 152 w 269"/>
                <a:gd name="T29" fmla="*/ 152 h 643"/>
                <a:gd name="T30" fmla="*/ 186 w 269"/>
                <a:gd name="T31" fmla="*/ 152 h 643"/>
                <a:gd name="T32" fmla="*/ 188 w 269"/>
                <a:gd name="T33" fmla="*/ 175 h 643"/>
                <a:gd name="T34" fmla="*/ 209 w 269"/>
                <a:gd name="T35" fmla="*/ 208 h 643"/>
                <a:gd name="T36" fmla="*/ 237 w 269"/>
                <a:gd name="T37" fmla="*/ 238 h 643"/>
                <a:gd name="T38" fmla="*/ 265 w 269"/>
                <a:gd name="T39" fmla="*/ 235 h 643"/>
                <a:gd name="T40" fmla="*/ 255 w 269"/>
                <a:gd name="T41" fmla="*/ 265 h 643"/>
                <a:gd name="T42" fmla="*/ 223 w 269"/>
                <a:gd name="T43" fmla="*/ 285 h 643"/>
                <a:gd name="T44" fmla="*/ 211 w 269"/>
                <a:gd name="T45" fmla="*/ 302 h 643"/>
                <a:gd name="T46" fmla="*/ 182 w 269"/>
                <a:gd name="T47" fmla="*/ 304 h 643"/>
                <a:gd name="T48" fmla="*/ 176 w 269"/>
                <a:gd name="T49" fmla="*/ 333 h 643"/>
                <a:gd name="T50" fmla="*/ 177 w 269"/>
                <a:gd name="T51" fmla="*/ 355 h 643"/>
                <a:gd name="T52" fmla="*/ 196 w 269"/>
                <a:gd name="T53" fmla="*/ 389 h 643"/>
                <a:gd name="T54" fmla="*/ 218 w 269"/>
                <a:gd name="T55" fmla="*/ 425 h 643"/>
                <a:gd name="T56" fmla="*/ 215 w 269"/>
                <a:gd name="T57" fmla="*/ 438 h 643"/>
                <a:gd name="T58" fmla="*/ 206 w 269"/>
                <a:gd name="T59" fmla="*/ 463 h 643"/>
                <a:gd name="T60" fmla="*/ 243 w 269"/>
                <a:gd name="T61" fmla="*/ 530 h 643"/>
                <a:gd name="T62" fmla="*/ 254 w 269"/>
                <a:gd name="T63" fmla="*/ 563 h 643"/>
                <a:gd name="T64" fmla="*/ 239 w 269"/>
                <a:gd name="T65" fmla="*/ 617 h 643"/>
                <a:gd name="T66" fmla="*/ 229 w 269"/>
                <a:gd name="T67" fmla="*/ 623 h 643"/>
                <a:gd name="T68" fmla="*/ 234 w 269"/>
                <a:gd name="T69" fmla="*/ 595 h 643"/>
                <a:gd name="T70" fmla="*/ 230 w 269"/>
                <a:gd name="T71" fmla="*/ 583 h 643"/>
                <a:gd name="T72" fmla="*/ 226 w 269"/>
                <a:gd name="T73" fmla="*/ 563 h 643"/>
                <a:gd name="T74" fmla="*/ 228 w 269"/>
                <a:gd name="T75" fmla="*/ 548 h 643"/>
                <a:gd name="T76" fmla="*/ 210 w 269"/>
                <a:gd name="T77" fmla="*/ 502 h 643"/>
                <a:gd name="T78" fmla="*/ 207 w 269"/>
                <a:gd name="T79" fmla="*/ 498 h 643"/>
                <a:gd name="T80" fmla="*/ 197 w 269"/>
                <a:gd name="T81" fmla="*/ 479 h 643"/>
                <a:gd name="T82" fmla="*/ 185 w 269"/>
                <a:gd name="T83" fmla="*/ 428 h 643"/>
                <a:gd name="T84" fmla="*/ 168 w 269"/>
                <a:gd name="T85" fmla="*/ 395 h 643"/>
                <a:gd name="T86" fmla="*/ 158 w 269"/>
                <a:gd name="T87" fmla="*/ 393 h 643"/>
                <a:gd name="T88" fmla="*/ 142 w 269"/>
                <a:gd name="T89" fmla="*/ 406 h 643"/>
                <a:gd name="T90" fmla="*/ 127 w 269"/>
                <a:gd name="T91" fmla="*/ 427 h 643"/>
                <a:gd name="T92" fmla="*/ 115 w 269"/>
                <a:gd name="T93" fmla="*/ 434 h 643"/>
                <a:gd name="T94" fmla="*/ 103 w 269"/>
                <a:gd name="T95" fmla="*/ 443 h 643"/>
                <a:gd name="T96" fmla="*/ 95 w 269"/>
                <a:gd name="T97" fmla="*/ 437 h 643"/>
                <a:gd name="T98" fmla="*/ 96 w 269"/>
                <a:gd name="T99" fmla="*/ 416 h 643"/>
                <a:gd name="T100" fmla="*/ 85 w 269"/>
                <a:gd name="T101" fmla="*/ 406 h 643"/>
                <a:gd name="T102" fmla="*/ 79 w 269"/>
                <a:gd name="T103" fmla="*/ 353 h 643"/>
                <a:gd name="T104" fmla="*/ 66 w 269"/>
                <a:gd name="T105" fmla="*/ 331 h 643"/>
                <a:gd name="T106" fmla="*/ 63 w 269"/>
                <a:gd name="T107" fmla="*/ 335 h 643"/>
                <a:gd name="T108" fmla="*/ 56 w 269"/>
                <a:gd name="T109" fmla="*/ 321 h 643"/>
                <a:gd name="T110" fmla="*/ 49 w 269"/>
                <a:gd name="T111" fmla="*/ 305 h 643"/>
                <a:gd name="T112" fmla="*/ 33 w 269"/>
                <a:gd name="T113" fmla="*/ 293 h 643"/>
                <a:gd name="T114" fmla="*/ 35 w 269"/>
                <a:gd name="T115" fmla="*/ 302 h 643"/>
                <a:gd name="T116" fmla="*/ 31 w 269"/>
                <a:gd name="T117" fmla="*/ 283 h 643"/>
                <a:gd name="T118" fmla="*/ 25 w 269"/>
                <a:gd name="T119" fmla="*/ 292 h 643"/>
                <a:gd name="T120" fmla="*/ 19 w 269"/>
                <a:gd name="T121" fmla="*/ 285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" h="643">
                  <a:moveTo>
                    <a:pt x="0" y="255"/>
                  </a:moveTo>
                  <a:cubicBezTo>
                    <a:pt x="0" y="253"/>
                    <a:pt x="0" y="247"/>
                    <a:pt x="3" y="247"/>
                  </a:cubicBezTo>
                  <a:cubicBezTo>
                    <a:pt x="7" y="246"/>
                    <a:pt x="10" y="252"/>
                    <a:pt x="14" y="251"/>
                  </a:cubicBezTo>
                  <a:cubicBezTo>
                    <a:pt x="12" y="246"/>
                    <a:pt x="10" y="241"/>
                    <a:pt x="10" y="235"/>
                  </a:cubicBezTo>
                  <a:cubicBezTo>
                    <a:pt x="10" y="233"/>
                    <a:pt x="10" y="230"/>
                    <a:pt x="9" y="228"/>
                  </a:cubicBezTo>
                  <a:cubicBezTo>
                    <a:pt x="8" y="226"/>
                    <a:pt x="12" y="224"/>
                    <a:pt x="11" y="221"/>
                  </a:cubicBezTo>
                  <a:cubicBezTo>
                    <a:pt x="14" y="223"/>
                    <a:pt x="16" y="229"/>
                    <a:pt x="19" y="228"/>
                  </a:cubicBezTo>
                  <a:cubicBezTo>
                    <a:pt x="22" y="227"/>
                    <a:pt x="21" y="222"/>
                    <a:pt x="21" y="220"/>
                  </a:cubicBezTo>
                  <a:cubicBezTo>
                    <a:pt x="27" y="223"/>
                    <a:pt x="25" y="214"/>
                    <a:pt x="24" y="212"/>
                  </a:cubicBezTo>
                  <a:cubicBezTo>
                    <a:pt x="20" y="204"/>
                    <a:pt x="21" y="198"/>
                    <a:pt x="20" y="191"/>
                  </a:cubicBezTo>
                  <a:cubicBezTo>
                    <a:pt x="26" y="195"/>
                    <a:pt x="26" y="186"/>
                    <a:pt x="26" y="182"/>
                  </a:cubicBezTo>
                  <a:cubicBezTo>
                    <a:pt x="26" y="173"/>
                    <a:pt x="24" y="165"/>
                    <a:pt x="21" y="156"/>
                  </a:cubicBezTo>
                  <a:cubicBezTo>
                    <a:pt x="22" y="156"/>
                    <a:pt x="24" y="157"/>
                    <a:pt x="25" y="158"/>
                  </a:cubicBezTo>
                  <a:cubicBezTo>
                    <a:pt x="27" y="159"/>
                    <a:pt x="27" y="158"/>
                    <a:pt x="30" y="157"/>
                  </a:cubicBezTo>
                  <a:cubicBezTo>
                    <a:pt x="34" y="157"/>
                    <a:pt x="43" y="161"/>
                    <a:pt x="46" y="163"/>
                  </a:cubicBezTo>
                  <a:cubicBezTo>
                    <a:pt x="46" y="150"/>
                    <a:pt x="64" y="126"/>
                    <a:pt x="54" y="116"/>
                  </a:cubicBezTo>
                  <a:cubicBezTo>
                    <a:pt x="48" y="110"/>
                    <a:pt x="60" y="103"/>
                    <a:pt x="61" y="97"/>
                  </a:cubicBezTo>
                  <a:cubicBezTo>
                    <a:pt x="63" y="91"/>
                    <a:pt x="64" y="87"/>
                    <a:pt x="61" y="82"/>
                  </a:cubicBezTo>
                  <a:cubicBezTo>
                    <a:pt x="59" y="77"/>
                    <a:pt x="58" y="68"/>
                    <a:pt x="63" y="65"/>
                  </a:cubicBezTo>
                  <a:cubicBezTo>
                    <a:pt x="65" y="64"/>
                    <a:pt x="69" y="65"/>
                    <a:pt x="70" y="62"/>
                  </a:cubicBezTo>
                  <a:cubicBezTo>
                    <a:pt x="70" y="60"/>
                    <a:pt x="75" y="58"/>
                    <a:pt x="77" y="56"/>
                  </a:cubicBezTo>
                  <a:cubicBezTo>
                    <a:pt x="79" y="54"/>
                    <a:pt x="81" y="51"/>
                    <a:pt x="83" y="48"/>
                  </a:cubicBezTo>
                  <a:cubicBezTo>
                    <a:pt x="85" y="43"/>
                    <a:pt x="93" y="44"/>
                    <a:pt x="98" y="43"/>
                  </a:cubicBezTo>
                  <a:cubicBezTo>
                    <a:pt x="100" y="43"/>
                    <a:pt x="103" y="41"/>
                    <a:pt x="105" y="43"/>
                  </a:cubicBezTo>
                  <a:cubicBezTo>
                    <a:pt x="108" y="46"/>
                    <a:pt x="111" y="52"/>
                    <a:pt x="116" y="50"/>
                  </a:cubicBezTo>
                  <a:cubicBezTo>
                    <a:pt x="115" y="46"/>
                    <a:pt x="111" y="44"/>
                    <a:pt x="108" y="40"/>
                  </a:cubicBezTo>
                  <a:cubicBezTo>
                    <a:pt x="103" y="35"/>
                    <a:pt x="107" y="30"/>
                    <a:pt x="111" y="26"/>
                  </a:cubicBezTo>
                  <a:cubicBezTo>
                    <a:pt x="117" y="19"/>
                    <a:pt x="114" y="21"/>
                    <a:pt x="114" y="14"/>
                  </a:cubicBezTo>
                  <a:cubicBezTo>
                    <a:pt x="114" y="12"/>
                    <a:pt x="118" y="11"/>
                    <a:pt x="117" y="8"/>
                  </a:cubicBezTo>
                  <a:cubicBezTo>
                    <a:pt x="117" y="6"/>
                    <a:pt x="118" y="3"/>
                    <a:pt x="118" y="0"/>
                  </a:cubicBezTo>
                  <a:cubicBezTo>
                    <a:pt x="124" y="6"/>
                    <a:pt x="134" y="7"/>
                    <a:pt x="139" y="15"/>
                  </a:cubicBezTo>
                  <a:cubicBezTo>
                    <a:pt x="140" y="18"/>
                    <a:pt x="140" y="21"/>
                    <a:pt x="141" y="24"/>
                  </a:cubicBezTo>
                  <a:cubicBezTo>
                    <a:pt x="143" y="28"/>
                    <a:pt x="146" y="31"/>
                    <a:pt x="148" y="35"/>
                  </a:cubicBezTo>
                  <a:cubicBezTo>
                    <a:pt x="150" y="34"/>
                    <a:pt x="151" y="32"/>
                    <a:pt x="150" y="30"/>
                  </a:cubicBezTo>
                  <a:cubicBezTo>
                    <a:pt x="162" y="35"/>
                    <a:pt x="162" y="48"/>
                    <a:pt x="166" y="60"/>
                  </a:cubicBezTo>
                  <a:cubicBezTo>
                    <a:pt x="167" y="65"/>
                    <a:pt x="168" y="70"/>
                    <a:pt x="167" y="76"/>
                  </a:cubicBezTo>
                  <a:cubicBezTo>
                    <a:pt x="167" y="79"/>
                    <a:pt x="172" y="87"/>
                    <a:pt x="165" y="85"/>
                  </a:cubicBezTo>
                  <a:cubicBezTo>
                    <a:pt x="166" y="87"/>
                    <a:pt x="174" y="97"/>
                    <a:pt x="166" y="94"/>
                  </a:cubicBezTo>
                  <a:cubicBezTo>
                    <a:pt x="165" y="94"/>
                    <a:pt x="162" y="100"/>
                    <a:pt x="162" y="101"/>
                  </a:cubicBezTo>
                  <a:cubicBezTo>
                    <a:pt x="163" y="105"/>
                    <a:pt x="158" y="103"/>
                    <a:pt x="156" y="103"/>
                  </a:cubicBezTo>
                  <a:cubicBezTo>
                    <a:pt x="156" y="105"/>
                    <a:pt x="155" y="120"/>
                    <a:pt x="148" y="114"/>
                  </a:cubicBezTo>
                  <a:cubicBezTo>
                    <a:pt x="149" y="120"/>
                    <a:pt x="146" y="124"/>
                    <a:pt x="149" y="129"/>
                  </a:cubicBezTo>
                  <a:cubicBezTo>
                    <a:pt x="144" y="129"/>
                    <a:pt x="144" y="133"/>
                    <a:pt x="144" y="137"/>
                  </a:cubicBezTo>
                  <a:cubicBezTo>
                    <a:pt x="144" y="142"/>
                    <a:pt x="148" y="142"/>
                    <a:pt x="149" y="145"/>
                  </a:cubicBezTo>
                  <a:cubicBezTo>
                    <a:pt x="150" y="146"/>
                    <a:pt x="152" y="151"/>
                    <a:pt x="152" y="152"/>
                  </a:cubicBezTo>
                  <a:cubicBezTo>
                    <a:pt x="150" y="155"/>
                    <a:pt x="146" y="159"/>
                    <a:pt x="150" y="162"/>
                  </a:cubicBezTo>
                  <a:cubicBezTo>
                    <a:pt x="151" y="163"/>
                    <a:pt x="161" y="156"/>
                    <a:pt x="163" y="155"/>
                  </a:cubicBezTo>
                  <a:cubicBezTo>
                    <a:pt x="170" y="151"/>
                    <a:pt x="179" y="157"/>
                    <a:pt x="186" y="152"/>
                  </a:cubicBezTo>
                  <a:cubicBezTo>
                    <a:pt x="187" y="157"/>
                    <a:pt x="181" y="158"/>
                    <a:pt x="183" y="163"/>
                  </a:cubicBezTo>
                  <a:cubicBezTo>
                    <a:pt x="183" y="165"/>
                    <a:pt x="185" y="167"/>
                    <a:pt x="187" y="168"/>
                  </a:cubicBezTo>
                  <a:cubicBezTo>
                    <a:pt x="189" y="171"/>
                    <a:pt x="186" y="173"/>
                    <a:pt x="188" y="175"/>
                  </a:cubicBezTo>
                  <a:cubicBezTo>
                    <a:pt x="192" y="178"/>
                    <a:pt x="190" y="185"/>
                    <a:pt x="196" y="188"/>
                  </a:cubicBezTo>
                  <a:cubicBezTo>
                    <a:pt x="203" y="191"/>
                    <a:pt x="209" y="187"/>
                    <a:pt x="212" y="195"/>
                  </a:cubicBezTo>
                  <a:cubicBezTo>
                    <a:pt x="204" y="195"/>
                    <a:pt x="208" y="204"/>
                    <a:pt x="209" y="208"/>
                  </a:cubicBezTo>
                  <a:cubicBezTo>
                    <a:pt x="210" y="212"/>
                    <a:pt x="200" y="221"/>
                    <a:pt x="208" y="223"/>
                  </a:cubicBezTo>
                  <a:cubicBezTo>
                    <a:pt x="213" y="225"/>
                    <a:pt x="224" y="221"/>
                    <a:pt x="229" y="225"/>
                  </a:cubicBezTo>
                  <a:cubicBezTo>
                    <a:pt x="234" y="230"/>
                    <a:pt x="227" y="238"/>
                    <a:pt x="237" y="238"/>
                  </a:cubicBezTo>
                  <a:cubicBezTo>
                    <a:pt x="235" y="240"/>
                    <a:pt x="236" y="244"/>
                    <a:pt x="238" y="246"/>
                  </a:cubicBezTo>
                  <a:cubicBezTo>
                    <a:pt x="240" y="248"/>
                    <a:pt x="242" y="242"/>
                    <a:pt x="245" y="244"/>
                  </a:cubicBezTo>
                  <a:cubicBezTo>
                    <a:pt x="252" y="248"/>
                    <a:pt x="260" y="238"/>
                    <a:pt x="265" y="235"/>
                  </a:cubicBezTo>
                  <a:cubicBezTo>
                    <a:pt x="265" y="240"/>
                    <a:pt x="269" y="243"/>
                    <a:pt x="264" y="247"/>
                  </a:cubicBezTo>
                  <a:cubicBezTo>
                    <a:pt x="262" y="249"/>
                    <a:pt x="257" y="250"/>
                    <a:pt x="256" y="252"/>
                  </a:cubicBezTo>
                  <a:cubicBezTo>
                    <a:pt x="255" y="254"/>
                    <a:pt x="249" y="269"/>
                    <a:pt x="255" y="265"/>
                  </a:cubicBezTo>
                  <a:cubicBezTo>
                    <a:pt x="254" y="270"/>
                    <a:pt x="247" y="267"/>
                    <a:pt x="245" y="269"/>
                  </a:cubicBezTo>
                  <a:cubicBezTo>
                    <a:pt x="241" y="273"/>
                    <a:pt x="242" y="279"/>
                    <a:pt x="241" y="284"/>
                  </a:cubicBezTo>
                  <a:cubicBezTo>
                    <a:pt x="235" y="278"/>
                    <a:pt x="230" y="285"/>
                    <a:pt x="223" y="285"/>
                  </a:cubicBezTo>
                  <a:cubicBezTo>
                    <a:pt x="225" y="288"/>
                    <a:pt x="225" y="292"/>
                    <a:pt x="222" y="293"/>
                  </a:cubicBezTo>
                  <a:cubicBezTo>
                    <a:pt x="219" y="294"/>
                    <a:pt x="217" y="291"/>
                    <a:pt x="214" y="291"/>
                  </a:cubicBezTo>
                  <a:cubicBezTo>
                    <a:pt x="211" y="292"/>
                    <a:pt x="211" y="299"/>
                    <a:pt x="211" y="302"/>
                  </a:cubicBezTo>
                  <a:cubicBezTo>
                    <a:pt x="210" y="304"/>
                    <a:pt x="208" y="304"/>
                    <a:pt x="207" y="303"/>
                  </a:cubicBezTo>
                  <a:cubicBezTo>
                    <a:pt x="205" y="302"/>
                    <a:pt x="200" y="307"/>
                    <a:pt x="197" y="307"/>
                  </a:cubicBezTo>
                  <a:cubicBezTo>
                    <a:pt x="196" y="307"/>
                    <a:pt x="182" y="305"/>
                    <a:pt x="182" y="304"/>
                  </a:cubicBezTo>
                  <a:cubicBezTo>
                    <a:pt x="182" y="309"/>
                    <a:pt x="178" y="312"/>
                    <a:pt x="177" y="317"/>
                  </a:cubicBezTo>
                  <a:cubicBezTo>
                    <a:pt x="177" y="319"/>
                    <a:pt x="178" y="322"/>
                    <a:pt x="179" y="324"/>
                  </a:cubicBezTo>
                  <a:cubicBezTo>
                    <a:pt x="180" y="327"/>
                    <a:pt x="177" y="330"/>
                    <a:pt x="176" y="333"/>
                  </a:cubicBezTo>
                  <a:cubicBezTo>
                    <a:pt x="176" y="336"/>
                    <a:pt x="182" y="341"/>
                    <a:pt x="179" y="345"/>
                  </a:cubicBezTo>
                  <a:cubicBezTo>
                    <a:pt x="177" y="348"/>
                    <a:pt x="169" y="349"/>
                    <a:pt x="167" y="345"/>
                  </a:cubicBezTo>
                  <a:cubicBezTo>
                    <a:pt x="168" y="349"/>
                    <a:pt x="171" y="357"/>
                    <a:pt x="177" y="355"/>
                  </a:cubicBezTo>
                  <a:cubicBezTo>
                    <a:pt x="176" y="358"/>
                    <a:pt x="178" y="360"/>
                    <a:pt x="180" y="362"/>
                  </a:cubicBezTo>
                  <a:cubicBezTo>
                    <a:pt x="181" y="366"/>
                    <a:pt x="180" y="369"/>
                    <a:pt x="182" y="372"/>
                  </a:cubicBezTo>
                  <a:cubicBezTo>
                    <a:pt x="184" y="378"/>
                    <a:pt x="192" y="385"/>
                    <a:pt x="196" y="389"/>
                  </a:cubicBezTo>
                  <a:cubicBezTo>
                    <a:pt x="198" y="392"/>
                    <a:pt x="201" y="394"/>
                    <a:pt x="203" y="398"/>
                  </a:cubicBezTo>
                  <a:cubicBezTo>
                    <a:pt x="205" y="400"/>
                    <a:pt x="208" y="400"/>
                    <a:pt x="210" y="404"/>
                  </a:cubicBezTo>
                  <a:cubicBezTo>
                    <a:pt x="212" y="411"/>
                    <a:pt x="213" y="418"/>
                    <a:pt x="218" y="425"/>
                  </a:cubicBezTo>
                  <a:cubicBezTo>
                    <a:pt x="219" y="423"/>
                    <a:pt x="221" y="421"/>
                    <a:pt x="221" y="418"/>
                  </a:cubicBezTo>
                  <a:cubicBezTo>
                    <a:pt x="225" y="421"/>
                    <a:pt x="224" y="428"/>
                    <a:pt x="220" y="430"/>
                  </a:cubicBezTo>
                  <a:cubicBezTo>
                    <a:pt x="216" y="434"/>
                    <a:pt x="214" y="430"/>
                    <a:pt x="215" y="438"/>
                  </a:cubicBezTo>
                  <a:cubicBezTo>
                    <a:pt x="216" y="442"/>
                    <a:pt x="217" y="449"/>
                    <a:pt x="217" y="453"/>
                  </a:cubicBezTo>
                  <a:cubicBezTo>
                    <a:pt x="216" y="456"/>
                    <a:pt x="211" y="456"/>
                    <a:pt x="212" y="460"/>
                  </a:cubicBezTo>
                  <a:cubicBezTo>
                    <a:pt x="209" y="458"/>
                    <a:pt x="207" y="460"/>
                    <a:pt x="206" y="463"/>
                  </a:cubicBezTo>
                  <a:cubicBezTo>
                    <a:pt x="206" y="467"/>
                    <a:pt x="208" y="473"/>
                    <a:pt x="210" y="476"/>
                  </a:cubicBezTo>
                  <a:cubicBezTo>
                    <a:pt x="216" y="486"/>
                    <a:pt x="226" y="494"/>
                    <a:pt x="234" y="502"/>
                  </a:cubicBezTo>
                  <a:cubicBezTo>
                    <a:pt x="241" y="510"/>
                    <a:pt x="242" y="520"/>
                    <a:pt x="243" y="530"/>
                  </a:cubicBezTo>
                  <a:cubicBezTo>
                    <a:pt x="244" y="535"/>
                    <a:pt x="241" y="534"/>
                    <a:pt x="243" y="539"/>
                  </a:cubicBezTo>
                  <a:cubicBezTo>
                    <a:pt x="245" y="544"/>
                    <a:pt x="245" y="547"/>
                    <a:pt x="249" y="551"/>
                  </a:cubicBezTo>
                  <a:cubicBezTo>
                    <a:pt x="253" y="554"/>
                    <a:pt x="252" y="558"/>
                    <a:pt x="254" y="563"/>
                  </a:cubicBezTo>
                  <a:cubicBezTo>
                    <a:pt x="255" y="568"/>
                    <a:pt x="258" y="572"/>
                    <a:pt x="260" y="576"/>
                  </a:cubicBezTo>
                  <a:cubicBezTo>
                    <a:pt x="261" y="583"/>
                    <a:pt x="255" y="592"/>
                    <a:pt x="252" y="598"/>
                  </a:cubicBezTo>
                  <a:cubicBezTo>
                    <a:pt x="249" y="605"/>
                    <a:pt x="245" y="612"/>
                    <a:pt x="239" y="617"/>
                  </a:cubicBezTo>
                  <a:cubicBezTo>
                    <a:pt x="236" y="620"/>
                    <a:pt x="240" y="623"/>
                    <a:pt x="238" y="627"/>
                  </a:cubicBezTo>
                  <a:cubicBezTo>
                    <a:pt x="235" y="632"/>
                    <a:pt x="235" y="638"/>
                    <a:pt x="232" y="643"/>
                  </a:cubicBezTo>
                  <a:cubicBezTo>
                    <a:pt x="229" y="637"/>
                    <a:pt x="230" y="629"/>
                    <a:pt x="229" y="623"/>
                  </a:cubicBezTo>
                  <a:cubicBezTo>
                    <a:pt x="228" y="621"/>
                    <a:pt x="227" y="619"/>
                    <a:pt x="229" y="617"/>
                  </a:cubicBezTo>
                  <a:cubicBezTo>
                    <a:pt x="232" y="615"/>
                    <a:pt x="230" y="614"/>
                    <a:pt x="232" y="612"/>
                  </a:cubicBezTo>
                  <a:cubicBezTo>
                    <a:pt x="235" y="607"/>
                    <a:pt x="235" y="601"/>
                    <a:pt x="234" y="595"/>
                  </a:cubicBezTo>
                  <a:cubicBezTo>
                    <a:pt x="234" y="592"/>
                    <a:pt x="232" y="583"/>
                    <a:pt x="237" y="583"/>
                  </a:cubicBezTo>
                  <a:cubicBezTo>
                    <a:pt x="236" y="582"/>
                    <a:pt x="236" y="580"/>
                    <a:pt x="236" y="579"/>
                  </a:cubicBezTo>
                  <a:cubicBezTo>
                    <a:pt x="234" y="581"/>
                    <a:pt x="232" y="582"/>
                    <a:pt x="230" y="583"/>
                  </a:cubicBezTo>
                  <a:cubicBezTo>
                    <a:pt x="229" y="579"/>
                    <a:pt x="235" y="577"/>
                    <a:pt x="229" y="577"/>
                  </a:cubicBezTo>
                  <a:cubicBezTo>
                    <a:pt x="236" y="574"/>
                    <a:pt x="226" y="569"/>
                    <a:pt x="231" y="566"/>
                  </a:cubicBezTo>
                  <a:cubicBezTo>
                    <a:pt x="229" y="567"/>
                    <a:pt x="227" y="565"/>
                    <a:pt x="226" y="563"/>
                  </a:cubicBezTo>
                  <a:cubicBezTo>
                    <a:pt x="228" y="563"/>
                    <a:pt x="229" y="562"/>
                    <a:pt x="231" y="561"/>
                  </a:cubicBezTo>
                  <a:cubicBezTo>
                    <a:pt x="228" y="560"/>
                    <a:pt x="226" y="557"/>
                    <a:pt x="230" y="556"/>
                  </a:cubicBezTo>
                  <a:cubicBezTo>
                    <a:pt x="227" y="555"/>
                    <a:pt x="229" y="551"/>
                    <a:pt x="228" y="548"/>
                  </a:cubicBezTo>
                  <a:cubicBezTo>
                    <a:pt x="227" y="543"/>
                    <a:pt x="225" y="537"/>
                    <a:pt x="223" y="532"/>
                  </a:cubicBezTo>
                  <a:cubicBezTo>
                    <a:pt x="221" y="527"/>
                    <a:pt x="218" y="522"/>
                    <a:pt x="215" y="517"/>
                  </a:cubicBezTo>
                  <a:cubicBezTo>
                    <a:pt x="213" y="512"/>
                    <a:pt x="213" y="506"/>
                    <a:pt x="210" y="502"/>
                  </a:cubicBezTo>
                  <a:cubicBezTo>
                    <a:pt x="211" y="506"/>
                    <a:pt x="213" y="515"/>
                    <a:pt x="210" y="519"/>
                  </a:cubicBezTo>
                  <a:cubicBezTo>
                    <a:pt x="211" y="516"/>
                    <a:pt x="208" y="512"/>
                    <a:pt x="208" y="509"/>
                  </a:cubicBezTo>
                  <a:cubicBezTo>
                    <a:pt x="207" y="506"/>
                    <a:pt x="207" y="501"/>
                    <a:pt x="207" y="498"/>
                  </a:cubicBezTo>
                  <a:cubicBezTo>
                    <a:pt x="206" y="496"/>
                    <a:pt x="195" y="477"/>
                    <a:pt x="202" y="480"/>
                  </a:cubicBezTo>
                  <a:cubicBezTo>
                    <a:pt x="201" y="479"/>
                    <a:pt x="201" y="478"/>
                    <a:pt x="200" y="477"/>
                  </a:cubicBezTo>
                  <a:cubicBezTo>
                    <a:pt x="199" y="478"/>
                    <a:pt x="198" y="478"/>
                    <a:pt x="197" y="479"/>
                  </a:cubicBezTo>
                  <a:cubicBezTo>
                    <a:pt x="192" y="467"/>
                    <a:pt x="194" y="453"/>
                    <a:pt x="189" y="440"/>
                  </a:cubicBezTo>
                  <a:cubicBezTo>
                    <a:pt x="188" y="438"/>
                    <a:pt x="186" y="437"/>
                    <a:pt x="185" y="434"/>
                  </a:cubicBezTo>
                  <a:cubicBezTo>
                    <a:pt x="184" y="432"/>
                    <a:pt x="185" y="430"/>
                    <a:pt x="185" y="428"/>
                  </a:cubicBezTo>
                  <a:cubicBezTo>
                    <a:pt x="185" y="424"/>
                    <a:pt x="182" y="417"/>
                    <a:pt x="187" y="415"/>
                  </a:cubicBezTo>
                  <a:cubicBezTo>
                    <a:pt x="184" y="416"/>
                    <a:pt x="178" y="418"/>
                    <a:pt x="176" y="415"/>
                  </a:cubicBezTo>
                  <a:cubicBezTo>
                    <a:pt x="172" y="409"/>
                    <a:pt x="168" y="403"/>
                    <a:pt x="168" y="395"/>
                  </a:cubicBezTo>
                  <a:cubicBezTo>
                    <a:pt x="165" y="397"/>
                    <a:pt x="165" y="393"/>
                    <a:pt x="163" y="391"/>
                  </a:cubicBezTo>
                  <a:cubicBezTo>
                    <a:pt x="161" y="389"/>
                    <a:pt x="158" y="387"/>
                    <a:pt x="157" y="384"/>
                  </a:cubicBezTo>
                  <a:cubicBezTo>
                    <a:pt x="157" y="385"/>
                    <a:pt x="158" y="391"/>
                    <a:pt x="158" y="393"/>
                  </a:cubicBezTo>
                  <a:cubicBezTo>
                    <a:pt x="158" y="398"/>
                    <a:pt x="161" y="403"/>
                    <a:pt x="158" y="408"/>
                  </a:cubicBezTo>
                  <a:cubicBezTo>
                    <a:pt x="156" y="411"/>
                    <a:pt x="154" y="417"/>
                    <a:pt x="149" y="417"/>
                  </a:cubicBezTo>
                  <a:cubicBezTo>
                    <a:pt x="144" y="417"/>
                    <a:pt x="139" y="411"/>
                    <a:pt x="142" y="406"/>
                  </a:cubicBezTo>
                  <a:cubicBezTo>
                    <a:pt x="136" y="408"/>
                    <a:pt x="141" y="412"/>
                    <a:pt x="143" y="415"/>
                  </a:cubicBezTo>
                  <a:cubicBezTo>
                    <a:pt x="145" y="420"/>
                    <a:pt x="140" y="426"/>
                    <a:pt x="135" y="421"/>
                  </a:cubicBezTo>
                  <a:cubicBezTo>
                    <a:pt x="140" y="425"/>
                    <a:pt x="131" y="431"/>
                    <a:pt x="127" y="427"/>
                  </a:cubicBezTo>
                  <a:cubicBezTo>
                    <a:pt x="129" y="432"/>
                    <a:pt x="125" y="446"/>
                    <a:pt x="118" y="444"/>
                  </a:cubicBezTo>
                  <a:cubicBezTo>
                    <a:pt x="114" y="442"/>
                    <a:pt x="118" y="432"/>
                    <a:pt x="117" y="429"/>
                  </a:cubicBezTo>
                  <a:cubicBezTo>
                    <a:pt x="117" y="430"/>
                    <a:pt x="113" y="443"/>
                    <a:pt x="115" y="434"/>
                  </a:cubicBezTo>
                  <a:cubicBezTo>
                    <a:pt x="114" y="437"/>
                    <a:pt x="113" y="439"/>
                    <a:pt x="113" y="442"/>
                  </a:cubicBezTo>
                  <a:cubicBezTo>
                    <a:pt x="110" y="440"/>
                    <a:pt x="109" y="432"/>
                    <a:pt x="112" y="430"/>
                  </a:cubicBezTo>
                  <a:cubicBezTo>
                    <a:pt x="107" y="427"/>
                    <a:pt x="109" y="448"/>
                    <a:pt x="103" y="443"/>
                  </a:cubicBezTo>
                  <a:cubicBezTo>
                    <a:pt x="101" y="440"/>
                    <a:pt x="103" y="427"/>
                    <a:pt x="105" y="426"/>
                  </a:cubicBezTo>
                  <a:cubicBezTo>
                    <a:pt x="101" y="428"/>
                    <a:pt x="100" y="436"/>
                    <a:pt x="98" y="440"/>
                  </a:cubicBezTo>
                  <a:cubicBezTo>
                    <a:pt x="96" y="439"/>
                    <a:pt x="95" y="438"/>
                    <a:pt x="95" y="437"/>
                  </a:cubicBezTo>
                  <a:cubicBezTo>
                    <a:pt x="98" y="436"/>
                    <a:pt x="99" y="432"/>
                    <a:pt x="99" y="429"/>
                  </a:cubicBezTo>
                  <a:cubicBezTo>
                    <a:pt x="98" y="432"/>
                    <a:pt x="97" y="436"/>
                    <a:pt x="93" y="436"/>
                  </a:cubicBezTo>
                  <a:cubicBezTo>
                    <a:pt x="97" y="430"/>
                    <a:pt x="96" y="423"/>
                    <a:pt x="96" y="416"/>
                  </a:cubicBezTo>
                  <a:cubicBezTo>
                    <a:pt x="96" y="416"/>
                    <a:pt x="95" y="416"/>
                    <a:pt x="95" y="416"/>
                  </a:cubicBezTo>
                  <a:cubicBezTo>
                    <a:pt x="97" y="421"/>
                    <a:pt x="90" y="432"/>
                    <a:pt x="86" y="434"/>
                  </a:cubicBezTo>
                  <a:cubicBezTo>
                    <a:pt x="79" y="436"/>
                    <a:pt x="85" y="409"/>
                    <a:pt x="85" y="406"/>
                  </a:cubicBezTo>
                  <a:cubicBezTo>
                    <a:pt x="86" y="403"/>
                    <a:pt x="85" y="394"/>
                    <a:pt x="87" y="392"/>
                  </a:cubicBezTo>
                  <a:cubicBezTo>
                    <a:pt x="91" y="388"/>
                    <a:pt x="87" y="377"/>
                    <a:pt x="85" y="372"/>
                  </a:cubicBezTo>
                  <a:cubicBezTo>
                    <a:pt x="82" y="367"/>
                    <a:pt x="83" y="358"/>
                    <a:pt x="79" y="353"/>
                  </a:cubicBezTo>
                  <a:cubicBezTo>
                    <a:pt x="77" y="351"/>
                    <a:pt x="76" y="349"/>
                    <a:pt x="75" y="346"/>
                  </a:cubicBezTo>
                  <a:cubicBezTo>
                    <a:pt x="73" y="343"/>
                    <a:pt x="68" y="340"/>
                    <a:pt x="73" y="340"/>
                  </a:cubicBezTo>
                  <a:cubicBezTo>
                    <a:pt x="70" y="337"/>
                    <a:pt x="66" y="336"/>
                    <a:pt x="66" y="331"/>
                  </a:cubicBezTo>
                  <a:cubicBezTo>
                    <a:pt x="66" y="328"/>
                    <a:pt x="66" y="322"/>
                    <a:pt x="64" y="319"/>
                  </a:cubicBezTo>
                  <a:cubicBezTo>
                    <a:pt x="64" y="321"/>
                    <a:pt x="65" y="327"/>
                    <a:pt x="61" y="324"/>
                  </a:cubicBezTo>
                  <a:cubicBezTo>
                    <a:pt x="63" y="327"/>
                    <a:pt x="65" y="332"/>
                    <a:pt x="63" y="335"/>
                  </a:cubicBezTo>
                  <a:cubicBezTo>
                    <a:pt x="56" y="333"/>
                    <a:pt x="52" y="325"/>
                    <a:pt x="48" y="320"/>
                  </a:cubicBezTo>
                  <a:cubicBezTo>
                    <a:pt x="46" y="318"/>
                    <a:pt x="50" y="316"/>
                    <a:pt x="51" y="318"/>
                  </a:cubicBezTo>
                  <a:cubicBezTo>
                    <a:pt x="52" y="320"/>
                    <a:pt x="54" y="321"/>
                    <a:pt x="56" y="321"/>
                  </a:cubicBezTo>
                  <a:cubicBezTo>
                    <a:pt x="60" y="322"/>
                    <a:pt x="65" y="320"/>
                    <a:pt x="61" y="316"/>
                  </a:cubicBezTo>
                  <a:cubicBezTo>
                    <a:pt x="59" y="313"/>
                    <a:pt x="51" y="310"/>
                    <a:pt x="56" y="306"/>
                  </a:cubicBezTo>
                  <a:cubicBezTo>
                    <a:pt x="53" y="306"/>
                    <a:pt x="51" y="306"/>
                    <a:pt x="49" y="305"/>
                  </a:cubicBezTo>
                  <a:cubicBezTo>
                    <a:pt x="49" y="303"/>
                    <a:pt x="50" y="301"/>
                    <a:pt x="50" y="299"/>
                  </a:cubicBezTo>
                  <a:cubicBezTo>
                    <a:pt x="47" y="301"/>
                    <a:pt x="43" y="297"/>
                    <a:pt x="42" y="296"/>
                  </a:cubicBezTo>
                  <a:cubicBezTo>
                    <a:pt x="39" y="292"/>
                    <a:pt x="37" y="295"/>
                    <a:pt x="33" y="293"/>
                  </a:cubicBezTo>
                  <a:cubicBezTo>
                    <a:pt x="34" y="296"/>
                    <a:pt x="36" y="299"/>
                    <a:pt x="37" y="302"/>
                  </a:cubicBezTo>
                  <a:cubicBezTo>
                    <a:pt x="36" y="300"/>
                    <a:pt x="35" y="298"/>
                    <a:pt x="34" y="296"/>
                  </a:cubicBezTo>
                  <a:cubicBezTo>
                    <a:pt x="33" y="298"/>
                    <a:pt x="33" y="300"/>
                    <a:pt x="35" y="302"/>
                  </a:cubicBezTo>
                  <a:cubicBezTo>
                    <a:pt x="31" y="297"/>
                    <a:pt x="29" y="294"/>
                    <a:pt x="32" y="289"/>
                  </a:cubicBezTo>
                  <a:cubicBezTo>
                    <a:pt x="31" y="289"/>
                    <a:pt x="30" y="289"/>
                    <a:pt x="28" y="289"/>
                  </a:cubicBezTo>
                  <a:cubicBezTo>
                    <a:pt x="29" y="287"/>
                    <a:pt x="30" y="285"/>
                    <a:pt x="31" y="283"/>
                  </a:cubicBezTo>
                  <a:cubicBezTo>
                    <a:pt x="30" y="283"/>
                    <a:pt x="30" y="283"/>
                    <a:pt x="30" y="284"/>
                  </a:cubicBezTo>
                  <a:cubicBezTo>
                    <a:pt x="29" y="281"/>
                    <a:pt x="29" y="279"/>
                    <a:pt x="30" y="277"/>
                  </a:cubicBezTo>
                  <a:cubicBezTo>
                    <a:pt x="28" y="282"/>
                    <a:pt x="28" y="287"/>
                    <a:pt x="25" y="292"/>
                  </a:cubicBezTo>
                  <a:cubicBezTo>
                    <a:pt x="22" y="290"/>
                    <a:pt x="23" y="288"/>
                    <a:pt x="24" y="285"/>
                  </a:cubicBezTo>
                  <a:cubicBezTo>
                    <a:pt x="24" y="282"/>
                    <a:pt x="20" y="279"/>
                    <a:pt x="19" y="276"/>
                  </a:cubicBezTo>
                  <a:cubicBezTo>
                    <a:pt x="19" y="279"/>
                    <a:pt x="21" y="282"/>
                    <a:pt x="19" y="285"/>
                  </a:cubicBezTo>
                  <a:cubicBezTo>
                    <a:pt x="17" y="280"/>
                    <a:pt x="12" y="277"/>
                    <a:pt x="9" y="273"/>
                  </a:cubicBezTo>
                  <a:cubicBezTo>
                    <a:pt x="5" y="268"/>
                    <a:pt x="3" y="261"/>
                    <a:pt x="0" y="255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Freeform 559">
              <a:extLst>
                <a:ext uri="{FF2B5EF4-FFF2-40B4-BE49-F238E27FC236}">
                  <a16:creationId xmlns:a16="http://schemas.microsoft.com/office/drawing/2014/main" id="{A89FB085-D69D-4E5A-8DAE-5E4E15C6F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9342" y="2026176"/>
              <a:ext cx="622873" cy="302539"/>
            </a:xfrm>
            <a:custGeom>
              <a:avLst/>
              <a:gdLst>
                <a:gd name="T0" fmla="*/ 25 w 287"/>
                <a:gd name="T1" fmla="*/ 106 h 139"/>
                <a:gd name="T2" fmla="*/ 42 w 287"/>
                <a:gd name="T3" fmla="*/ 106 h 139"/>
                <a:gd name="T4" fmla="*/ 62 w 287"/>
                <a:gd name="T5" fmla="*/ 104 h 139"/>
                <a:gd name="T6" fmla="*/ 75 w 287"/>
                <a:gd name="T7" fmla="*/ 103 h 139"/>
                <a:gd name="T8" fmla="*/ 83 w 287"/>
                <a:gd name="T9" fmla="*/ 91 h 139"/>
                <a:gd name="T10" fmla="*/ 99 w 287"/>
                <a:gd name="T11" fmla="*/ 83 h 139"/>
                <a:gd name="T12" fmla="*/ 73 w 287"/>
                <a:gd name="T13" fmla="*/ 77 h 139"/>
                <a:gd name="T14" fmla="*/ 52 w 287"/>
                <a:gd name="T15" fmla="*/ 58 h 139"/>
                <a:gd name="T16" fmla="*/ 49 w 287"/>
                <a:gd name="T17" fmla="*/ 68 h 139"/>
                <a:gd name="T18" fmla="*/ 30 w 287"/>
                <a:gd name="T19" fmla="*/ 66 h 139"/>
                <a:gd name="T20" fmla="*/ 12 w 287"/>
                <a:gd name="T21" fmla="*/ 59 h 139"/>
                <a:gd name="T22" fmla="*/ 27 w 287"/>
                <a:gd name="T23" fmla="*/ 25 h 139"/>
                <a:gd name="T24" fmla="*/ 41 w 287"/>
                <a:gd name="T25" fmla="*/ 16 h 139"/>
                <a:gd name="T26" fmla="*/ 75 w 287"/>
                <a:gd name="T27" fmla="*/ 22 h 139"/>
                <a:gd name="T28" fmla="*/ 96 w 287"/>
                <a:gd name="T29" fmla="*/ 28 h 139"/>
                <a:gd name="T30" fmla="*/ 107 w 287"/>
                <a:gd name="T31" fmla="*/ 0 h 139"/>
                <a:gd name="T32" fmla="*/ 152 w 287"/>
                <a:gd name="T33" fmla="*/ 15 h 139"/>
                <a:gd name="T34" fmla="*/ 174 w 287"/>
                <a:gd name="T35" fmla="*/ 12 h 139"/>
                <a:gd name="T36" fmla="*/ 199 w 287"/>
                <a:gd name="T37" fmla="*/ 11 h 139"/>
                <a:gd name="T38" fmla="*/ 227 w 287"/>
                <a:gd name="T39" fmla="*/ 12 h 139"/>
                <a:gd name="T40" fmla="*/ 264 w 287"/>
                <a:gd name="T41" fmla="*/ 27 h 139"/>
                <a:gd name="T42" fmla="*/ 286 w 287"/>
                <a:gd name="T43" fmla="*/ 40 h 139"/>
                <a:gd name="T44" fmla="*/ 248 w 287"/>
                <a:gd name="T45" fmla="*/ 60 h 139"/>
                <a:gd name="T46" fmla="*/ 235 w 287"/>
                <a:gd name="T47" fmla="*/ 75 h 139"/>
                <a:gd name="T48" fmla="*/ 209 w 287"/>
                <a:gd name="T49" fmla="*/ 76 h 139"/>
                <a:gd name="T50" fmla="*/ 184 w 287"/>
                <a:gd name="T51" fmla="*/ 100 h 139"/>
                <a:gd name="T52" fmla="*/ 165 w 287"/>
                <a:gd name="T53" fmla="*/ 94 h 139"/>
                <a:gd name="T54" fmla="*/ 152 w 287"/>
                <a:gd name="T55" fmla="*/ 100 h 139"/>
                <a:gd name="T56" fmla="*/ 132 w 287"/>
                <a:gd name="T57" fmla="*/ 112 h 139"/>
                <a:gd name="T58" fmla="*/ 121 w 287"/>
                <a:gd name="T59" fmla="*/ 131 h 139"/>
                <a:gd name="T60" fmla="*/ 90 w 287"/>
                <a:gd name="T61" fmla="*/ 139 h 139"/>
                <a:gd name="T62" fmla="*/ 77 w 287"/>
                <a:gd name="T63" fmla="*/ 136 h 139"/>
                <a:gd name="T64" fmla="*/ 69 w 287"/>
                <a:gd name="T65" fmla="*/ 130 h 139"/>
                <a:gd name="T66" fmla="*/ 50 w 287"/>
                <a:gd name="T67" fmla="*/ 132 h 139"/>
                <a:gd name="T68" fmla="*/ 30 w 287"/>
                <a:gd name="T69" fmla="*/ 128 h 139"/>
                <a:gd name="T70" fmla="*/ 18 w 287"/>
                <a:gd name="T71" fmla="*/ 127 h 139"/>
                <a:gd name="T72" fmla="*/ 6 w 287"/>
                <a:gd name="T73" fmla="*/ 11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7" h="139">
                  <a:moveTo>
                    <a:pt x="5" y="109"/>
                  </a:moveTo>
                  <a:cubicBezTo>
                    <a:pt x="11" y="105"/>
                    <a:pt x="18" y="104"/>
                    <a:pt x="25" y="106"/>
                  </a:cubicBezTo>
                  <a:cubicBezTo>
                    <a:pt x="27" y="106"/>
                    <a:pt x="38" y="110"/>
                    <a:pt x="34" y="114"/>
                  </a:cubicBezTo>
                  <a:cubicBezTo>
                    <a:pt x="38" y="113"/>
                    <a:pt x="38" y="108"/>
                    <a:pt x="42" y="106"/>
                  </a:cubicBezTo>
                  <a:cubicBezTo>
                    <a:pt x="47" y="103"/>
                    <a:pt x="51" y="99"/>
                    <a:pt x="57" y="101"/>
                  </a:cubicBezTo>
                  <a:cubicBezTo>
                    <a:pt x="59" y="102"/>
                    <a:pt x="60" y="104"/>
                    <a:pt x="62" y="104"/>
                  </a:cubicBezTo>
                  <a:cubicBezTo>
                    <a:pt x="64" y="105"/>
                    <a:pt x="64" y="101"/>
                    <a:pt x="66" y="104"/>
                  </a:cubicBezTo>
                  <a:cubicBezTo>
                    <a:pt x="68" y="107"/>
                    <a:pt x="72" y="103"/>
                    <a:pt x="75" y="103"/>
                  </a:cubicBezTo>
                  <a:cubicBezTo>
                    <a:pt x="66" y="98"/>
                    <a:pt x="83" y="97"/>
                    <a:pt x="85" y="97"/>
                  </a:cubicBezTo>
                  <a:cubicBezTo>
                    <a:pt x="84" y="95"/>
                    <a:pt x="83" y="93"/>
                    <a:pt x="83" y="91"/>
                  </a:cubicBezTo>
                  <a:cubicBezTo>
                    <a:pt x="88" y="93"/>
                    <a:pt x="91" y="94"/>
                    <a:pt x="94" y="88"/>
                  </a:cubicBezTo>
                  <a:cubicBezTo>
                    <a:pt x="94" y="87"/>
                    <a:pt x="102" y="85"/>
                    <a:pt x="99" y="83"/>
                  </a:cubicBezTo>
                  <a:cubicBezTo>
                    <a:pt x="98" y="82"/>
                    <a:pt x="92" y="81"/>
                    <a:pt x="90" y="81"/>
                  </a:cubicBezTo>
                  <a:cubicBezTo>
                    <a:pt x="84" y="81"/>
                    <a:pt x="80" y="73"/>
                    <a:pt x="73" y="77"/>
                  </a:cubicBezTo>
                  <a:cubicBezTo>
                    <a:pt x="72" y="70"/>
                    <a:pt x="68" y="73"/>
                    <a:pt x="64" y="69"/>
                  </a:cubicBezTo>
                  <a:cubicBezTo>
                    <a:pt x="60" y="66"/>
                    <a:pt x="55" y="62"/>
                    <a:pt x="52" y="58"/>
                  </a:cubicBezTo>
                  <a:cubicBezTo>
                    <a:pt x="53" y="60"/>
                    <a:pt x="54" y="64"/>
                    <a:pt x="53" y="66"/>
                  </a:cubicBezTo>
                  <a:cubicBezTo>
                    <a:pt x="52" y="67"/>
                    <a:pt x="51" y="68"/>
                    <a:pt x="49" y="68"/>
                  </a:cubicBezTo>
                  <a:cubicBezTo>
                    <a:pt x="50" y="69"/>
                    <a:pt x="50" y="71"/>
                    <a:pt x="49" y="73"/>
                  </a:cubicBezTo>
                  <a:cubicBezTo>
                    <a:pt x="44" y="68"/>
                    <a:pt x="33" y="74"/>
                    <a:pt x="30" y="66"/>
                  </a:cubicBezTo>
                  <a:cubicBezTo>
                    <a:pt x="28" y="62"/>
                    <a:pt x="26" y="61"/>
                    <a:pt x="22" y="62"/>
                  </a:cubicBezTo>
                  <a:cubicBezTo>
                    <a:pt x="19" y="63"/>
                    <a:pt x="15" y="59"/>
                    <a:pt x="12" y="59"/>
                  </a:cubicBezTo>
                  <a:cubicBezTo>
                    <a:pt x="13" y="49"/>
                    <a:pt x="30" y="42"/>
                    <a:pt x="36" y="36"/>
                  </a:cubicBezTo>
                  <a:cubicBezTo>
                    <a:pt x="27" y="31"/>
                    <a:pt x="22" y="36"/>
                    <a:pt x="27" y="25"/>
                  </a:cubicBezTo>
                  <a:cubicBezTo>
                    <a:pt x="28" y="22"/>
                    <a:pt x="27" y="20"/>
                    <a:pt x="30" y="18"/>
                  </a:cubicBezTo>
                  <a:cubicBezTo>
                    <a:pt x="33" y="16"/>
                    <a:pt x="38" y="17"/>
                    <a:pt x="41" y="16"/>
                  </a:cubicBezTo>
                  <a:cubicBezTo>
                    <a:pt x="47" y="11"/>
                    <a:pt x="62" y="17"/>
                    <a:pt x="69" y="19"/>
                  </a:cubicBezTo>
                  <a:cubicBezTo>
                    <a:pt x="71" y="20"/>
                    <a:pt x="73" y="21"/>
                    <a:pt x="75" y="22"/>
                  </a:cubicBezTo>
                  <a:cubicBezTo>
                    <a:pt x="78" y="25"/>
                    <a:pt x="80" y="23"/>
                    <a:pt x="84" y="24"/>
                  </a:cubicBezTo>
                  <a:cubicBezTo>
                    <a:pt x="88" y="24"/>
                    <a:pt x="92" y="29"/>
                    <a:pt x="96" y="28"/>
                  </a:cubicBezTo>
                  <a:cubicBezTo>
                    <a:pt x="92" y="24"/>
                    <a:pt x="88" y="9"/>
                    <a:pt x="94" y="6"/>
                  </a:cubicBezTo>
                  <a:cubicBezTo>
                    <a:pt x="96" y="5"/>
                    <a:pt x="108" y="2"/>
                    <a:pt x="107" y="0"/>
                  </a:cubicBezTo>
                  <a:cubicBezTo>
                    <a:pt x="115" y="2"/>
                    <a:pt x="123" y="7"/>
                    <a:pt x="131" y="11"/>
                  </a:cubicBezTo>
                  <a:cubicBezTo>
                    <a:pt x="134" y="12"/>
                    <a:pt x="148" y="17"/>
                    <a:pt x="152" y="15"/>
                  </a:cubicBezTo>
                  <a:cubicBezTo>
                    <a:pt x="155" y="14"/>
                    <a:pt x="153" y="10"/>
                    <a:pt x="157" y="10"/>
                  </a:cubicBezTo>
                  <a:cubicBezTo>
                    <a:pt x="162" y="10"/>
                    <a:pt x="168" y="13"/>
                    <a:pt x="174" y="12"/>
                  </a:cubicBezTo>
                  <a:cubicBezTo>
                    <a:pt x="178" y="11"/>
                    <a:pt x="182" y="9"/>
                    <a:pt x="186" y="9"/>
                  </a:cubicBezTo>
                  <a:cubicBezTo>
                    <a:pt x="191" y="9"/>
                    <a:pt x="194" y="13"/>
                    <a:pt x="199" y="11"/>
                  </a:cubicBezTo>
                  <a:cubicBezTo>
                    <a:pt x="203" y="10"/>
                    <a:pt x="208" y="11"/>
                    <a:pt x="212" y="12"/>
                  </a:cubicBezTo>
                  <a:cubicBezTo>
                    <a:pt x="217" y="13"/>
                    <a:pt x="222" y="12"/>
                    <a:pt x="227" y="12"/>
                  </a:cubicBezTo>
                  <a:cubicBezTo>
                    <a:pt x="236" y="13"/>
                    <a:pt x="249" y="16"/>
                    <a:pt x="256" y="22"/>
                  </a:cubicBezTo>
                  <a:cubicBezTo>
                    <a:pt x="259" y="24"/>
                    <a:pt x="260" y="27"/>
                    <a:pt x="264" y="27"/>
                  </a:cubicBezTo>
                  <a:cubicBezTo>
                    <a:pt x="268" y="27"/>
                    <a:pt x="271" y="27"/>
                    <a:pt x="274" y="29"/>
                  </a:cubicBezTo>
                  <a:cubicBezTo>
                    <a:pt x="278" y="31"/>
                    <a:pt x="284" y="35"/>
                    <a:pt x="286" y="40"/>
                  </a:cubicBezTo>
                  <a:cubicBezTo>
                    <a:pt x="287" y="41"/>
                    <a:pt x="276" y="45"/>
                    <a:pt x="273" y="46"/>
                  </a:cubicBezTo>
                  <a:cubicBezTo>
                    <a:pt x="266" y="52"/>
                    <a:pt x="256" y="55"/>
                    <a:pt x="248" y="60"/>
                  </a:cubicBezTo>
                  <a:cubicBezTo>
                    <a:pt x="244" y="62"/>
                    <a:pt x="242" y="64"/>
                    <a:pt x="241" y="68"/>
                  </a:cubicBezTo>
                  <a:cubicBezTo>
                    <a:pt x="241" y="72"/>
                    <a:pt x="239" y="75"/>
                    <a:pt x="235" y="75"/>
                  </a:cubicBezTo>
                  <a:cubicBezTo>
                    <a:pt x="231" y="75"/>
                    <a:pt x="227" y="78"/>
                    <a:pt x="223" y="77"/>
                  </a:cubicBezTo>
                  <a:cubicBezTo>
                    <a:pt x="218" y="77"/>
                    <a:pt x="214" y="76"/>
                    <a:pt x="209" y="76"/>
                  </a:cubicBezTo>
                  <a:cubicBezTo>
                    <a:pt x="203" y="76"/>
                    <a:pt x="201" y="84"/>
                    <a:pt x="200" y="89"/>
                  </a:cubicBezTo>
                  <a:cubicBezTo>
                    <a:pt x="199" y="101"/>
                    <a:pt x="192" y="96"/>
                    <a:pt x="184" y="100"/>
                  </a:cubicBezTo>
                  <a:cubicBezTo>
                    <a:pt x="176" y="104"/>
                    <a:pt x="176" y="94"/>
                    <a:pt x="172" y="91"/>
                  </a:cubicBezTo>
                  <a:cubicBezTo>
                    <a:pt x="170" y="89"/>
                    <a:pt x="166" y="92"/>
                    <a:pt x="165" y="94"/>
                  </a:cubicBezTo>
                  <a:cubicBezTo>
                    <a:pt x="160" y="96"/>
                    <a:pt x="156" y="95"/>
                    <a:pt x="152" y="94"/>
                  </a:cubicBezTo>
                  <a:cubicBezTo>
                    <a:pt x="151" y="96"/>
                    <a:pt x="151" y="98"/>
                    <a:pt x="152" y="100"/>
                  </a:cubicBezTo>
                  <a:cubicBezTo>
                    <a:pt x="148" y="100"/>
                    <a:pt x="146" y="104"/>
                    <a:pt x="144" y="106"/>
                  </a:cubicBezTo>
                  <a:cubicBezTo>
                    <a:pt x="140" y="109"/>
                    <a:pt x="135" y="107"/>
                    <a:pt x="132" y="112"/>
                  </a:cubicBezTo>
                  <a:cubicBezTo>
                    <a:pt x="127" y="117"/>
                    <a:pt x="139" y="126"/>
                    <a:pt x="131" y="130"/>
                  </a:cubicBezTo>
                  <a:cubicBezTo>
                    <a:pt x="128" y="131"/>
                    <a:pt x="124" y="128"/>
                    <a:pt x="121" y="131"/>
                  </a:cubicBezTo>
                  <a:cubicBezTo>
                    <a:pt x="117" y="133"/>
                    <a:pt x="112" y="134"/>
                    <a:pt x="108" y="133"/>
                  </a:cubicBezTo>
                  <a:cubicBezTo>
                    <a:pt x="102" y="133"/>
                    <a:pt x="91" y="131"/>
                    <a:pt x="90" y="139"/>
                  </a:cubicBezTo>
                  <a:cubicBezTo>
                    <a:pt x="89" y="137"/>
                    <a:pt x="86" y="135"/>
                    <a:pt x="84" y="134"/>
                  </a:cubicBezTo>
                  <a:cubicBezTo>
                    <a:pt x="81" y="133"/>
                    <a:pt x="79" y="137"/>
                    <a:pt x="77" y="136"/>
                  </a:cubicBezTo>
                  <a:cubicBezTo>
                    <a:pt x="74" y="135"/>
                    <a:pt x="75" y="131"/>
                    <a:pt x="74" y="130"/>
                  </a:cubicBezTo>
                  <a:cubicBezTo>
                    <a:pt x="72" y="130"/>
                    <a:pt x="70" y="130"/>
                    <a:pt x="69" y="130"/>
                  </a:cubicBezTo>
                  <a:cubicBezTo>
                    <a:pt x="67" y="129"/>
                    <a:pt x="67" y="127"/>
                    <a:pt x="65" y="126"/>
                  </a:cubicBezTo>
                  <a:cubicBezTo>
                    <a:pt x="61" y="123"/>
                    <a:pt x="54" y="132"/>
                    <a:pt x="50" y="132"/>
                  </a:cubicBezTo>
                  <a:cubicBezTo>
                    <a:pt x="46" y="132"/>
                    <a:pt x="44" y="131"/>
                    <a:pt x="42" y="128"/>
                  </a:cubicBezTo>
                  <a:cubicBezTo>
                    <a:pt x="40" y="124"/>
                    <a:pt x="34" y="126"/>
                    <a:pt x="30" y="128"/>
                  </a:cubicBezTo>
                  <a:cubicBezTo>
                    <a:pt x="30" y="127"/>
                    <a:pt x="30" y="126"/>
                    <a:pt x="30" y="125"/>
                  </a:cubicBezTo>
                  <a:cubicBezTo>
                    <a:pt x="27" y="126"/>
                    <a:pt x="20" y="128"/>
                    <a:pt x="18" y="127"/>
                  </a:cubicBezTo>
                  <a:cubicBezTo>
                    <a:pt x="14" y="124"/>
                    <a:pt x="10" y="129"/>
                    <a:pt x="5" y="127"/>
                  </a:cubicBezTo>
                  <a:cubicBezTo>
                    <a:pt x="1" y="125"/>
                    <a:pt x="0" y="109"/>
                    <a:pt x="6" y="114"/>
                  </a:cubicBezTo>
                  <a:cubicBezTo>
                    <a:pt x="6" y="112"/>
                    <a:pt x="6" y="111"/>
                    <a:pt x="5" y="10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Freeform 560">
              <a:extLst>
                <a:ext uri="{FF2B5EF4-FFF2-40B4-BE49-F238E27FC236}">
                  <a16:creationId xmlns:a16="http://schemas.microsoft.com/office/drawing/2014/main" id="{B10D1DA9-122B-44D8-A802-626E164B9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9342" y="2026176"/>
              <a:ext cx="622873" cy="302539"/>
            </a:xfrm>
            <a:custGeom>
              <a:avLst/>
              <a:gdLst>
                <a:gd name="T0" fmla="*/ 25 w 287"/>
                <a:gd name="T1" fmla="*/ 106 h 139"/>
                <a:gd name="T2" fmla="*/ 42 w 287"/>
                <a:gd name="T3" fmla="*/ 106 h 139"/>
                <a:gd name="T4" fmla="*/ 62 w 287"/>
                <a:gd name="T5" fmla="*/ 104 h 139"/>
                <a:gd name="T6" fmla="*/ 75 w 287"/>
                <a:gd name="T7" fmla="*/ 103 h 139"/>
                <a:gd name="T8" fmla="*/ 83 w 287"/>
                <a:gd name="T9" fmla="*/ 91 h 139"/>
                <a:gd name="T10" fmla="*/ 99 w 287"/>
                <a:gd name="T11" fmla="*/ 83 h 139"/>
                <a:gd name="T12" fmla="*/ 73 w 287"/>
                <a:gd name="T13" fmla="*/ 77 h 139"/>
                <a:gd name="T14" fmla="*/ 52 w 287"/>
                <a:gd name="T15" fmla="*/ 58 h 139"/>
                <a:gd name="T16" fmla="*/ 49 w 287"/>
                <a:gd name="T17" fmla="*/ 68 h 139"/>
                <a:gd name="T18" fmla="*/ 30 w 287"/>
                <a:gd name="T19" fmla="*/ 66 h 139"/>
                <a:gd name="T20" fmla="*/ 12 w 287"/>
                <a:gd name="T21" fmla="*/ 59 h 139"/>
                <a:gd name="T22" fmla="*/ 27 w 287"/>
                <a:gd name="T23" fmla="*/ 25 h 139"/>
                <a:gd name="T24" fmla="*/ 41 w 287"/>
                <a:gd name="T25" fmla="*/ 16 h 139"/>
                <a:gd name="T26" fmla="*/ 75 w 287"/>
                <a:gd name="T27" fmla="*/ 22 h 139"/>
                <a:gd name="T28" fmla="*/ 96 w 287"/>
                <a:gd name="T29" fmla="*/ 28 h 139"/>
                <a:gd name="T30" fmla="*/ 107 w 287"/>
                <a:gd name="T31" fmla="*/ 0 h 139"/>
                <a:gd name="T32" fmla="*/ 152 w 287"/>
                <a:gd name="T33" fmla="*/ 15 h 139"/>
                <a:gd name="T34" fmla="*/ 174 w 287"/>
                <a:gd name="T35" fmla="*/ 12 h 139"/>
                <a:gd name="T36" fmla="*/ 199 w 287"/>
                <a:gd name="T37" fmla="*/ 11 h 139"/>
                <a:gd name="T38" fmla="*/ 227 w 287"/>
                <a:gd name="T39" fmla="*/ 12 h 139"/>
                <a:gd name="T40" fmla="*/ 264 w 287"/>
                <a:gd name="T41" fmla="*/ 27 h 139"/>
                <a:gd name="T42" fmla="*/ 286 w 287"/>
                <a:gd name="T43" fmla="*/ 40 h 139"/>
                <a:gd name="T44" fmla="*/ 248 w 287"/>
                <a:gd name="T45" fmla="*/ 60 h 139"/>
                <a:gd name="T46" fmla="*/ 235 w 287"/>
                <a:gd name="T47" fmla="*/ 75 h 139"/>
                <a:gd name="T48" fmla="*/ 209 w 287"/>
                <a:gd name="T49" fmla="*/ 76 h 139"/>
                <a:gd name="T50" fmla="*/ 184 w 287"/>
                <a:gd name="T51" fmla="*/ 100 h 139"/>
                <a:gd name="T52" fmla="*/ 165 w 287"/>
                <a:gd name="T53" fmla="*/ 94 h 139"/>
                <a:gd name="T54" fmla="*/ 152 w 287"/>
                <a:gd name="T55" fmla="*/ 100 h 139"/>
                <a:gd name="T56" fmla="*/ 132 w 287"/>
                <a:gd name="T57" fmla="*/ 112 h 139"/>
                <a:gd name="T58" fmla="*/ 121 w 287"/>
                <a:gd name="T59" fmla="*/ 131 h 139"/>
                <a:gd name="T60" fmla="*/ 90 w 287"/>
                <a:gd name="T61" fmla="*/ 139 h 139"/>
                <a:gd name="T62" fmla="*/ 77 w 287"/>
                <a:gd name="T63" fmla="*/ 136 h 139"/>
                <a:gd name="T64" fmla="*/ 69 w 287"/>
                <a:gd name="T65" fmla="*/ 130 h 139"/>
                <a:gd name="T66" fmla="*/ 50 w 287"/>
                <a:gd name="T67" fmla="*/ 132 h 139"/>
                <a:gd name="T68" fmla="*/ 30 w 287"/>
                <a:gd name="T69" fmla="*/ 128 h 139"/>
                <a:gd name="T70" fmla="*/ 18 w 287"/>
                <a:gd name="T71" fmla="*/ 127 h 139"/>
                <a:gd name="T72" fmla="*/ 6 w 287"/>
                <a:gd name="T73" fmla="*/ 11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7" h="139">
                  <a:moveTo>
                    <a:pt x="5" y="109"/>
                  </a:moveTo>
                  <a:cubicBezTo>
                    <a:pt x="11" y="105"/>
                    <a:pt x="18" y="104"/>
                    <a:pt x="25" y="106"/>
                  </a:cubicBezTo>
                  <a:cubicBezTo>
                    <a:pt x="27" y="106"/>
                    <a:pt x="38" y="110"/>
                    <a:pt x="34" y="114"/>
                  </a:cubicBezTo>
                  <a:cubicBezTo>
                    <a:pt x="38" y="113"/>
                    <a:pt x="38" y="108"/>
                    <a:pt x="42" y="106"/>
                  </a:cubicBezTo>
                  <a:cubicBezTo>
                    <a:pt x="47" y="103"/>
                    <a:pt x="51" y="99"/>
                    <a:pt x="57" y="101"/>
                  </a:cubicBezTo>
                  <a:cubicBezTo>
                    <a:pt x="59" y="102"/>
                    <a:pt x="60" y="104"/>
                    <a:pt x="62" y="104"/>
                  </a:cubicBezTo>
                  <a:cubicBezTo>
                    <a:pt x="64" y="105"/>
                    <a:pt x="64" y="101"/>
                    <a:pt x="66" y="104"/>
                  </a:cubicBezTo>
                  <a:cubicBezTo>
                    <a:pt x="68" y="107"/>
                    <a:pt x="72" y="103"/>
                    <a:pt x="75" y="103"/>
                  </a:cubicBezTo>
                  <a:cubicBezTo>
                    <a:pt x="66" y="98"/>
                    <a:pt x="83" y="97"/>
                    <a:pt x="85" y="97"/>
                  </a:cubicBezTo>
                  <a:cubicBezTo>
                    <a:pt x="84" y="95"/>
                    <a:pt x="83" y="93"/>
                    <a:pt x="83" y="91"/>
                  </a:cubicBezTo>
                  <a:cubicBezTo>
                    <a:pt x="88" y="93"/>
                    <a:pt x="91" y="94"/>
                    <a:pt x="94" y="88"/>
                  </a:cubicBezTo>
                  <a:cubicBezTo>
                    <a:pt x="94" y="87"/>
                    <a:pt x="102" y="85"/>
                    <a:pt x="99" y="83"/>
                  </a:cubicBezTo>
                  <a:cubicBezTo>
                    <a:pt x="98" y="82"/>
                    <a:pt x="92" y="81"/>
                    <a:pt x="90" y="81"/>
                  </a:cubicBezTo>
                  <a:cubicBezTo>
                    <a:pt x="84" y="81"/>
                    <a:pt x="80" y="73"/>
                    <a:pt x="73" y="77"/>
                  </a:cubicBezTo>
                  <a:cubicBezTo>
                    <a:pt x="72" y="70"/>
                    <a:pt x="68" y="73"/>
                    <a:pt x="64" y="69"/>
                  </a:cubicBezTo>
                  <a:cubicBezTo>
                    <a:pt x="60" y="66"/>
                    <a:pt x="55" y="62"/>
                    <a:pt x="52" y="58"/>
                  </a:cubicBezTo>
                  <a:cubicBezTo>
                    <a:pt x="53" y="60"/>
                    <a:pt x="54" y="64"/>
                    <a:pt x="53" y="66"/>
                  </a:cubicBezTo>
                  <a:cubicBezTo>
                    <a:pt x="52" y="67"/>
                    <a:pt x="51" y="68"/>
                    <a:pt x="49" y="68"/>
                  </a:cubicBezTo>
                  <a:cubicBezTo>
                    <a:pt x="50" y="69"/>
                    <a:pt x="50" y="71"/>
                    <a:pt x="49" y="73"/>
                  </a:cubicBezTo>
                  <a:cubicBezTo>
                    <a:pt x="44" y="68"/>
                    <a:pt x="33" y="74"/>
                    <a:pt x="30" y="66"/>
                  </a:cubicBezTo>
                  <a:cubicBezTo>
                    <a:pt x="28" y="62"/>
                    <a:pt x="26" y="61"/>
                    <a:pt x="22" y="62"/>
                  </a:cubicBezTo>
                  <a:cubicBezTo>
                    <a:pt x="19" y="63"/>
                    <a:pt x="15" y="59"/>
                    <a:pt x="12" y="59"/>
                  </a:cubicBezTo>
                  <a:cubicBezTo>
                    <a:pt x="13" y="49"/>
                    <a:pt x="30" y="42"/>
                    <a:pt x="36" y="36"/>
                  </a:cubicBezTo>
                  <a:cubicBezTo>
                    <a:pt x="27" y="31"/>
                    <a:pt x="22" y="36"/>
                    <a:pt x="27" y="25"/>
                  </a:cubicBezTo>
                  <a:cubicBezTo>
                    <a:pt x="28" y="22"/>
                    <a:pt x="27" y="20"/>
                    <a:pt x="30" y="18"/>
                  </a:cubicBezTo>
                  <a:cubicBezTo>
                    <a:pt x="33" y="16"/>
                    <a:pt x="38" y="17"/>
                    <a:pt x="41" y="16"/>
                  </a:cubicBezTo>
                  <a:cubicBezTo>
                    <a:pt x="47" y="11"/>
                    <a:pt x="62" y="17"/>
                    <a:pt x="69" y="19"/>
                  </a:cubicBezTo>
                  <a:cubicBezTo>
                    <a:pt x="71" y="20"/>
                    <a:pt x="73" y="21"/>
                    <a:pt x="75" y="22"/>
                  </a:cubicBezTo>
                  <a:cubicBezTo>
                    <a:pt x="78" y="25"/>
                    <a:pt x="80" y="23"/>
                    <a:pt x="84" y="24"/>
                  </a:cubicBezTo>
                  <a:cubicBezTo>
                    <a:pt x="88" y="24"/>
                    <a:pt x="92" y="29"/>
                    <a:pt x="96" y="28"/>
                  </a:cubicBezTo>
                  <a:cubicBezTo>
                    <a:pt x="92" y="24"/>
                    <a:pt x="88" y="9"/>
                    <a:pt x="94" y="6"/>
                  </a:cubicBezTo>
                  <a:cubicBezTo>
                    <a:pt x="96" y="5"/>
                    <a:pt x="108" y="2"/>
                    <a:pt x="107" y="0"/>
                  </a:cubicBezTo>
                  <a:cubicBezTo>
                    <a:pt x="115" y="2"/>
                    <a:pt x="123" y="7"/>
                    <a:pt x="131" y="11"/>
                  </a:cubicBezTo>
                  <a:cubicBezTo>
                    <a:pt x="134" y="12"/>
                    <a:pt x="148" y="17"/>
                    <a:pt x="152" y="15"/>
                  </a:cubicBezTo>
                  <a:cubicBezTo>
                    <a:pt x="155" y="14"/>
                    <a:pt x="153" y="10"/>
                    <a:pt x="157" y="10"/>
                  </a:cubicBezTo>
                  <a:cubicBezTo>
                    <a:pt x="162" y="10"/>
                    <a:pt x="168" y="13"/>
                    <a:pt x="174" y="12"/>
                  </a:cubicBezTo>
                  <a:cubicBezTo>
                    <a:pt x="178" y="11"/>
                    <a:pt x="182" y="9"/>
                    <a:pt x="186" y="9"/>
                  </a:cubicBezTo>
                  <a:cubicBezTo>
                    <a:pt x="191" y="9"/>
                    <a:pt x="194" y="13"/>
                    <a:pt x="199" y="11"/>
                  </a:cubicBezTo>
                  <a:cubicBezTo>
                    <a:pt x="203" y="10"/>
                    <a:pt x="208" y="11"/>
                    <a:pt x="212" y="12"/>
                  </a:cubicBezTo>
                  <a:cubicBezTo>
                    <a:pt x="217" y="13"/>
                    <a:pt x="222" y="12"/>
                    <a:pt x="227" y="12"/>
                  </a:cubicBezTo>
                  <a:cubicBezTo>
                    <a:pt x="236" y="13"/>
                    <a:pt x="249" y="16"/>
                    <a:pt x="256" y="22"/>
                  </a:cubicBezTo>
                  <a:cubicBezTo>
                    <a:pt x="259" y="24"/>
                    <a:pt x="260" y="27"/>
                    <a:pt x="264" y="27"/>
                  </a:cubicBezTo>
                  <a:cubicBezTo>
                    <a:pt x="268" y="27"/>
                    <a:pt x="271" y="27"/>
                    <a:pt x="274" y="29"/>
                  </a:cubicBezTo>
                  <a:cubicBezTo>
                    <a:pt x="278" y="31"/>
                    <a:pt x="284" y="35"/>
                    <a:pt x="286" y="40"/>
                  </a:cubicBezTo>
                  <a:cubicBezTo>
                    <a:pt x="287" y="41"/>
                    <a:pt x="276" y="45"/>
                    <a:pt x="273" y="46"/>
                  </a:cubicBezTo>
                  <a:cubicBezTo>
                    <a:pt x="266" y="52"/>
                    <a:pt x="256" y="55"/>
                    <a:pt x="248" y="60"/>
                  </a:cubicBezTo>
                  <a:cubicBezTo>
                    <a:pt x="244" y="62"/>
                    <a:pt x="242" y="64"/>
                    <a:pt x="241" y="68"/>
                  </a:cubicBezTo>
                  <a:cubicBezTo>
                    <a:pt x="241" y="72"/>
                    <a:pt x="239" y="75"/>
                    <a:pt x="235" y="75"/>
                  </a:cubicBezTo>
                  <a:cubicBezTo>
                    <a:pt x="231" y="75"/>
                    <a:pt x="227" y="78"/>
                    <a:pt x="223" y="77"/>
                  </a:cubicBezTo>
                  <a:cubicBezTo>
                    <a:pt x="218" y="77"/>
                    <a:pt x="214" y="76"/>
                    <a:pt x="209" y="76"/>
                  </a:cubicBezTo>
                  <a:cubicBezTo>
                    <a:pt x="203" y="76"/>
                    <a:pt x="201" y="84"/>
                    <a:pt x="200" y="89"/>
                  </a:cubicBezTo>
                  <a:cubicBezTo>
                    <a:pt x="199" y="101"/>
                    <a:pt x="192" y="96"/>
                    <a:pt x="184" y="100"/>
                  </a:cubicBezTo>
                  <a:cubicBezTo>
                    <a:pt x="176" y="104"/>
                    <a:pt x="176" y="94"/>
                    <a:pt x="172" y="91"/>
                  </a:cubicBezTo>
                  <a:cubicBezTo>
                    <a:pt x="170" y="89"/>
                    <a:pt x="166" y="92"/>
                    <a:pt x="165" y="94"/>
                  </a:cubicBezTo>
                  <a:cubicBezTo>
                    <a:pt x="160" y="96"/>
                    <a:pt x="156" y="95"/>
                    <a:pt x="152" y="94"/>
                  </a:cubicBezTo>
                  <a:cubicBezTo>
                    <a:pt x="151" y="96"/>
                    <a:pt x="151" y="98"/>
                    <a:pt x="152" y="100"/>
                  </a:cubicBezTo>
                  <a:cubicBezTo>
                    <a:pt x="148" y="100"/>
                    <a:pt x="146" y="104"/>
                    <a:pt x="144" y="106"/>
                  </a:cubicBezTo>
                  <a:cubicBezTo>
                    <a:pt x="140" y="109"/>
                    <a:pt x="135" y="107"/>
                    <a:pt x="132" y="112"/>
                  </a:cubicBezTo>
                  <a:cubicBezTo>
                    <a:pt x="127" y="117"/>
                    <a:pt x="139" y="126"/>
                    <a:pt x="131" y="130"/>
                  </a:cubicBezTo>
                  <a:cubicBezTo>
                    <a:pt x="128" y="131"/>
                    <a:pt x="124" y="128"/>
                    <a:pt x="121" y="131"/>
                  </a:cubicBezTo>
                  <a:cubicBezTo>
                    <a:pt x="117" y="133"/>
                    <a:pt x="112" y="134"/>
                    <a:pt x="108" y="133"/>
                  </a:cubicBezTo>
                  <a:cubicBezTo>
                    <a:pt x="102" y="133"/>
                    <a:pt x="91" y="131"/>
                    <a:pt x="90" y="139"/>
                  </a:cubicBezTo>
                  <a:cubicBezTo>
                    <a:pt x="89" y="137"/>
                    <a:pt x="86" y="135"/>
                    <a:pt x="84" y="134"/>
                  </a:cubicBezTo>
                  <a:cubicBezTo>
                    <a:pt x="81" y="133"/>
                    <a:pt x="79" y="137"/>
                    <a:pt x="77" y="136"/>
                  </a:cubicBezTo>
                  <a:cubicBezTo>
                    <a:pt x="74" y="135"/>
                    <a:pt x="75" y="131"/>
                    <a:pt x="74" y="130"/>
                  </a:cubicBezTo>
                  <a:cubicBezTo>
                    <a:pt x="72" y="130"/>
                    <a:pt x="70" y="130"/>
                    <a:pt x="69" y="130"/>
                  </a:cubicBezTo>
                  <a:cubicBezTo>
                    <a:pt x="67" y="129"/>
                    <a:pt x="67" y="127"/>
                    <a:pt x="65" y="126"/>
                  </a:cubicBezTo>
                  <a:cubicBezTo>
                    <a:pt x="61" y="123"/>
                    <a:pt x="54" y="132"/>
                    <a:pt x="50" y="132"/>
                  </a:cubicBezTo>
                  <a:cubicBezTo>
                    <a:pt x="46" y="132"/>
                    <a:pt x="44" y="131"/>
                    <a:pt x="42" y="128"/>
                  </a:cubicBezTo>
                  <a:cubicBezTo>
                    <a:pt x="40" y="124"/>
                    <a:pt x="34" y="126"/>
                    <a:pt x="30" y="128"/>
                  </a:cubicBezTo>
                  <a:cubicBezTo>
                    <a:pt x="30" y="127"/>
                    <a:pt x="30" y="126"/>
                    <a:pt x="30" y="125"/>
                  </a:cubicBezTo>
                  <a:cubicBezTo>
                    <a:pt x="27" y="126"/>
                    <a:pt x="20" y="128"/>
                    <a:pt x="18" y="127"/>
                  </a:cubicBezTo>
                  <a:cubicBezTo>
                    <a:pt x="14" y="124"/>
                    <a:pt x="10" y="129"/>
                    <a:pt x="5" y="127"/>
                  </a:cubicBezTo>
                  <a:cubicBezTo>
                    <a:pt x="1" y="125"/>
                    <a:pt x="0" y="109"/>
                    <a:pt x="6" y="114"/>
                  </a:cubicBezTo>
                  <a:cubicBezTo>
                    <a:pt x="6" y="112"/>
                    <a:pt x="6" y="111"/>
                    <a:pt x="5" y="10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Freeform 563">
              <a:extLst>
                <a:ext uri="{FF2B5EF4-FFF2-40B4-BE49-F238E27FC236}">
                  <a16:creationId xmlns:a16="http://schemas.microsoft.com/office/drawing/2014/main" id="{2175E552-2E9D-43A3-A9C6-C9F9747FF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0262" y="1376608"/>
              <a:ext cx="1975398" cy="774143"/>
            </a:xfrm>
            <a:custGeom>
              <a:avLst/>
              <a:gdLst>
                <a:gd name="T0" fmla="*/ 23 w 910"/>
                <a:gd name="T1" fmla="*/ 87 h 356"/>
                <a:gd name="T2" fmla="*/ 43 w 910"/>
                <a:gd name="T3" fmla="*/ 81 h 356"/>
                <a:gd name="T4" fmla="*/ 52 w 910"/>
                <a:gd name="T5" fmla="*/ 66 h 356"/>
                <a:gd name="T6" fmla="*/ 78 w 910"/>
                <a:gd name="T7" fmla="*/ 53 h 356"/>
                <a:gd name="T8" fmla="*/ 106 w 910"/>
                <a:gd name="T9" fmla="*/ 48 h 356"/>
                <a:gd name="T10" fmla="*/ 139 w 910"/>
                <a:gd name="T11" fmla="*/ 52 h 356"/>
                <a:gd name="T12" fmla="*/ 202 w 910"/>
                <a:gd name="T13" fmla="*/ 72 h 356"/>
                <a:gd name="T14" fmla="*/ 232 w 910"/>
                <a:gd name="T15" fmla="*/ 75 h 356"/>
                <a:gd name="T16" fmla="*/ 261 w 910"/>
                <a:gd name="T17" fmla="*/ 61 h 356"/>
                <a:gd name="T18" fmla="*/ 240 w 910"/>
                <a:gd name="T19" fmla="*/ 23 h 356"/>
                <a:gd name="T20" fmla="*/ 264 w 910"/>
                <a:gd name="T21" fmla="*/ 7 h 356"/>
                <a:gd name="T22" fmla="*/ 326 w 910"/>
                <a:gd name="T23" fmla="*/ 22 h 356"/>
                <a:gd name="T24" fmla="*/ 378 w 910"/>
                <a:gd name="T25" fmla="*/ 58 h 356"/>
                <a:gd name="T26" fmla="*/ 422 w 910"/>
                <a:gd name="T27" fmla="*/ 63 h 356"/>
                <a:gd name="T28" fmla="*/ 496 w 910"/>
                <a:gd name="T29" fmla="*/ 68 h 356"/>
                <a:gd name="T30" fmla="*/ 542 w 910"/>
                <a:gd name="T31" fmla="*/ 90 h 356"/>
                <a:gd name="T32" fmla="*/ 602 w 910"/>
                <a:gd name="T33" fmla="*/ 98 h 356"/>
                <a:gd name="T34" fmla="*/ 654 w 910"/>
                <a:gd name="T35" fmla="*/ 88 h 356"/>
                <a:gd name="T36" fmla="*/ 690 w 910"/>
                <a:gd name="T37" fmla="*/ 63 h 356"/>
                <a:gd name="T38" fmla="*/ 739 w 910"/>
                <a:gd name="T39" fmla="*/ 72 h 356"/>
                <a:gd name="T40" fmla="*/ 761 w 910"/>
                <a:gd name="T41" fmla="*/ 138 h 356"/>
                <a:gd name="T42" fmla="*/ 807 w 910"/>
                <a:gd name="T43" fmla="*/ 145 h 356"/>
                <a:gd name="T44" fmla="*/ 867 w 910"/>
                <a:gd name="T45" fmla="*/ 154 h 356"/>
                <a:gd name="T46" fmla="*/ 872 w 910"/>
                <a:gd name="T47" fmla="*/ 183 h 356"/>
                <a:gd name="T48" fmla="*/ 840 w 910"/>
                <a:gd name="T49" fmla="*/ 188 h 356"/>
                <a:gd name="T50" fmla="*/ 818 w 910"/>
                <a:gd name="T51" fmla="*/ 207 h 356"/>
                <a:gd name="T52" fmla="*/ 795 w 910"/>
                <a:gd name="T53" fmla="*/ 227 h 356"/>
                <a:gd name="T54" fmla="*/ 770 w 910"/>
                <a:gd name="T55" fmla="*/ 245 h 356"/>
                <a:gd name="T56" fmla="*/ 714 w 910"/>
                <a:gd name="T57" fmla="*/ 240 h 356"/>
                <a:gd name="T58" fmla="*/ 717 w 910"/>
                <a:gd name="T59" fmla="*/ 265 h 356"/>
                <a:gd name="T60" fmla="*/ 717 w 910"/>
                <a:gd name="T61" fmla="*/ 301 h 356"/>
                <a:gd name="T62" fmla="*/ 670 w 910"/>
                <a:gd name="T63" fmla="*/ 329 h 356"/>
                <a:gd name="T64" fmla="*/ 584 w 910"/>
                <a:gd name="T65" fmla="*/ 351 h 356"/>
                <a:gd name="T66" fmla="*/ 549 w 910"/>
                <a:gd name="T67" fmla="*/ 349 h 356"/>
                <a:gd name="T68" fmla="*/ 468 w 910"/>
                <a:gd name="T69" fmla="*/ 324 h 356"/>
                <a:gd name="T70" fmla="*/ 411 w 910"/>
                <a:gd name="T71" fmla="*/ 323 h 356"/>
                <a:gd name="T72" fmla="*/ 323 w 910"/>
                <a:gd name="T73" fmla="*/ 317 h 356"/>
                <a:gd name="T74" fmla="*/ 284 w 910"/>
                <a:gd name="T75" fmla="*/ 278 h 356"/>
                <a:gd name="T76" fmla="*/ 238 w 910"/>
                <a:gd name="T77" fmla="*/ 253 h 356"/>
                <a:gd name="T78" fmla="*/ 149 w 910"/>
                <a:gd name="T79" fmla="*/ 236 h 356"/>
                <a:gd name="T80" fmla="*/ 121 w 910"/>
                <a:gd name="T81" fmla="*/ 184 h 356"/>
                <a:gd name="T82" fmla="*/ 78 w 910"/>
                <a:gd name="T83" fmla="*/ 143 h 356"/>
                <a:gd name="T84" fmla="*/ 55 w 910"/>
                <a:gd name="T85" fmla="*/ 139 h 356"/>
                <a:gd name="T86" fmla="*/ 13 w 910"/>
                <a:gd name="T87" fmla="*/ 116 h 356"/>
                <a:gd name="T88" fmla="*/ 0 w 910"/>
                <a:gd name="T89" fmla="*/ 99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10" h="356">
                  <a:moveTo>
                    <a:pt x="0" y="99"/>
                  </a:moveTo>
                  <a:cubicBezTo>
                    <a:pt x="7" y="100"/>
                    <a:pt x="4" y="95"/>
                    <a:pt x="6" y="91"/>
                  </a:cubicBezTo>
                  <a:cubicBezTo>
                    <a:pt x="8" y="84"/>
                    <a:pt x="24" y="94"/>
                    <a:pt x="23" y="87"/>
                  </a:cubicBezTo>
                  <a:cubicBezTo>
                    <a:pt x="26" y="88"/>
                    <a:pt x="29" y="90"/>
                    <a:pt x="32" y="88"/>
                  </a:cubicBezTo>
                  <a:cubicBezTo>
                    <a:pt x="31" y="87"/>
                    <a:pt x="31" y="86"/>
                    <a:pt x="30" y="85"/>
                  </a:cubicBezTo>
                  <a:cubicBezTo>
                    <a:pt x="35" y="84"/>
                    <a:pt x="38" y="83"/>
                    <a:pt x="43" y="81"/>
                  </a:cubicBezTo>
                  <a:cubicBezTo>
                    <a:pt x="40" y="80"/>
                    <a:pt x="39" y="77"/>
                    <a:pt x="38" y="75"/>
                  </a:cubicBezTo>
                  <a:cubicBezTo>
                    <a:pt x="39" y="74"/>
                    <a:pt x="48" y="73"/>
                    <a:pt x="47" y="71"/>
                  </a:cubicBezTo>
                  <a:cubicBezTo>
                    <a:pt x="46" y="68"/>
                    <a:pt x="50" y="68"/>
                    <a:pt x="52" y="66"/>
                  </a:cubicBezTo>
                  <a:cubicBezTo>
                    <a:pt x="54" y="65"/>
                    <a:pt x="59" y="65"/>
                    <a:pt x="61" y="64"/>
                  </a:cubicBezTo>
                  <a:cubicBezTo>
                    <a:pt x="64" y="61"/>
                    <a:pt x="66" y="58"/>
                    <a:pt x="70" y="56"/>
                  </a:cubicBezTo>
                  <a:cubicBezTo>
                    <a:pt x="73" y="55"/>
                    <a:pt x="76" y="57"/>
                    <a:pt x="78" y="53"/>
                  </a:cubicBezTo>
                  <a:cubicBezTo>
                    <a:pt x="80" y="51"/>
                    <a:pt x="81" y="49"/>
                    <a:pt x="84" y="49"/>
                  </a:cubicBezTo>
                  <a:cubicBezTo>
                    <a:pt x="87" y="48"/>
                    <a:pt x="97" y="49"/>
                    <a:pt x="94" y="43"/>
                  </a:cubicBezTo>
                  <a:cubicBezTo>
                    <a:pt x="98" y="43"/>
                    <a:pt x="102" y="50"/>
                    <a:pt x="106" y="48"/>
                  </a:cubicBezTo>
                  <a:cubicBezTo>
                    <a:pt x="107" y="48"/>
                    <a:pt x="111" y="44"/>
                    <a:pt x="112" y="45"/>
                  </a:cubicBezTo>
                  <a:cubicBezTo>
                    <a:pt x="115" y="48"/>
                    <a:pt x="115" y="51"/>
                    <a:pt x="120" y="51"/>
                  </a:cubicBezTo>
                  <a:cubicBezTo>
                    <a:pt x="126" y="51"/>
                    <a:pt x="132" y="53"/>
                    <a:pt x="139" y="52"/>
                  </a:cubicBezTo>
                  <a:cubicBezTo>
                    <a:pt x="146" y="52"/>
                    <a:pt x="150" y="52"/>
                    <a:pt x="155" y="58"/>
                  </a:cubicBezTo>
                  <a:cubicBezTo>
                    <a:pt x="163" y="69"/>
                    <a:pt x="173" y="71"/>
                    <a:pt x="186" y="74"/>
                  </a:cubicBezTo>
                  <a:cubicBezTo>
                    <a:pt x="193" y="75"/>
                    <a:pt x="196" y="72"/>
                    <a:pt x="202" y="72"/>
                  </a:cubicBezTo>
                  <a:cubicBezTo>
                    <a:pt x="203" y="72"/>
                    <a:pt x="208" y="71"/>
                    <a:pt x="209" y="72"/>
                  </a:cubicBezTo>
                  <a:cubicBezTo>
                    <a:pt x="212" y="72"/>
                    <a:pt x="216" y="75"/>
                    <a:pt x="218" y="75"/>
                  </a:cubicBezTo>
                  <a:cubicBezTo>
                    <a:pt x="222" y="75"/>
                    <a:pt x="229" y="74"/>
                    <a:pt x="232" y="75"/>
                  </a:cubicBezTo>
                  <a:cubicBezTo>
                    <a:pt x="237" y="77"/>
                    <a:pt x="243" y="83"/>
                    <a:pt x="248" y="78"/>
                  </a:cubicBezTo>
                  <a:cubicBezTo>
                    <a:pt x="251" y="74"/>
                    <a:pt x="251" y="75"/>
                    <a:pt x="256" y="74"/>
                  </a:cubicBezTo>
                  <a:cubicBezTo>
                    <a:pt x="260" y="73"/>
                    <a:pt x="261" y="65"/>
                    <a:pt x="261" y="61"/>
                  </a:cubicBezTo>
                  <a:cubicBezTo>
                    <a:pt x="260" y="57"/>
                    <a:pt x="257" y="54"/>
                    <a:pt x="253" y="52"/>
                  </a:cubicBezTo>
                  <a:cubicBezTo>
                    <a:pt x="247" y="50"/>
                    <a:pt x="245" y="44"/>
                    <a:pt x="240" y="40"/>
                  </a:cubicBezTo>
                  <a:cubicBezTo>
                    <a:pt x="236" y="38"/>
                    <a:pt x="231" y="20"/>
                    <a:pt x="240" y="23"/>
                  </a:cubicBezTo>
                  <a:cubicBezTo>
                    <a:pt x="238" y="19"/>
                    <a:pt x="237" y="14"/>
                    <a:pt x="242" y="13"/>
                  </a:cubicBezTo>
                  <a:cubicBezTo>
                    <a:pt x="248" y="11"/>
                    <a:pt x="247" y="4"/>
                    <a:pt x="246" y="0"/>
                  </a:cubicBezTo>
                  <a:cubicBezTo>
                    <a:pt x="252" y="2"/>
                    <a:pt x="258" y="6"/>
                    <a:pt x="264" y="7"/>
                  </a:cubicBezTo>
                  <a:cubicBezTo>
                    <a:pt x="271" y="8"/>
                    <a:pt x="277" y="12"/>
                    <a:pt x="284" y="13"/>
                  </a:cubicBezTo>
                  <a:cubicBezTo>
                    <a:pt x="291" y="14"/>
                    <a:pt x="297" y="14"/>
                    <a:pt x="304" y="16"/>
                  </a:cubicBezTo>
                  <a:cubicBezTo>
                    <a:pt x="310" y="18"/>
                    <a:pt x="320" y="24"/>
                    <a:pt x="326" y="22"/>
                  </a:cubicBezTo>
                  <a:cubicBezTo>
                    <a:pt x="337" y="19"/>
                    <a:pt x="346" y="29"/>
                    <a:pt x="351" y="37"/>
                  </a:cubicBezTo>
                  <a:cubicBezTo>
                    <a:pt x="354" y="41"/>
                    <a:pt x="359" y="45"/>
                    <a:pt x="361" y="49"/>
                  </a:cubicBezTo>
                  <a:cubicBezTo>
                    <a:pt x="364" y="54"/>
                    <a:pt x="373" y="56"/>
                    <a:pt x="378" y="58"/>
                  </a:cubicBezTo>
                  <a:cubicBezTo>
                    <a:pt x="384" y="61"/>
                    <a:pt x="389" y="61"/>
                    <a:pt x="394" y="64"/>
                  </a:cubicBezTo>
                  <a:cubicBezTo>
                    <a:pt x="398" y="66"/>
                    <a:pt x="404" y="67"/>
                    <a:pt x="408" y="65"/>
                  </a:cubicBezTo>
                  <a:cubicBezTo>
                    <a:pt x="414" y="63"/>
                    <a:pt x="417" y="68"/>
                    <a:pt x="422" y="63"/>
                  </a:cubicBezTo>
                  <a:cubicBezTo>
                    <a:pt x="427" y="59"/>
                    <a:pt x="434" y="59"/>
                    <a:pt x="440" y="57"/>
                  </a:cubicBezTo>
                  <a:cubicBezTo>
                    <a:pt x="452" y="54"/>
                    <a:pt x="468" y="59"/>
                    <a:pt x="480" y="60"/>
                  </a:cubicBezTo>
                  <a:cubicBezTo>
                    <a:pt x="486" y="61"/>
                    <a:pt x="491" y="65"/>
                    <a:pt x="496" y="68"/>
                  </a:cubicBezTo>
                  <a:cubicBezTo>
                    <a:pt x="504" y="73"/>
                    <a:pt x="511" y="71"/>
                    <a:pt x="520" y="73"/>
                  </a:cubicBezTo>
                  <a:cubicBezTo>
                    <a:pt x="525" y="74"/>
                    <a:pt x="526" y="78"/>
                    <a:pt x="529" y="81"/>
                  </a:cubicBezTo>
                  <a:cubicBezTo>
                    <a:pt x="532" y="85"/>
                    <a:pt x="538" y="87"/>
                    <a:pt x="542" y="90"/>
                  </a:cubicBezTo>
                  <a:cubicBezTo>
                    <a:pt x="548" y="94"/>
                    <a:pt x="553" y="94"/>
                    <a:pt x="560" y="93"/>
                  </a:cubicBezTo>
                  <a:cubicBezTo>
                    <a:pt x="569" y="93"/>
                    <a:pt x="574" y="97"/>
                    <a:pt x="583" y="98"/>
                  </a:cubicBezTo>
                  <a:cubicBezTo>
                    <a:pt x="589" y="99"/>
                    <a:pt x="596" y="98"/>
                    <a:pt x="602" y="98"/>
                  </a:cubicBezTo>
                  <a:cubicBezTo>
                    <a:pt x="607" y="98"/>
                    <a:pt x="611" y="101"/>
                    <a:pt x="616" y="98"/>
                  </a:cubicBezTo>
                  <a:cubicBezTo>
                    <a:pt x="622" y="95"/>
                    <a:pt x="626" y="92"/>
                    <a:pt x="633" y="91"/>
                  </a:cubicBezTo>
                  <a:cubicBezTo>
                    <a:pt x="640" y="90"/>
                    <a:pt x="648" y="88"/>
                    <a:pt x="654" y="88"/>
                  </a:cubicBezTo>
                  <a:cubicBezTo>
                    <a:pt x="660" y="89"/>
                    <a:pt x="664" y="87"/>
                    <a:pt x="665" y="81"/>
                  </a:cubicBezTo>
                  <a:cubicBezTo>
                    <a:pt x="667" y="75"/>
                    <a:pt x="671" y="72"/>
                    <a:pt x="676" y="68"/>
                  </a:cubicBezTo>
                  <a:cubicBezTo>
                    <a:pt x="681" y="65"/>
                    <a:pt x="683" y="61"/>
                    <a:pt x="690" y="63"/>
                  </a:cubicBezTo>
                  <a:cubicBezTo>
                    <a:pt x="697" y="65"/>
                    <a:pt x="702" y="63"/>
                    <a:pt x="709" y="68"/>
                  </a:cubicBezTo>
                  <a:cubicBezTo>
                    <a:pt x="714" y="71"/>
                    <a:pt x="719" y="74"/>
                    <a:pt x="725" y="75"/>
                  </a:cubicBezTo>
                  <a:cubicBezTo>
                    <a:pt x="731" y="76"/>
                    <a:pt x="734" y="73"/>
                    <a:pt x="739" y="72"/>
                  </a:cubicBezTo>
                  <a:cubicBezTo>
                    <a:pt x="752" y="69"/>
                    <a:pt x="759" y="75"/>
                    <a:pt x="759" y="88"/>
                  </a:cubicBezTo>
                  <a:cubicBezTo>
                    <a:pt x="758" y="100"/>
                    <a:pt x="756" y="117"/>
                    <a:pt x="762" y="127"/>
                  </a:cubicBezTo>
                  <a:cubicBezTo>
                    <a:pt x="765" y="130"/>
                    <a:pt x="760" y="133"/>
                    <a:pt x="761" y="138"/>
                  </a:cubicBezTo>
                  <a:cubicBezTo>
                    <a:pt x="763" y="142"/>
                    <a:pt x="770" y="146"/>
                    <a:pt x="775" y="148"/>
                  </a:cubicBezTo>
                  <a:cubicBezTo>
                    <a:pt x="780" y="150"/>
                    <a:pt x="781" y="143"/>
                    <a:pt x="787" y="144"/>
                  </a:cubicBezTo>
                  <a:cubicBezTo>
                    <a:pt x="793" y="144"/>
                    <a:pt x="800" y="142"/>
                    <a:pt x="807" y="145"/>
                  </a:cubicBezTo>
                  <a:cubicBezTo>
                    <a:pt x="812" y="148"/>
                    <a:pt x="816" y="151"/>
                    <a:pt x="820" y="144"/>
                  </a:cubicBezTo>
                  <a:cubicBezTo>
                    <a:pt x="823" y="139"/>
                    <a:pt x="827" y="138"/>
                    <a:pt x="833" y="138"/>
                  </a:cubicBezTo>
                  <a:cubicBezTo>
                    <a:pt x="845" y="139"/>
                    <a:pt x="858" y="148"/>
                    <a:pt x="867" y="154"/>
                  </a:cubicBezTo>
                  <a:cubicBezTo>
                    <a:pt x="878" y="161"/>
                    <a:pt x="890" y="166"/>
                    <a:pt x="899" y="175"/>
                  </a:cubicBezTo>
                  <a:cubicBezTo>
                    <a:pt x="910" y="187"/>
                    <a:pt x="892" y="186"/>
                    <a:pt x="885" y="185"/>
                  </a:cubicBezTo>
                  <a:cubicBezTo>
                    <a:pt x="881" y="184"/>
                    <a:pt x="876" y="179"/>
                    <a:pt x="872" y="183"/>
                  </a:cubicBezTo>
                  <a:cubicBezTo>
                    <a:pt x="871" y="184"/>
                    <a:pt x="865" y="182"/>
                    <a:pt x="863" y="182"/>
                  </a:cubicBezTo>
                  <a:cubicBezTo>
                    <a:pt x="858" y="182"/>
                    <a:pt x="855" y="185"/>
                    <a:pt x="850" y="187"/>
                  </a:cubicBezTo>
                  <a:cubicBezTo>
                    <a:pt x="847" y="189"/>
                    <a:pt x="841" y="185"/>
                    <a:pt x="840" y="188"/>
                  </a:cubicBezTo>
                  <a:cubicBezTo>
                    <a:pt x="839" y="192"/>
                    <a:pt x="839" y="194"/>
                    <a:pt x="834" y="194"/>
                  </a:cubicBezTo>
                  <a:cubicBezTo>
                    <a:pt x="828" y="194"/>
                    <a:pt x="823" y="193"/>
                    <a:pt x="820" y="199"/>
                  </a:cubicBezTo>
                  <a:cubicBezTo>
                    <a:pt x="819" y="201"/>
                    <a:pt x="818" y="204"/>
                    <a:pt x="818" y="207"/>
                  </a:cubicBezTo>
                  <a:cubicBezTo>
                    <a:pt x="818" y="209"/>
                    <a:pt x="822" y="212"/>
                    <a:pt x="821" y="214"/>
                  </a:cubicBezTo>
                  <a:cubicBezTo>
                    <a:pt x="820" y="217"/>
                    <a:pt x="813" y="222"/>
                    <a:pt x="810" y="224"/>
                  </a:cubicBezTo>
                  <a:cubicBezTo>
                    <a:pt x="807" y="227"/>
                    <a:pt x="800" y="227"/>
                    <a:pt x="795" y="227"/>
                  </a:cubicBezTo>
                  <a:cubicBezTo>
                    <a:pt x="791" y="227"/>
                    <a:pt x="785" y="224"/>
                    <a:pt x="783" y="228"/>
                  </a:cubicBezTo>
                  <a:cubicBezTo>
                    <a:pt x="781" y="232"/>
                    <a:pt x="780" y="237"/>
                    <a:pt x="777" y="240"/>
                  </a:cubicBezTo>
                  <a:cubicBezTo>
                    <a:pt x="775" y="243"/>
                    <a:pt x="772" y="242"/>
                    <a:pt x="770" y="245"/>
                  </a:cubicBezTo>
                  <a:cubicBezTo>
                    <a:pt x="769" y="247"/>
                    <a:pt x="768" y="249"/>
                    <a:pt x="765" y="249"/>
                  </a:cubicBezTo>
                  <a:cubicBezTo>
                    <a:pt x="759" y="248"/>
                    <a:pt x="752" y="247"/>
                    <a:pt x="746" y="246"/>
                  </a:cubicBezTo>
                  <a:cubicBezTo>
                    <a:pt x="736" y="244"/>
                    <a:pt x="725" y="232"/>
                    <a:pt x="714" y="240"/>
                  </a:cubicBezTo>
                  <a:cubicBezTo>
                    <a:pt x="710" y="243"/>
                    <a:pt x="710" y="248"/>
                    <a:pt x="712" y="252"/>
                  </a:cubicBezTo>
                  <a:cubicBezTo>
                    <a:pt x="713" y="255"/>
                    <a:pt x="711" y="258"/>
                    <a:pt x="712" y="260"/>
                  </a:cubicBezTo>
                  <a:cubicBezTo>
                    <a:pt x="713" y="263"/>
                    <a:pt x="715" y="263"/>
                    <a:pt x="717" y="265"/>
                  </a:cubicBezTo>
                  <a:cubicBezTo>
                    <a:pt x="721" y="269"/>
                    <a:pt x="745" y="282"/>
                    <a:pt x="735" y="286"/>
                  </a:cubicBezTo>
                  <a:cubicBezTo>
                    <a:pt x="732" y="288"/>
                    <a:pt x="729" y="292"/>
                    <a:pt x="727" y="294"/>
                  </a:cubicBezTo>
                  <a:cubicBezTo>
                    <a:pt x="724" y="296"/>
                    <a:pt x="719" y="297"/>
                    <a:pt x="717" y="301"/>
                  </a:cubicBezTo>
                  <a:cubicBezTo>
                    <a:pt x="715" y="307"/>
                    <a:pt x="713" y="314"/>
                    <a:pt x="708" y="318"/>
                  </a:cubicBezTo>
                  <a:cubicBezTo>
                    <a:pt x="704" y="322"/>
                    <a:pt x="697" y="323"/>
                    <a:pt x="692" y="326"/>
                  </a:cubicBezTo>
                  <a:cubicBezTo>
                    <a:pt x="687" y="329"/>
                    <a:pt x="677" y="328"/>
                    <a:pt x="670" y="329"/>
                  </a:cubicBezTo>
                  <a:cubicBezTo>
                    <a:pt x="662" y="329"/>
                    <a:pt x="656" y="327"/>
                    <a:pt x="648" y="329"/>
                  </a:cubicBezTo>
                  <a:cubicBezTo>
                    <a:pt x="631" y="331"/>
                    <a:pt x="617" y="333"/>
                    <a:pt x="602" y="341"/>
                  </a:cubicBezTo>
                  <a:cubicBezTo>
                    <a:pt x="595" y="344"/>
                    <a:pt x="589" y="347"/>
                    <a:pt x="584" y="351"/>
                  </a:cubicBezTo>
                  <a:cubicBezTo>
                    <a:pt x="579" y="355"/>
                    <a:pt x="580" y="356"/>
                    <a:pt x="574" y="355"/>
                  </a:cubicBezTo>
                  <a:cubicBezTo>
                    <a:pt x="570" y="355"/>
                    <a:pt x="566" y="355"/>
                    <a:pt x="563" y="353"/>
                  </a:cubicBezTo>
                  <a:cubicBezTo>
                    <a:pt x="558" y="349"/>
                    <a:pt x="557" y="348"/>
                    <a:pt x="549" y="349"/>
                  </a:cubicBezTo>
                  <a:cubicBezTo>
                    <a:pt x="535" y="351"/>
                    <a:pt x="520" y="343"/>
                    <a:pt x="506" y="341"/>
                  </a:cubicBezTo>
                  <a:cubicBezTo>
                    <a:pt x="499" y="339"/>
                    <a:pt x="492" y="338"/>
                    <a:pt x="486" y="335"/>
                  </a:cubicBezTo>
                  <a:cubicBezTo>
                    <a:pt x="479" y="332"/>
                    <a:pt x="475" y="326"/>
                    <a:pt x="468" y="324"/>
                  </a:cubicBezTo>
                  <a:cubicBezTo>
                    <a:pt x="461" y="323"/>
                    <a:pt x="454" y="324"/>
                    <a:pt x="447" y="323"/>
                  </a:cubicBezTo>
                  <a:cubicBezTo>
                    <a:pt x="441" y="321"/>
                    <a:pt x="435" y="320"/>
                    <a:pt x="429" y="319"/>
                  </a:cubicBezTo>
                  <a:cubicBezTo>
                    <a:pt x="422" y="318"/>
                    <a:pt x="417" y="322"/>
                    <a:pt x="411" y="323"/>
                  </a:cubicBezTo>
                  <a:cubicBezTo>
                    <a:pt x="402" y="324"/>
                    <a:pt x="392" y="321"/>
                    <a:pt x="383" y="321"/>
                  </a:cubicBezTo>
                  <a:cubicBezTo>
                    <a:pt x="368" y="321"/>
                    <a:pt x="354" y="315"/>
                    <a:pt x="339" y="316"/>
                  </a:cubicBezTo>
                  <a:cubicBezTo>
                    <a:pt x="334" y="317"/>
                    <a:pt x="327" y="319"/>
                    <a:pt x="323" y="317"/>
                  </a:cubicBezTo>
                  <a:cubicBezTo>
                    <a:pt x="321" y="316"/>
                    <a:pt x="320" y="314"/>
                    <a:pt x="319" y="312"/>
                  </a:cubicBezTo>
                  <a:cubicBezTo>
                    <a:pt x="317" y="309"/>
                    <a:pt x="313" y="308"/>
                    <a:pt x="311" y="306"/>
                  </a:cubicBezTo>
                  <a:cubicBezTo>
                    <a:pt x="299" y="299"/>
                    <a:pt x="294" y="287"/>
                    <a:pt x="284" y="278"/>
                  </a:cubicBezTo>
                  <a:cubicBezTo>
                    <a:pt x="281" y="275"/>
                    <a:pt x="275" y="274"/>
                    <a:pt x="274" y="269"/>
                  </a:cubicBezTo>
                  <a:cubicBezTo>
                    <a:pt x="274" y="263"/>
                    <a:pt x="261" y="265"/>
                    <a:pt x="256" y="263"/>
                  </a:cubicBezTo>
                  <a:cubicBezTo>
                    <a:pt x="250" y="260"/>
                    <a:pt x="244" y="257"/>
                    <a:pt x="238" y="253"/>
                  </a:cubicBezTo>
                  <a:cubicBezTo>
                    <a:pt x="233" y="250"/>
                    <a:pt x="227" y="251"/>
                    <a:pt x="222" y="247"/>
                  </a:cubicBezTo>
                  <a:cubicBezTo>
                    <a:pt x="211" y="238"/>
                    <a:pt x="195" y="241"/>
                    <a:pt x="182" y="240"/>
                  </a:cubicBezTo>
                  <a:cubicBezTo>
                    <a:pt x="171" y="239"/>
                    <a:pt x="160" y="237"/>
                    <a:pt x="149" y="236"/>
                  </a:cubicBezTo>
                  <a:cubicBezTo>
                    <a:pt x="139" y="234"/>
                    <a:pt x="127" y="228"/>
                    <a:pt x="126" y="217"/>
                  </a:cubicBezTo>
                  <a:cubicBezTo>
                    <a:pt x="125" y="212"/>
                    <a:pt x="132" y="207"/>
                    <a:pt x="128" y="202"/>
                  </a:cubicBezTo>
                  <a:cubicBezTo>
                    <a:pt x="123" y="197"/>
                    <a:pt x="126" y="190"/>
                    <a:pt x="121" y="184"/>
                  </a:cubicBezTo>
                  <a:cubicBezTo>
                    <a:pt x="116" y="178"/>
                    <a:pt x="112" y="173"/>
                    <a:pt x="105" y="168"/>
                  </a:cubicBezTo>
                  <a:cubicBezTo>
                    <a:pt x="98" y="164"/>
                    <a:pt x="96" y="158"/>
                    <a:pt x="91" y="152"/>
                  </a:cubicBezTo>
                  <a:cubicBezTo>
                    <a:pt x="88" y="149"/>
                    <a:pt x="82" y="147"/>
                    <a:pt x="78" y="143"/>
                  </a:cubicBezTo>
                  <a:cubicBezTo>
                    <a:pt x="74" y="140"/>
                    <a:pt x="77" y="144"/>
                    <a:pt x="74" y="145"/>
                  </a:cubicBezTo>
                  <a:cubicBezTo>
                    <a:pt x="71" y="145"/>
                    <a:pt x="68" y="142"/>
                    <a:pt x="66" y="141"/>
                  </a:cubicBezTo>
                  <a:cubicBezTo>
                    <a:pt x="61" y="138"/>
                    <a:pt x="60" y="139"/>
                    <a:pt x="55" y="139"/>
                  </a:cubicBezTo>
                  <a:cubicBezTo>
                    <a:pt x="47" y="140"/>
                    <a:pt x="40" y="134"/>
                    <a:pt x="34" y="130"/>
                  </a:cubicBezTo>
                  <a:cubicBezTo>
                    <a:pt x="30" y="127"/>
                    <a:pt x="26" y="123"/>
                    <a:pt x="20" y="122"/>
                  </a:cubicBezTo>
                  <a:cubicBezTo>
                    <a:pt x="15" y="121"/>
                    <a:pt x="13" y="121"/>
                    <a:pt x="13" y="116"/>
                  </a:cubicBezTo>
                  <a:cubicBezTo>
                    <a:pt x="13" y="112"/>
                    <a:pt x="4" y="112"/>
                    <a:pt x="3" y="108"/>
                  </a:cubicBezTo>
                  <a:cubicBezTo>
                    <a:pt x="2" y="107"/>
                    <a:pt x="4" y="107"/>
                    <a:pt x="4" y="106"/>
                  </a:cubicBezTo>
                  <a:cubicBezTo>
                    <a:pt x="5" y="104"/>
                    <a:pt x="1" y="101"/>
                    <a:pt x="0" y="9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Freeform 564">
              <a:extLst>
                <a:ext uri="{FF2B5EF4-FFF2-40B4-BE49-F238E27FC236}">
                  <a16:creationId xmlns:a16="http://schemas.microsoft.com/office/drawing/2014/main" id="{724A4288-77D5-4B89-9931-79A3C5998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0262" y="1376608"/>
              <a:ext cx="1975398" cy="774143"/>
            </a:xfrm>
            <a:custGeom>
              <a:avLst/>
              <a:gdLst>
                <a:gd name="T0" fmla="*/ 23 w 910"/>
                <a:gd name="T1" fmla="*/ 87 h 356"/>
                <a:gd name="T2" fmla="*/ 43 w 910"/>
                <a:gd name="T3" fmla="*/ 81 h 356"/>
                <a:gd name="T4" fmla="*/ 52 w 910"/>
                <a:gd name="T5" fmla="*/ 66 h 356"/>
                <a:gd name="T6" fmla="*/ 78 w 910"/>
                <a:gd name="T7" fmla="*/ 53 h 356"/>
                <a:gd name="T8" fmla="*/ 106 w 910"/>
                <a:gd name="T9" fmla="*/ 48 h 356"/>
                <a:gd name="T10" fmla="*/ 139 w 910"/>
                <a:gd name="T11" fmla="*/ 52 h 356"/>
                <a:gd name="T12" fmla="*/ 202 w 910"/>
                <a:gd name="T13" fmla="*/ 72 h 356"/>
                <a:gd name="T14" fmla="*/ 232 w 910"/>
                <a:gd name="T15" fmla="*/ 75 h 356"/>
                <a:gd name="T16" fmla="*/ 261 w 910"/>
                <a:gd name="T17" fmla="*/ 61 h 356"/>
                <a:gd name="T18" fmla="*/ 240 w 910"/>
                <a:gd name="T19" fmla="*/ 23 h 356"/>
                <a:gd name="T20" fmla="*/ 264 w 910"/>
                <a:gd name="T21" fmla="*/ 7 h 356"/>
                <a:gd name="T22" fmla="*/ 326 w 910"/>
                <a:gd name="T23" fmla="*/ 22 h 356"/>
                <a:gd name="T24" fmla="*/ 378 w 910"/>
                <a:gd name="T25" fmla="*/ 58 h 356"/>
                <a:gd name="T26" fmla="*/ 422 w 910"/>
                <a:gd name="T27" fmla="*/ 63 h 356"/>
                <a:gd name="T28" fmla="*/ 496 w 910"/>
                <a:gd name="T29" fmla="*/ 68 h 356"/>
                <a:gd name="T30" fmla="*/ 542 w 910"/>
                <a:gd name="T31" fmla="*/ 90 h 356"/>
                <a:gd name="T32" fmla="*/ 602 w 910"/>
                <a:gd name="T33" fmla="*/ 98 h 356"/>
                <a:gd name="T34" fmla="*/ 654 w 910"/>
                <a:gd name="T35" fmla="*/ 88 h 356"/>
                <a:gd name="T36" fmla="*/ 690 w 910"/>
                <a:gd name="T37" fmla="*/ 63 h 356"/>
                <a:gd name="T38" fmla="*/ 739 w 910"/>
                <a:gd name="T39" fmla="*/ 72 h 356"/>
                <a:gd name="T40" fmla="*/ 761 w 910"/>
                <a:gd name="T41" fmla="*/ 138 h 356"/>
                <a:gd name="T42" fmla="*/ 807 w 910"/>
                <a:gd name="T43" fmla="*/ 145 h 356"/>
                <a:gd name="T44" fmla="*/ 867 w 910"/>
                <a:gd name="T45" fmla="*/ 154 h 356"/>
                <a:gd name="T46" fmla="*/ 872 w 910"/>
                <a:gd name="T47" fmla="*/ 183 h 356"/>
                <a:gd name="T48" fmla="*/ 840 w 910"/>
                <a:gd name="T49" fmla="*/ 188 h 356"/>
                <a:gd name="T50" fmla="*/ 818 w 910"/>
                <a:gd name="T51" fmla="*/ 207 h 356"/>
                <a:gd name="T52" fmla="*/ 795 w 910"/>
                <a:gd name="T53" fmla="*/ 227 h 356"/>
                <a:gd name="T54" fmla="*/ 770 w 910"/>
                <a:gd name="T55" fmla="*/ 245 h 356"/>
                <a:gd name="T56" fmla="*/ 714 w 910"/>
                <a:gd name="T57" fmla="*/ 240 h 356"/>
                <a:gd name="T58" fmla="*/ 717 w 910"/>
                <a:gd name="T59" fmla="*/ 265 h 356"/>
                <a:gd name="T60" fmla="*/ 717 w 910"/>
                <a:gd name="T61" fmla="*/ 301 h 356"/>
                <a:gd name="T62" fmla="*/ 670 w 910"/>
                <a:gd name="T63" fmla="*/ 329 h 356"/>
                <a:gd name="T64" fmla="*/ 584 w 910"/>
                <a:gd name="T65" fmla="*/ 351 h 356"/>
                <a:gd name="T66" fmla="*/ 549 w 910"/>
                <a:gd name="T67" fmla="*/ 349 h 356"/>
                <a:gd name="T68" fmla="*/ 468 w 910"/>
                <a:gd name="T69" fmla="*/ 324 h 356"/>
                <a:gd name="T70" fmla="*/ 411 w 910"/>
                <a:gd name="T71" fmla="*/ 323 h 356"/>
                <a:gd name="T72" fmla="*/ 323 w 910"/>
                <a:gd name="T73" fmla="*/ 317 h 356"/>
                <a:gd name="T74" fmla="*/ 284 w 910"/>
                <a:gd name="T75" fmla="*/ 278 h 356"/>
                <a:gd name="T76" fmla="*/ 238 w 910"/>
                <a:gd name="T77" fmla="*/ 253 h 356"/>
                <a:gd name="T78" fmla="*/ 149 w 910"/>
                <a:gd name="T79" fmla="*/ 236 h 356"/>
                <a:gd name="T80" fmla="*/ 121 w 910"/>
                <a:gd name="T81" fmla="*/ 184 h 356"/>
                <a:gd name="T82" fmla="*/ 78 w 910"/>
                <a:gd name="T83" fmla="*/ 143 h 356"/>
                <a:gd name="T84" fmla="*/ 55 w 910"/>
                <a:gd name="T85" fmla="*/ 139 h 356"/>
                <a:gd name="T86" fmla="*/ 13 w 910"/>
                <a:gd name="T87" fmla="*/ 116 h 356"/>
                <a:gd name="T88" fmla="*/ 0 w 910"/>
                <a:gd name="T89" fmla="*/ 99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10" h="356">
                  <a:moveTo>
                    <a:pt x="0" y="99"/>
                  </a:moveTo>
                  <a:cubicBezTo>
                    <a:pt x="7" y="100"/>
                    <a:pt x="4" y="95"/>
                    <a:pt x="6" y="91"/>
                  </a:cubicBezTo>
                  <a:cubicBezTo>
                    <a:pt x="8" y="84"/>
                    <a:pt x="24" y="94"/>
                    <a:pt x="23" y="87"/>
                  </a:cubicBezTo>
                  <a:cubicBezTo>
                    <a:pt x="26" y="88"/>
                    <a:pt x="29" y="90"/>
                    <a:pt x="32" y="88"/>
                  </a:cubicBezTo>
                  <a:cubicBezTo>
                    <a:pt x="31" y="87"/>
                    <a:pt x="31" y="86"/>
                    <a:pt x="30" y="85"/>
                  </a:cubicBezTo>
                  <a:cubicBezTo>
                    <a:pt x="35" y="84"/>
                    <a:pt x="38" y="83"/>
                    <a:pt x="43" y="81"/>
                  </a:cubicBezTo>
                  <a:cubicBezTo>
                    <a:pt x="40" y="80"/>
                    <a:pt x="39" y="77"/>
                    <a:pt x="38" y="75"/>
                  </a:cubicBezTo>
                  <a:cubicBezTo>
                    <a:pt x="39" y="74"/>
                    <a:pt x="48" y="73"/>
                    <a:pt x="47" y="71"/>
                  </a:cubicBezTo>
                  <a:cubicBezTo>
                    <a:pt x="46" y="68"/>
                    <a:pt x="50" y="68"/>
                    <a:pt x="52" y="66"/>
                  </a:cubicBezTo>
                  <a:cubicBezTo>
                    <a:pt x="54" y="65"/>
                    <a:pt x="59" y="65"/>
                    <a:pt x="61" y="64"/>
                  </a:cubicBezTo>
                  <a:cubicBezTo>
                    <a:pt x="64" y="61"/>
                    <a:pt x="66" y="58"/>
                    <a:pt x="70" y="56"/>
                  </a:cubicBezTo>
                  <a:cubicBezTo>
                    <a:pt x="73" y="55"/>
                    <a:pt x="76" y="57"/>
                    <a:pt x="78" y="53"/>
                  </a:cubicBezTo>
                  <a:cubicBezTo>
                    <a:pt x="80" y="51"/>
                    <a:pt x="81" y="49"/>
                    <a:pt x="84" y="49"/>
                  </a:cubicBezTo>
                  <a:cubicBezTo>
                    <a:pt x="87" y="48"/>
                    <a:pt x="97" y="49"/>
                    <a:pt x="94" y="43"/>
                  </a:cubicBezTo>
                  <a:cubicBezTo>
                    <a:pt x="98" y="43"/>
                    <a:pt x="102" y="50"/>
                    <a:pt x="106" y="48"/>
                  </a:cubicBezTo>
                  <a:cubicBezTo>
                    <a:pt x="107" y="48"/>
                    <a:pt x="111" y="44"/>
                    <a:pt x="112" y="45"/>
                  </a:cubicBezTo>
                  <a:cubicBezTo>
                    <a:pt x="115" y="48"/>
                    <a:pt x="115" y="51"/>
                    <a:pt x="120" y="51"/>
                  </a:cubicBezTo>
                  <a:cubicBezTo>
                    <a:pt x="126" y="51"/>
                    <a:pt x="132" y="53"/>
                    <a:pt x="139" y="52"/>
                  </a:cubicBezTo>
                  <a:cubicBezTo>
                    <a:pt x="146" y="52"/>
                    <a:pt x="150" y="52"/>
                    <a:pt x="155" y="58"/>
                  </a:cubicBezTo>
                  <a:cubicBezTo>
                    <a:pt x="163" y="69"/>
                    <a:pt x="173" y="71"/>
                    <a:pt x="186" y="74"/>
                  </a:cubicBezTo>
                  <a:cubicBezTo>
                    <a:pt x="193" y="75"/>
                    <a:pt x="196" y="72"/>
                    <a:pt x="202" y="72"/>
                  </a:cubicBezTo>
                  <a:cubicBezTo>
                    <a:pt x="203" y="72"/>
                    <a:pt x="208" y="71"/>
                    <a:pt x="209" y="72"/>
                  </a:cubicBezTo>
                  <a:cubicBezTo>
                    <a:pt x="212" y="72"/>
                    <a:pt x="216" y="75"/>
                    <a:pt x="218" y="75"/>
                  </a:cubicBezTo>
                  <a:cubicBezTo>
                    <a:pt x="222" y="75"/>
                    <a:pt x="229" y="74"/>
                    <a:pt x="232" y="75"/>
                  </a:cubicBezTo>
                  <a:cubicBezTo>
                    <a:pt x="237" y="77"/>
                    <a:pt x="243" y="83"/>
                    <a:pt x="248" y="78"/>
                  </a:cubicBezTo>
                  <a:cubicBezTo>
                    <a:pt x="251" y="74"/>
                    <a:pt x="251" y="75"/>
                    <a:pt x="256" y="74"/>
                  </a:cubicBezTo>
                  <a:cubicBezTo>
                    <a:pt x="260" y="73"/>
                    <a:pt x="261" y="65"/>
                    <a:pt x="261" y="61"/>
                  </a:cubicBezTo>
                  <a:cubicBezTo>
                    <a:pt x="260" y="57"/>
                    <a:pt x="257" y="54"/>
                    <a:pt x="253" y="52"/>
                  </a:cubicBezTo>
                  <a:cubicBezTo>
                    <a:pt x="247" y="50"/>
                    <a:pt x="245" y="44"/>
                    <a:pt x="240" y="40"/>
                  </a:cubicBezTo>
                  <a:cubicBezTo>
                    <a:pt x="236" y="38"/>
                    <a:pt x="231" y="20"/>
                    <a:pt x="240" y="23"/>
                  </a:cubicBezTo>
                  <a:cubicBezTo>
                    <a:pt x="238" y="19"/>
                    <a:pt x="237" y="14"/>
                    <a:pt x="242" y="13"/>
                  </a:cubicBezTo>
                  <a:cubicBezTo>
                    <a:pt x="248" y="11"/>
                    <a:pt x="247" y="4"/>
                    <a:pt x="246" y="0"/>
                  </a:cubicBezTo>
                  <a:cubicBezTo>
                    <a:pt x="252" y="2"/>
                    <a:pt x="258" y="6"/>
                    <a:pt x="264" y="7"/>
                  </a:cubicBezTo>
                  <a:cubicBezTo>
                    <a:pt x="271" y="8"/>
                    <a:pt x="277" y="12"/>
                    <a:pt x="284" y="13"/>
                  </a:cubicBezTo>
                  <a:cubicBezTo>
                    <a:pt x="291" y="14"/>
                    <a:pt x="297" y="14"/>
                    <a:pt x="304" y="16"/>
                  </a:cubicBezTo>
                  <a:cubicBezTo>
                    <a:pt x="310" y="18"/>
                    <a:pt x="320" y="24"/>
                    <a:pt x="326" y="22"/>
                  </a:cubicBezTo>
                  <a:cubicBezTo>
                    <a:pt x="337" y="19"/>
                    <a:pt x="346" y="29"/>
                    <a:pt x="351" y="37"/>
                  </a:cubicBezTo>
                  <a:cubicBezTo>
                    <a:pt x="354" y="41"/>
                    <a:pt x="359" y="45"/>
                    <a:pt x="361" y="49"/>
                  </a:cubicBezTo>
                  <a:cubicBezTo>
                    <a:pt x="364" y="54"/>
                    <a:pt x="373" y="56"/>
                    <a:pt x="378" y="58"/>
                  </a:cubicBezTo>
                  <a:cubicBezTo>
                    <a:pt x="384" y="61"/>
                    <a:pt x="389" y="61"/>
                    <a:pt x="394" y="64"/>
                  </a:cubicBezTo>
                  <a:cubicBezTo>
                    <a:pt x="398" y="66"/>
                    <a:pt x="404" y="67"/>
                    <a:pt x="408" y="65"/>
                  </a:cubicBezTo>
                  <a:cubicBezTo>
                    <a:pt x="414" y="63"/>
                    <a:pt x="417" y="68"/>
                    <a:pt x="422" y="63"/>
                  </a:cubicBezTo>
                  <a:cubicBezTo>
                    <a:pt x="427" y="59"/>
                    <a:pt x="434" y="59"/>
                    <a:pt x="440" y="57"/>
                  </a:cubicBezTo>
                  <a:cubicBezTo>
                    <a:pt x="452" y="54"/>
                    <a:pt x="468" y="59"/>
                    <a:pt x="480" y="60"/>
                  </a:cubicBezTo>
                  <a:cubicBezTo>
                    <a:pt x="486" y="61"/>
                    <a:pt x="491" y="65"/>
                    <a:pt x="496" y="68"/>
                  </a:cubicBezTo>
                  <a:cubicBezTo>
                    <a:pt x="504" y="73"/>
                    <a:pt x="511" y="71"/>
                    <a:pt x="520" y="73"/>
                  </a:cubicBezTo>
                  <a:cubicBezTo>
                    <a:pt x="525" y="74"/>
                    <a:pt x="526" y="78"/>
                    <a:pt x="529" y="81"/>
                  </a:cubicBezTo>
                  <a:cubicBezTo>
                    <a:pt x="532" y="85"/>
                    <a:pt x="538" y="87"/>
                    <a:pt x="542" y="90"/>
                  </a:cubicBezTo>
                  <a:cubicBezTo>
                    <a:pt x="548" y="94"/>
                    <a:pt x="553" y="94"/>
                    <a:pt x="560" y="93"/>
                  </a:cubicBezTo>
                  <a:cubicBezTo>
                    <a:pt x="569" y="93"/>
                    <a:pt x="574" y="97"/>
                    <a:pt x="583" y="98"/>
                  </a:cubicBezTo>
                  <a:cubicBezTo>
                    <a:pt x="589" y="99"/>
                    <a:pt x="596" y="98"/>
                    <a:pt x="602" y="98"/>
                  </a:cubicBezTo>
                  <a:cubicBezTo>
                    <a:pt x="607" y="98"/>
                    <a:pt x="611" y="101"/>
                    <a:pt x="616" y="98"/>
                  </a:cubicBezTo>
                  <a:cubicBezTo>
                    <a:pt x="622" y="95"/>
                    <a:pt x="626" y="92"/>
                    <a:pt x="633" y="91"/>
                  </a:cubicBezTo>
                  <a:cubicBezTo>
                    <a:pt x="640" y="90"/>
                    <a:pt x="648" y="88"/>
                    <a:pt x="654" y="88"/>
                  </a:cubicBezTo>
                  <a:cubicBezTo>
                    <a:pt x="660" y="89"/>
                    <a:pt x="664" y="87"/>
                    <a:pt x="665" y="81"/>
                  </a:cubicBezTo>
                  <a:cubicBezTo>
                    <a:pt x="667" y="75"/>
                    <a:pt x="671" y="72"/>
                    <a:pt x="676" y="68"/>
                  </a:cubicBezTo>
                  <a:cubicBezTo>
                    <a:pt x="681" y="65"/>
                    <a:pt x="683" y="61"/>
                    <a:pt x="690" y="63"/>
                  </a:cubicBezTo>
                  <a:cubicBezTo>
                    <a:pt x="697" y="65"/>
                    <a:pt x="702" y="63"/>
                    <a:pt x="709" y="68"/>
                  </a:cubicBezTo>
                  <a:cubicBezTo>
                    <a:pt x="714" y="71"/>
                    <a:pt x="719" y="74"/>
                    <a:pt x="725" y="75"/>
                  </a:cubicBezTo>
                  <a:cubicBezTo>
                    <a:pt x="731" y="76"/>
                    <a:pt x="734" y="73"/>
                    <a:pt x="739" y="72"/>
                  </a:cubicBezTo>
                  <a:cubicBezTo>
                    <a:pt x="752" y="69"/>
                    <a:pt x="759" y="75"/>
                    <a:pt x="759" y="88"/>
                  </a:cubicBezTo>
                  <a:cubicBezTo>
                    <a:pt x="758" y="100"/>
                    <a:pt x="756" y="117"/>
                    <a:pt x="762" y="127"/>
                  </a:cubicBezTo>
                  <a:cubicBezTo>
                    <a:pt x="765" y="130"/>
                    <a:pt x="760" y="133"/>
                    <a:pt x="761" y="138"/>
                  </a:cubicBezTo>
                  <a:cubicBezTo>
                    <a:pt x="763" y="142"/>
                    <a:pt x="770" y="146"/>
                    <a:pt x="775" y="148"/>
                  </a:cubicBezTo>
                  <a:cubicBezTo>
                    <a:pt x="780" y="150"/>
                    <a:pt x="781" y="143"/>
                    <a:pt x="787" y="144"/>
                  </a:cubicBezTo>
                  <a:cubicBezTo>
                    <a:pt x="793" y="144"/>
                    <a:pt x="800" y="142"/>
                    <a:pt x="807" y="145"/>
                  </a:cubicBezTo>
                  <a:cubicBezTo>
                    <a:pt x="812" y="148"/>
                    <a:pt x="816" y="151"/>
                    <a:pt x="820" y="144"/>
                  </a:cubicBezTo>
                  <a:cubicBezTo>
                    <a:pt x="823" y="139"/>
                    <a:pt x="827" y="138"/>
                    <a:pt x="833" y="138"/>
                  </a:cubicBezTo>
                  <a:cubicBezTo>
                    <a:pt x="845" y="139"/>
                    <a:pt x="858" y="148"/>
                    <a:pt x="867" y="154"/>
                  </a:cubicBezTo>
                  <a:cubicBezTo>
                    <a:pt x="878" y="161"/>
                    <a:pt x="890" y="166"/>
                    <a:pt x="899" y="175"/>
                  </a:cubicBezTo>
                  <a:cubicBezTo>
                    <a:pt x="910" y="187"/>
                    <a:pt x="892" y="186"/>
                    <a:pt x="885" y="185"/>
                  </a:cubicBezTo>
                  <a:cubicBezTo>
                    <a:pt x="881" y="184"/>
                    <a:pt x="876" y="179"/>
                    <a:pt x="872" y="183"/>
                  </a:cubicBezTo>
                  <a:cubicBezTo>
                    <a:pt x="871" y="184"/>
                    <a:pt x="865" y="182"/>
                    <a:pt x="863" y="182"/>
                  </a:cubicBezTo>
                  <a:cubicBezTo>
                    <a:pt x="858" y="182"/>
                    <a:pt x="855" y="185"/>
                    <a:pt x="850" y="187"/>
                  </a:cubicBezTo>
                  <a:cubicBezTo>
                    <a:pt x="847" y="189"/>
                    <a:pt x="841" y="185"/>
                    <a:pt x="840" y="188"/>
                  </a:cubicBezTo>
                  <a:cubicBezTo>
                    <a:pt x="839" y="192"/>
                    <a:pt x="839" y="194"/>
                    <a:pt x="834" y="194"/>
                  </a:cubicBezTo>
                  <a:cubicBezTo>
                    <a:pt x="828" y="194"/>
                    <a:pt x="823" y="193"/>
                    <a:pt x="820" y="199"/>
                  </a:cubicBezTo>
                  <a:cubicBezTo>
                    <a:pt x="819" y="201"/>
                    <a:pt x="818" y="204"/>
                    <a:pt x="818" y="207"/>
                  </a:cubicBezTo>
                  <a:cubicBezTo>
                    <a:pt x="818" y="209"/>
                    <a:pt x="822" y="212"/>
                    <a:pt x="821" y="214"/>
                  </a:cubicBezTo>
                  <a:cubicBezTo>
                    <a:pt x="820" y="217"/>
                    <a:pt x="813" y="222"/>
                    <a:pt x="810" y="224"/>
                  </a:cubicBezTo>
                  <a:cubicBezTo>
                    <a:pt x="807" y="227"/>
                    <a:pt x="800" y="227"/>
                    <a:pt x="795" y="227"/>
                  </a:cubicBezTo>
                  <a:cubicBezTo>
                    <a:pt x="791" y="227"/>
                    <a:pt x="785" y="224"/>
                    <a:pt x="783" y="228"/>
                  </a:cubicBezTo>
                  <a:cubicBezTo>
                    <a:pt x="781" y="232"/>
                    <a:pt x="780" y="237"/>
                    <a:pt x="777" y="240"/>
                  </a:cubicBezTo>
                  <a:cubicBezTo>
                    <a:pt x="775" y="243"/>
                    <a:pt x="772" y="242"/>
                    <a:pt x="770" y="245"/>
                  </a:cubicBezTo>
                  <a:cubicBezTo>
                    <a:pt x="769" y="247"/>
                    <a:pt x="768" y="249"/>
                    <a:pt x="765" y="249"/>
                  </a:cubicBezTo>
                  <a:cubicBezTo>
                    <a:pt x="759" y="248"/>
                    <a:pt x="752" y="247"/>
                    <a:pt x="746" y="246"/>
                  </a:cubicBezTo>
                  <a:cubicBezTo>
                    <a:pt x="736" y="244"/>
                    <a:pt x="725" y="232"/>
                    <a:pt x="714" y="240"/>
                  </a:cubicBezTo>
                  <a:cubicBezTo>
                    <a:pt x="710" y="243"/>
                    <a:pt x="710" y="248"/>
                    <a:pt x="712" y="252"/>
                  </a:cubicBezTo>
                  <a:cubicBezTo>
                    <a:pt x="713" y="255"/>
                    <a:pt x="711" y="258"/>
                    <a:pt x="712" y="260"/>
                  </a:cubicBezTo>
                  <a:cubicBezTo>
                    <a:pt x="713" y="263"/>
                    <a:pt x="715" y="263"/>
                    <a:pt x="717" y="265"/>
                  </a:cubicBezTo>
                  <a:cubicBezTo>
                    <a:pt x="721" y="269"/>
                    <a:pt x="745" y="282"/>
                    <a:pt x="735" y="286"/>
                  </a:cubicBezTo>
                  <a:cubicBezTo>
                    <a:pt x="732" y="288"/>
                    <a:pt x="729" y="292"/>
                    <a:pt x="727" y="294"/>
                  </a:cubicBezTo>
                  <a:cubicBezTo>
                    <a:pt x="724" y="296"/>
                    <a:pt x="719" y="297"/>
                    <a:pt x="717" y="301"/>
                  </a:cubicBezTo>
                  <a:cubicBezTo>
                    <a:pt x="715" y="307"/>
                    <a:pt x="713" y="314"/>
                    <a:pt x="708" y="318"/>
                  </a:cubicBezTo>
                  <a:cubicBezTo>
                    <a:pt x="704" y="322"/>
                    <a:pt x="697" y="323"/>
                    <a:pt x="692" y="326"/>
                  </a:cubicBezTo>
                  <a:cubicBezTo>
                    <a:pt x="687" y="329"/>
                    <a:pt x="677" y="328"/>
                    <a:pt x="670" y="329"/>
                  </a:cubicBezTo>
                  <a:cubicBezTo>
                    <a:pt x="662" y="329"/>
                    <a:pt x="656" y="327"/>
                    <a:pt x="648" y="329"/>
                  </a:cubicBezTo>
                  <a:cubicBezTo>
                    <a:pt x="631" y="331"/>
                    <a:pt x="617" y="333"/>
                    <a:pt x="602" y="341"/>
                  </a:cubicBezTo>
                  <a:cubicBezTo>
                    <a:pt x="595" y="344"/>
                    <a:pt x="589" y="347"/>
                    <a:pt x="584" y="351"/>
                  </a:cubicBezTo>
                  <a:cubicBezTo>
                    <a:pt x="579" y="355"/>
                    <a:pt x="580" y="356"/>
                    <a:pt x="574" y="355"/>
                  </a:cubicBezTo>
                  <a:cubicBezTo>
                    <a:pt x="570" y="355"/>
                    <a:pt x="566" y="355"/>
                    <a:pt x="563" y="353"/>
                  </a:cubicBezTo>
                  <a:cubicBezTo>
                    <a:pt x="558" y="349"/>
                    <a:pt x="557" y="348"/>
                    <a:pt x="549" y="349"/>
                  </a:cubicBezTo>
                  <a:cubicBezTo>
                    <a:pt x="535" y="351"/>
                    <a:pt x="520" y="343"/>
                    <a:pt x="506" y="341"/>
                  </a:cubicBezTo>
                  <a:cubicBezTo>
                    <a:pt x="499" y="339"/>
                    <a:pt x="492" y="338"/>
                    <a:pt x="486" y="335"/>
                  </a:cubicBezTo>
                  <a:cubicBezTo>
                    <a:pt x="479" y="332"/>
                    <a:pt x="475" y="326"/>
                    <a:pt x="468" y="324"/>
                  </a:cubicBezTo>
                  <a:cubicBezTo>
                    <a:pt x="461" y="323"/>
                    <a:pt x="454" y="324"/>
                    <a:pt x="447" y="323"/>
                  </a:cubicBezTo>
                  <a:cubicBezTo>
                    <a:pt x="441" y="321"/>
                    <a:pt x="435" y="320"/>
                    <a:pt x="429" y="319"/>
                  </a:cubicBezTo>
                  <a:cubicBezTo>
                    <a:pt x="422" y="318"/>
                    <a:pt x="417" y="322"/>
                    <a:pt x="411" y="323"/>
                  </a:cubicBezTo>
                  <a:cubicBezTo>
                    <a:pt x="402" y="324"/>
                    <a:pt x="392" y="321"/>
                    <a:pt x="383" y="321"/>
                  </a:cubicBezTo>
                  <a:cubicBezTo>
                    <a:pt x="368" y="321"/>
                    <a:pt x="354" y="315"/>
                    <a:pt x="339" y="316"/>
                  </a:cubicBezTo>
                  <a:cubicBezTo>
                    <a:pt x="334" y="317"/>
                    <a:pt x="327" y="319"/>
                    <a:pt x="323" y="317"/>
                  </a:cubicBezTo>
                  <a:cubicBezTo>
                    <a:pt x="321" y="316"/>
                    <a:pt x="320" y="314"/>
                    <a:pt x="319" y="312"/>
                  </a:cubicBezTo>
                  <a:cubicBezTo>
                    <a:pt x="317" y="309"/>
                    <a:pt x="313" y="308"/>
                    <a:pt x="311" y="306"/>
                  </a:cubicBezTo>
                  <a:cubicBezTo>
                    <a:pt x="299" y="299"/>
                    <a:pt x="294" y="287"/>
                    <a:pt x="284" y="278"/>
                  </a:cubicBezTo>
                  <a:cubicBezTo>
                    <a:pt x="281" y="275"/>
                    <a:pt x="275" y="274"/>
                    <a:pt x="274" y="269"/>
                  </a:cubicBezTo>
                  <a:cubicBezTo>
                    <a:pt x="274" y="263"/>
                    <a:pt x="261" y="265"/>
                    <a:pt x="256" y="263"/>
                  </a:cubicBezTo>
                  <a:cubicBezTo>
                    <a:pt x="250" y="260"/>
                    <a:pt x="244" y="257"/>
                    <a:pt x="238" y="253"/>
                  </a:cubicBezTo>
                  <a:cubicBezTo>
                    <a:pt x="233" y="250"/>
                    <a:pt x="227" y="251"/>
                    <a:pt x="222" y="247"/>
                  </a:cubicBezTo>
                  <a:cubicBezTo>
                    <a:pt x="211" y="238"/>
                    <a:pt x="195" y="241"/>
                    <a:pt x="182" y="240"/>
                  </a:cubicBezTo>
                  <a:cubicBezTo>
                    <a:pt x="171" y="239"/>
                    <a:pt x="160" y="237"/>
                    <a:pt x="149" y="236"/>
                  </a:cubicBezTo>
                  <a:cubicBezTo>
                    <a:pt x="139" y="234"/>
                    <a:pt x="127" y="228"/>
                    <a:pt x="126" y="217"/>
                  </a:cubicBezTo>
                  <a:cubicBezTo>
                    <a:pt x="125" y="212"/>
                    <a:pt x="132" y="207"/>
                    <a:pt x="128" y="202"/>
                  </a:cubicBezTo>
                  <a:cubicBezTo>
                    <a:pt x="123" y="197"/>
                    <a:pt x="126" y="190"/>
                    <a:pt x="121" y="184"/>
                  </a:cubicBezTo>
                  <a:cubicBezTo>
                    <a:pt x="116" y="178"/>
                    <a:pt x="112" y="173"/>
                    <a:pt x="105" y="168"/>
                  </a:cubicBezTo>
                  <a:cubicBezTo>
                    <a:pt x="98" y="164"/>
                    <a:pt x="96" y="158"/>
                    <a:pt x="91" y="152"/>
                  </a:cubicBezTo>
                  <a:cubicBezTo>
                    <a:pt x="88" y="149"/>
                    <a:pt x="82" y="147"/>
                    <a:pt x="78" y="143"/>
                  </a:cubicBezTo>
                  <a:cubicBezTo>
                    <a:pt x="74" y="140"/>
                    <a:pt x="77" y="144"/>
                    <a:pt x="74" y="145"/>
                  </a:cubicBezTo>
                  <a:cubicBezTo>
                    <a:pt x="71" y="145"/>
                    <a:pt x="68" y="142"/>
                    <a:pt x="66" y="141"/>
                  </a:cubicBezTo>
                  <a:cubicBezTo>
                    <a:pt x="61" y="138"/>
                    <a:pt x="60" y="139"/>
                    <a:pt x="55" y="139"/>
                  </a:cubicBezTo>
                  <a:cubicBezTo>
                    <a:pt x="47" y="140"/>
                    <a:pt x="40" y="134"/>
                    <a:pt x="34" y="130"/>
                  </a:cubicBezTo>
                  <a:cubicBezTo>
                    <a:pt x="30" y="127"/>
                    <a:pt x="26" y="123"/>
                    <a:pt x="20" y="122"/>
                  </a:cubicBezTo>
                  <a:cubicBezTo>
                    <a:pt x="15" y="121"/>
                    <a:pt x="13" y="121"/>
                    <a:pt x="13" y="116"/>
                  </a:cubicBezTo>
                  <a:cubicBezTo>
                    <a:pt x="13" y="112"/>
                    <a:pt x="4" y="112"/>
                    <a:pt x="3" y="108"/>
                  </a:cubicBezTo>
                  <a:cubicBezTo>
                    <a:pt x="2" y="107"/>
                    <a:pt x="4" y="107"/>
                    <a:pt x="4" y="106"/>
                  </a:cubicBezTo>
                  <a:cubicBezTo>
                    <a:pt x="5" y="104"/>
                    <a:pt x="1" y="101"/>
                    <a:pt x="0" y="9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Freeform 565">
              <a:extLst>
                <a:ext uri="{FF2B5EF4-FFF2-40B4-BE49-F238E27FC236}">
                  <a16:creationId xmlns:a16="http://schemas.microsoft.com/office/drawing/2014/main" id="{F02CA192-637E-4F18-B4D6-F63654ACB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9566" y="4762369"/>
              <a:ext cx="293640" cy="418215"/>
            </a:xfrm>
            <a:custGeom>
              <a:avLst/>
              <a:gdLst>
                <a:gd name="T0" fmla="*/ 0 w 135"/>
                <a:gd name="T1" fmla="*/ 13 h 193"/>
                <a:gd name="T2" fmla="*/ 2 w 135"/>
                <a:gd name="T3" fmla="*/ 4 h 193"/>
                <a:gd name="T4" fmla="*/ 10 w 135"/>
                <a:gd name="T5" fmla="*/ 10 h 193"/>
                <a:gd name="T6" fmla="*/ 18 w 135"/>
                <a:gd name="T7" fmla="*/ 12 h 193"/>
                <a:gd name="T8" fmla="*/ 23 w 135"/>
                <a:gd name="T9" fmla="*/ 17 h 193"/>
                <a:gd name="T10" fmla="*/ 30 w 135"/>
                <a:gd name="T11" fmla="*/ 28 h 193"/>
                <a:gd name="T12" fmla="*/ 34 w 135"/>
                <a:gd name="T13" fmla="*/ 39 h 193"/>
                <a:gd name="T14" fmla="*/ 44 w 135"/>
                <a:gd name="T15" fmla="*/ 31 h 193"/>
                <a:gd name="T16" fmla="*/ 53 w 135"/>
                <a:gd name="T17" fmla="*/ 36 h 193"/>
                <a:gd name="T18" fmla="*/ 60 w 135"/>
                <a:gd name="T19" fmla="*/ 19 h 193"/>
                <a:gd name="T20" fmla="*/ 70 w 135"/>
                <a:gd name="T21" fmla="*/ 24 h 193"/>
                <a:gd name="T22" fmla="*/ 76 w 135"/>
                <a:gd name="T23" fmla="*/ 34 h 193"/>
                <a:gd name="T24" fmla="*/ 97 w 135"/>
                <a:gd name="T25" fmla="*/ 57 h 193"/>
                <a:gd name="T26" fmla="*/ 105 w 135"/>
                <a:gd name="T27" fmla="*/ 87 h 193"/>
                <a:gd name="T28" fmla="*/ 103 w 135"/>
                <a:gd name="T29" fmla="*/ 101 h 193"/>
                <a:gd name="T30" fmla="*/ 105 w 135"/>
                <a:gd name="T31" fmla="*/ 112 h 193"/>
                <a:gd name="T32" fmla="*/ 108 w 135"/>
                <a:gd name="T33" fmla="*/ 138 h 193"/>
                <a:gd name="T34" fmla="*/ 122 w 135"/>
                <a:gd name="T35" fmla="*/ 155 h 193"/>
                <a:gd name="T36" fmla="*/ 132 w 135"/>
                <a:gd name="T37" fmla="*/ 181 h 193"/>
                <a:gd name="T38" fmla="*/ 128 w 135"/>
                <a:gd name="T39" fmla="*/ 182 h 193"/>
                <a:gd name="T40" fmla="*/ 122 w 135"/>
                <a:gd name="T41" fmla="*/ 178 h 193"/>
                <a:gd name="T42" fmla="*/ 122 w 135"/>
                <a:gd name="T43" fmla="*/ 185 h 193"/>
                <a:gd name="T44" fmla="*/ 107 w 135"/>
                <a:gd name="T45" fmla="*/ 189 h 193"/>
                <a:gd name="T46" fmla="*/ 84 w 135"/>
                <a:gd name="T47" fmla="*/ 169 h 193"/>
                <a:gd name="T48" fmla="*/ 78 w 135"/>
                <a:gd name="T49" fmla="*/ 164 h 193"/>
                <a:gd name="T50" fmla="*/ 67 w 135"/>
                <a:gd name="T51" fmla="*/ 159 h 193"/>
                <a:gd name="T52" fmla="*/ 57 w 135"/>
                <a:gd name="T53" fmla="*/ 148 h 193"/>
                <a:gd name="T54" fmla="*/ 51 w 135"/>
                <a:gd name="T55" fmla="*/ 144 h 193"/>
                <a:gd name="T56" fmla="*/ 42 w 135"/>
                <a:gd name="T57" fmla="*/ 138 h 193"/>
                <a:gd name="T58" fmla="*/ 42 w 135"/>
                <a:gd name="T59" fmla="*/ 133 h 193"/>
                <a:gd name="T60" fmla="*/ 40 w 135"/>
                <a:gd name="T61" fmla="*/ 124 h 193"/>
                <a:gd name="T62" fmla="*/ 26 w 135"/>
                <a:gd name="T63" fmla="*/ 104 h 193"/>
                <a:gd name="T64" fmla="*/ 26 w 135"/>
                <a:gd name="T65" fmla="*/ 96 h 193"/>
                <a:gd name="T66" fmla="*/ 17 w 135"/>
                <a:gd name="T67" fmla="*/ 83 h 193"/>
                <a:gd name="T68" fmla="*/ 11 w 135"/>
                <a:gd name="T69" fmla="*/ 62 h 193"/>
                <a:gd name="T70" fmla="*/ 8 w 135"/>
                <a:gd name="T71" fmla="*/ 36 h 193"/>
                <a:gd name="T72" fmla="*/ 0 w 135"/>
                <a:gd name="T73" fmla="*/ 1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5" h="193">
                  <a:moveTo>
                    <a:pt x="0" y="13"/>
                  </a:moveTo>
                  <a:cubicBezTo>
                    <a:pt x="1" y="11"/>
                    <a:pt x="1" y="7"/>
                    <a:pt x="2" y="4"/>
                  </a:cubicBezTo>
                  <a:cubicBezTo>
                    <a:pt x="4" y="0"/>
                    <a:pt x="8" y="9"/>
                    <a:pt x="10" y="10"/>
                  </a:cubicBezTo>
                  <a:cubicBezTo>
                    <a:pt x="13" y="12"/>
                    <a:pt x="16" y="11"/>
                    <a:pt x="18" y="12"/>
                  </a:cubicBezTo>
                  <a:cubicBezTo>
                    <a:pt x="21" y="12"/>
                    <a:pt x="21" y="15"/>
                    <a:pt x="23" y="17"/>
                  </a:cubicBezTo>
                  <a:cubicBezTo>
                    <a:pt x="25" y="21"/>
                    <a:pt x="32" y="20"/>
                    <a:pt x="30" y="28"/>
                  </a:cubicBezTo>
                  <a:cubicBezTo>
                    <a:pt x="29" y="31"/>
                    <a:pt x="25" y="41"/>
                    <a:pt x="34" y="39"/>
                  </a:cubicBezTo>
                  <a:cubicBezTo>
                    <a:pt x="38" y="38"/>
                    <a:pt x="39" y="31"/>
                    <a:pt x="44" y="31"/>
                  </a:cubicBezTo>
                  <a:cubicBezTo>
                    <a:pt x="48" y="30"/>
                    <a:pt x="49" y="38"/>
                    <a:pt x="53" y="36"/>
                  </a:cubicBezTo>
                  <a:cubicBezTo>
                    <a:pt x="56" y="35"/>
                    <a:pt x="60" y="23"/>
                    <a:pt x="60" y="19"/>
                  </a:cubicBezTo>
                  <a:cubicBezTo>
                    <a:pt x="64" y="21"/>
                    <a:pt x="67" y="21"/>
                    <a:pt x="70" y="24"/>
                  </a:cubicBezTo>
                  <a:cubicBezTo>
                    <a:pt x="72" y="28"/>
                    <a:pt x="73" y="32"/>
                    <a:pt x="76" y="34"/>
                  </a:cubicBezTo>
                  <a:cubicBezTo>
                    <a:pt x="85" y="41"/>
                    <a:pt x="92" y="47"/>
                    <a:pt x="97" y="57"/>
                  </a:cubicBezTo>
                  <a:cubicBezTo>
                    <a:pt x="102" y="66"/>
                    <a:pt x="106" y="76"/>
                    <a:pt x="105" y="87"/>
                  </a:cubicBezTo>
                  <a:cubicBezTo>
                    <a:pt x="105" y="92"/>
                    <a:pt x="104" y="96"/>
                    <a:pt x="103" y="101"/>
                  </a:cubicBezTo>
                  <a:cubicBezTo>
                    <a:pt x="102" y="107"/>
                    <a:pt x="103" y="107"/>
                    <a:pt x="105" y="112"/>
                  </a:cubicBezTo>
                  <a:cubicBezTo>
                    <a:pt x="108" y="120"/>
                    <a:pt x="103" y="130"/>
                    <a:pt x="108" y="138"/>
                  </a:cubicBezTo>
                  <a:cubicBezTo>
                    <a:pt x="111" y="144"/>
                    <a:pt x="120" y="148"/>
                    <a:pt x="122" y="155"/>
                  </a:cubicBezTo>
                  <a:cubicBezTo>
                    <a:pt x="124" y="164"/>
                    <a:pt x="130" y="172"/>
                    <a:pt x="132" y="181"/>
                  </a:cubicBezTo>
                  <a:cubicBezTo>
                    <a:pt x="135" y="193"/>
                    <a:pt x="122" y="186"/>
                    <a:pt x="128" y="182"/>
                  </a:cubicBezTo>
                  <a:cubicBezTo>
                    <a:pt x="125" y="182"/>
                    <a:pt x="123" y="181"/>
                    <a:pt x="122" y="178"/>
                  </a:cubicBezTo>
                  <a:cubicBezTo>
                    <a:pt x="123" y="179"/>
                    <a:pt x="125" y="187"/>
                    <a:pt x="122" y="185"/>
                  </a:cubicBezTo>
                  <a:cubicBezTo>
                    <a:pt x="118" y="182"/>
                    <a:pt x="110" y="188"/>
                    <a:pt x="107" y="189"/>
                  </a:cubicBezTo>
                  <a:cubicBezTo>
                    <a:pt x="104" y="179"/>
                    <a:pt x="91" y="176"/>
                    <a:pt x="84" y="169"/>
                  </a:cubicBezTo>
                  <a:cubicBezTo>
                    <a:pt x="82" y="168"/>
                    <a:pt x="80" y="166"/>
                    <a:pt x="78" y="164"/>
                  </a:cubicBezTo>
                  <a:cubicBezTo>
                    <a:pt x="75" y="161"/>
                    <a:pt x="70" y="161"/>
                    <a:pt x="67" y="159"/>
                  </a:cubicBezTo>
                  <a:cubicBezTo>
                    <a:pt x="64" y="156"/>
                    <a:pt x="58" y="151"/>
                    <a:pt x="57" y="148"/>
                  </a:cubicBezTo>
                  <a:cubicBezTo>
                    <a:pt x="55" y="145"/>
                    <a:pt x="53" y="145"/>
                    <a:pt x="51" y="144"/>
                  </a:cubicBezTo>
                  <a:cubicBezTo>
                    <a:pt x="47" y="143"/>
                    <a:pt x="45" y="140"/>
                    <a:pt x="42" y="138"/>
                  </a:cubicBezTo>
                  <a:cubicBezTo>
                    <a:pt x="40" y="136"/>
                    <a:pt x="40" y="135"/>
                    <a:pt x="42" y="133"/>
                  </a:cubicBezTo>
                  <a:cubicBezTo>
                    <a:pt x="44" y="131"/>
                    <a:pt x="41" y="126"/>
                    <a:pt x="40" y="124"/>
                  </a:cubicBezTo>
                  <a:cubicBezTo>
                    <a:pt x="37" y="117"/>
                    <a:pt x="29" y="112"/>
                    <a:pt x="26" y="104"/>
                  </a:cubicBezTo>
                  <a:cubicBezTo>
                    <a:pt x="25" y="101"/>
                    <a:pt x="17" y="99"/>
                    <a:pt x="26" y="96"/>
                  </a:cubicBezTo>
                  <a:cubicBezTo>
                    <a:pt x="21" y="97"/>
                    <a:pt x="16" y="86"/>
                    <a:pt x="17" y="83"/>
                  </a:cubicBezTo>
                  <a:cubicBezTo>
                    <a:pt x="20" y="75"/>
                    <a:pt x="16" y="68"/>
                    <a:pt x="11" y="62"/>
                  </a:cubicBezTo>
                  <a:cubicBezTo>
                    <a:pt x="8" y="57"/>
                    <a:pt x="8" y="42"/>
                    <a:pt x="8" y="36"/>
                  </a:cubicBezTo>
                  <a:cubicBezTo>
                    <a:pt x="8" y="28"/>
                    <a:pt x="3" y="21"/>
                    <a:pt x="0" y="1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Freeform 566">
              <a:extLst>
                <a:ext uri="{FF2B5EF4-FFF2-40B4-BE49-F238E27FC236}">
                  <a16:creationId xmlns:a16="http://schemas.microsoft.com/office/drawing/2014/main" id="{769BF164-57C8-43C1-A026-0C2B36ED3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9566" y="4762369"/>
              <a:ext cx="293640" cy="418215"/>
            </a:xfrm>
            <a:custGeom>
              <a:avLst/>
              <a:gdLst>
                <a:gd name="T0" fmla="*/ 0 w 135"/>
                <a:gd name="T1" fmla="*/ 13 h 193"/>
                <a:gd name="T2" fmla="*/ 2 w 135"/>
                <a:gd name="T3" fmla="*/ 4 h 193"/>
                <a:gd name="T4" fmla="*/ 10 w 135"/>
                <a:gd name="T5" fmla="*/ 10 h 193"/>
                <a:gd name="T6" fmla="*/ 18 w 135"/>
                <a:gd name="T7" fmla="*/ 12 h 193"/>
                <a:gd name="T8" fmla="*/ 23 w 135"/>
                <a:gd name="T9" fmla="*/ 17 h 193"/>
                <a:gd name="T10" fmla="*/ 30 w 135"/>
                <a:gd name="T11" fmla="*/ 28 h 193"/>
                <a:gd name="T12" fmla="*/ 34 w 135"/>
                <a:gd name="T13" fmla="*/ 39 h 193"/>
                <a:gd name="T14" fmla="*/ 44 w 135"/>
                <a:gd name="T15" fmla="*/ 31 h 193"/>
                <a:gd name="T16" fmla="*/ 53 w 135"/>
                <a:gd name="T17" fmla="*/ 36 h 193"/>
                <a:gd name="T18" fmla="*/ 60 w 135"/>
                <a:gd name="T19" fmla="*/ 19 h 193"/>
                <a:gd name="T20" fmla="*/ 70 w 135"/>
                <a:gd name="T21" fmla="*/ 24 h 193"/>
                <a:gd name="T22" fmla="*/ 76 w 135"/>
                <a:gd name="T23" fmla="*/ 34 h 193"/>
                <a:gd name="T24" fmla="*/ 97 w 135"/>
                <a:gd name="T25" fmla="*/ 57 h 193"/>
                <a:gd name="T26" fmla="*/ 105 w 135"/>
                <a:gd name="T27" fmla="*/ 87 h 193"/>
                <a:gd name="T28" fmla="*/ 103 w 135"/>
                <a:gd name="T29" fmla="*/ 101 h 193"/>
                <a:gd name="T30" fmla="*/ 105 w 135"/>
                <a:gd name="T31" fmla="*/ 112 h 193"/>
                <a:gd name="T32" fmla="*/ 108 w 135"/>
                <a:gd name="T33" fmla="*/ 138 h 193"/>
                <a:gd name="T34" fmla="*/ 122 w 135"/>
                <a:gd name="T35" fmla="*/ 155 h 193"/>
                <a:gd name="T36" fmla="*/ 132 w 135"/>
                <a:gd name="T37" fmla="*/ 181 h 193"/>
                <a:gd name="T38" fmla="*/ 128 w 135"/>
                <a:gd name="T39" fmla="*/ 182 h 193"/>
                <a:gd name="T40" fmla="*/ 122 w 135"/>
                <a:gd name="T41" fmla="*/ 178 h 193"/>
                <a:gd name="T42" fmla="*/ 122 w 135"/>
                <a:gd name="T43" fmla="*/ 185 h 193"/>
                <a:gd name="T44" fmla="*/ 107 w 135"/>
                <a:gd name="T45" fmla="*/ 189 h 193"/>
                <a:gd name="T46" fmla="*/ 84 w 135"/>
                <a:gd name="T47" fmla="*/ 169 h 193"/>
                <a:gd name="T48" fmla="*/ 78 w 135"/>
                <a:gd name="T49" fmla="*/ 164 h 193"/>
                <a:gd name="T50" fmla="*/ 67 w 135"/>
                <a:gd name="T51" fmla="*/ 159 h 193"/>
                <a:gd name="T52" fmla="*/ 57 w 135"/>
                <a:gd name="T53" fmla="*/ 148 h 193"/>
                <a:gd name="T54" fmla="*/ 51 w 135"/>
                <a:gd name="T55" fmla="*/ 144 h 193"/>
                <a:gd name="T56" fmla="*/ 42 w 135"/>
                <a:gd name="T57" fmla="*/ 138 h 193"/>
                <a:gd name="T58" fmla="*/ 42 w 135"/>
                <a:gd name="T59" fmla="*/ 133 h 193"/>
                <a:gd name="T60" fmla="*/ 40 w 135"/>
                <a:gd name="T61" fmla="*/ 124 h 193"/>
                <a:gd name="T62" fmla="*/ 26 w 135"/>
                <a:gd name="T63" fmla="*/ 104 h 193"/>
                <a:gd name="T64" fmla="*/ 26 w 135"/>
                <a:gd name="T65" fmla="*/ 96 h 193"/>
                <a:gd name="T66" fmla="*/ 17 w 135"/>
                <a:gd name="T67" fmla="*/ 83 h 193"/>
                <a:gd name="T68" fmla="*/ 11 w 135"/>
                <a:gd name="T69" fmla="*/ 62 h 193"/>
                <a:gd name="T70" fmla="*/ 8 w 135"/>
                <a:gd name="T71" fmla="*/ 36 h 193"/>
                <a:gd name="T72" fmla="*/ 0 w 135"/>
                <a:gd name="T73" fmla="*/ 1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5" h="193">
                  <a:moveTo>
                    <a:pt x="0" y="13"/>
                  </a:moveTo>
                  <a:cubicBezTo>
                    <a:pt x="1" y="11"/>
                    <a:pt x="1" y="7"/>
                    <a:pt x="2" y="4"/>
                  </a:cubicBezTo>
                  <a:cubicBezTo>
                    <a:pt x="4" y="0"/>
                    <a:pt x="8" y="9"/>
                    <a:pt x="10" y="10"/>
                  </a:cubicBezTo>
                  <a:cubicBezTo>
                    <a:pt x="13" y="12"/>
                    <a:pt x="16" y="11"/>
                    <a:pt x="18" y="12"/>
                  </a:cubicBezTo>
                  <a:cubicBezTo>
                    <a:pt x="21" y="12"/>
                    <a:pt x="21" y="15"/>
                    <a:pt x="23" y="17"/>
                  </a:cubicBezTo>
                  <a:cubicBezTo>
                    <a:pt x="25" y="21"/>
                    <a:pt x="32" y="20"/>
                    <a:pt x="30" y="28"/>
                  </a:cubicBezTo>
                  <a:cubicBezTo>
                    <a:pt x="29" y="31"/>
                    <a:pt x="25" y="41"/>
                    <a:pt x="34" y="39"/>
                  </a:cubicBezTo>
                  <a:cubicBezTo>
                    <a:pt x="38" y="38"/>
                    <a:pt x="39" y="31"/>
                    <a:pt x="44" y="31"/>
                  </a:cubicBezTo>
                  <a:cubicBezTo>
                    <a:pt x="48" y="30"/>
                    <a:pt x="49" y="38"/>
                    <a:pt x="53" y="36"/>
                  </a:cubicBezTo>
                  <a:cubicBezTo>
                    <a:pt x="56" y="35"/>
                    <a:pt x="60" y="23"/>
                    <a:pt x="60" y="19"/>
                  </a:cubicBezTo>
                  <a:cubicBezTo>
                    <a:pt x="64" y="21"/>
                    <a:pt x="67" y="21"/>
                    <a:pt x="70" y="24"/>
                  </a:cubicBezTo>
                  <a:cubicBezTo>
                    <a:pt x="72" y="28"/>
                    <a:pt x="73" y="32"/>
                    <a:pt x="76" y="34"/>
                  </a:cubicBezTo>
                  <a:cubicBezTo>
                    <a:pt x="85" y="41"/>
                    <a:pt x="92" y="47"/>
                    <a:pt x="97" y="57"/>
                  </a:cubicBezTo>
                  <a:cubicBezTo>
                    <a:pt x="102" y="66"/>
                    <a:pt x="106" y="76"/>
                    <a:pt x="105" y="87"/>
                  </a:cubicBezTo>
                  <a:cubicBezTo>
                    <a:pt x="105" y="92"/>
                    <a:pt x="104" y="96"/>
                    <a:pt x="103" y="101"/>
                  </a:cubicBezTo>
                  <a:cubicBezTo>
                    <a:pt x="102" y="107"/>
                    <a:pt x="103" y="107"/>
                    <a:pt x="105" y="112"/>
                  </a:cubicBezTo>
                  <a:cubicBezTo>
                    <a:pt x="108" y="120"/>
                    <a:pt x="103" y="130"/>
                    <a:pt x="108" y="138"/>
                  </a:cubicBezTo>
                  <a:cubicBezTo>
                    <a:pt x="111" y="144"/>
                    <a:pt x="120" y="148"/>
                    <a:pt x="122" y="155"/>
                  </a:cubicBezTo>
                  <a:cubicBezTo>
                    <a:pt x="124" y="164"/>
                    <a:pt x="130" y="172"/>
                    <a:pt x="132" y="181"/>
                  </a:cubicBezTo>
                  <a:cubicBezTo>
                    <a:pt x="135" y="193"/>
                    <a:pt x="122" y="186"/>
                    <a:pt x="128" y="182"/>
                  </a:cubicBezTo>
                  <a:cubicBezTo>
                    <a:pt x="125" y="182"/>
                    <a:pt x="123" y="181"/>
                    <a:pt x="122" y="178"/>
                  </a:cubicBezTo>
                  <a:cubicBezTo>
                    <a:pt x="123" y="179"/>
                    <a:pt x="125" y="187"/>
                    <a:pt x="122" y="185"/>
                  </a:cubicBezTo>
                  <a:cubicBezTo>
                    <a:pt x="118" y="182"/>
                    <a:pt x="110" y="188"/>
                    <a:pt x="107" y="189"/>
                  </a:cubicBezTo>
                  <a:cubicBezTo>
                    <a:pt x="104" y="179"/>
                    <a:pt x="91" y="176"/>
                    <a:pt x="84" y="169"/>
                  </a:cubicBezTo>
                  <a:cubicBezTo>
                    <a:pt x="82" y="168"/>
                    <a:pt x="80" y="166"/>
                    <a:pt x="78" y="164"/>
                  </a:cubicBezTo>
                  <a:cubicBezTo>
                    <a:pt x="75" y="161"/>
                    <a:pt x="70" y="161"/>
                    <a:pt x="67" y="159"/>
                  </a:cubicBezTo>
                  <a:cubicBezTo>
                    <a:pt x="64" y="156"/>
                    <a:pt x="58" y="151"/>
                    <a:pt x="57" y="148"/>
                  </a:cubicBezTo>
                  <a:cubicBezTo>
                    <a:pt x="55" y="145"/>
                    <a:pt x="53" y="145"/>
                    <a:pt x="51" y="144"/>
                  </a:cubicBezTo>
                  <a:cubicBezTo>
                    <a:pt x="47" y="143"/>
                    <a:pt x="45" y="140"/>
                    <a:pt x="42" y="138"/>
                  </a:cubicBezTo>
                  <a:cubicBezTo>
                    <a:pt x="40" y="136"/>
                    <a:pt x="40" y="135"/>
                    <a:pt x="42" y="133"/>
                  </a:cubicBezTo>
                  <a:cubicBezTo>
                    <a:pt x="44" y="131"/>
                    <a:pt x="41" y="126"/>
                    <a:pt x="40" y="124"/>
                  </a:cubicBezTo>
                  <a:cubicBezTo>
                    <a:pt x="37" y="117"/>
                    <a:pt x="29" y="112"/>
                    <a:pt x="26" y="104"/>
                  </a:cubicBezTo>
                  <a:cubicBezTo>
                    <a:pt x="25" y="101"/>
                    <a:pt x="17" y="99"/>
                    <a:pt x="26" y="96"/>
                  </a:cubicBezTo>
                  <a:cubicBezTo>
                    <a:pt x="21" y="97"/>
                    <a:pt x="16" y="86"/>
                    <a:pt x="17" y="83"/>
                  </a:cubicBezTo>
                  <a:cubicBezTo>
                    <a:pt x="20" y="75"/>
                    <a:pt x="16" y="68"/>
                    <a:pt x="11" y="62"/>
                  </a:cubicBezTo>
                  <a:cubicBezTo>
                    <a:pt x="8" y="57"/>
                    <a:pt x="8" y="42"/>
                    <a:pt x="8" y="36"/>
                  </a:cubicBezTo>
                  <a:cubicBezTo>
                    <a:pt x="8" y="28"/>
                    <a:pt x="3" y="21"/>
                    <a:pt x="0" y="1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Freeform 567">
              <a:extLst>
                <a:ext uri="{FF2B5EF4-FFF2-40B4-BE49-F238E27FC236}">
                  <a16:creationId xmlns:a16="http://schemas.microsoft.com/office/drawing/2014/main" id="{3F2BE7CD-8AD1-4B05-9521-49DAAD37C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1337" y="4744573"/>
              <a:ext cx="640670" cy="462706"/>
            </a:xfrm>
            <a:custGeom>
              <a:avLst/>
              <a:gdLst>
                <a:gd name="T0" fmla="*/ 26 w 296"/>
                <a:gd name="T1" fmla="*/ 180 h 214"/>
                <a:gd name="T2" fmla="*/ 38 w 296"/>
                <a:gd name="T3" fmla="*/ 190 h 214"/>
                <a:gd name="T4" fmla="*/ 58 w 296"/>
                <a:gd name="T5" fmla="*/ 196 h 214"/>
                <a:gd name="T6" fmla="*/ 53 w 296"/>
                <a:gd name="T7" fmla="*/ 186 h 214"/>
                <a:gd name="T8" fmla="*/ 52 w 296"/>
                <a:gd name="T9" fmla="*/ 172 h 214"/>
                <a:gd name="T10" fmla="*/ 52 w 296"/>
                <a:gd name="T11" fmla="*/ 168 h 214"/>
                <a:gd name="T12" fmla="*/ 61 w 296"/>
                <a:gd name="T13" fmla="*/ 161 h 214"/>
                <a:gd name="T14" fmla="*/ 106 w 296"/>
                <a:gd name="T15" fmla="*/ 133 h 214"/>
                <a:gd name="T16" fmla="*/ 135 w 296"/>
                <a:gd name="T17" fmla="*/ 83 h 214"/>
                <a:gd name="T18" fmla="*/ 156 w 296"/>
                <a:gd name="T19" fmla="*/ 102 h 214"/>
                <a:gd name="T20" fmla="*/ 166 w 296"/>
                <a:gd name="T21" fmla="*/ 73 h 214"/>
                <a:gd name="T22" fmla="*/ 171 w 296"/>
                <a:gd name="T23" fmla="*/ 75 h 214"/>
                <a:gd name="T24" fmla="*/ 180 w 296"/>
                <a:gd name="T25" fmla="*/ 62 h 214"/>
                <a:gd name="T26" fmla="*/ 193 w 296"/>
                <a:gd name="T27" fmla="*/ 45 h 214"/>
                <a:gd name="T28" fmla="*/ 202 w 296"/>
                <a:gd name="T29" fmla="*/ 26 h 214"/>
                <a:gd name="T30" fmla="*/ 216 w 296"/>
                <a:gd name="T31" fmla="*/ 0 h 214"/>
                <a:gd name="T32" fmla="*/ 228 w 296"/>
                <a:gd name="T33" fmla="*/ 1 h 214"/>
                <a:gd name="T34" fmla="*/ 247 w 296"/>
                <a:gd name="T35" fmla="*/ 24 h 214"/>
                <a:gd name="T36" fmla="*/ 239 w 296"/>
                <a:gd name="T37" fmla="*/ 39 h 214"/>
                <a:gd name="T38" fmla="*/ 256 w 296"/>
                <a:gd name="T39" fmla="*/ 34 h 214"/>
                <a:gd name="T40" fmla="*/ 262 w 296"/>
                <a:gd name="T41" fmla="*/ 41 h 214"/>
                <a:gd name="T42" fmla="*/ 284 w 296"/>
                <a:gd name="T43" fmla="*/ 56 h 214"/>
                <a:gd name="T44" fmla="*/ 276 w 296"/>
                <a:gd name="T45" fmla="*/ 71 h 214"/>
                <a:gd name="T46" fmla="*/ 273 w 296"/>
                <a:gd name="T47" fmla="*/ 87 h 214"/>
                <a:gd name="T48" fmla="*/ 268 w 296"/>
                <a:gd name="T49" fmla="*/ 93 h 214"/>
                <a:gd name="T50" fmla="*/ 246 w 296"/>
                <a:gd name="T51" fmla="*/ 97 h 214"/>
                <a:gd name="T52" fmla="*/ 213 w 296"/>
                <a:gd name="T53" fmla="*/ 90 h 214"/>
                <a:gd name="T54" fmla="*/ 200 w 296"/>
                <a:gd name="T55" fmla="*/ 92 h 214"/>
                <a:gd name="T56" fmla="*/ 188 w 296"/>
                <a:gd name="T57" fmla="*/ 97 h 214"/>
                <a:gd name="T58" fmla="*/ 185 w 296"/>
                <a:gd name="T59" fmla="*/ 118 h 214"/>
                <a:gd name="T60" fmla="*/ 176 w 296"/>
                <a:gd name="T61" fmla="*/ 138 h 214"/>
                <a:gd name="T62" fmla="*/ 164 w 296"/>
                <a:gd name="T63" fmla="*/ 171 h 214"/>
                <a:gd name="T64" fmla="*/ 147 w 296"/>
                <a:gd name="T65" fmla="*/ 192 h 214"/>
                <a:gd name="T66" fmla="*/ 125 w 296"/>
                <a:gd name="T67" fmla="*/ 198 h 214"/>
                <a:gd name="T68" fmla="*/ 85 w 296"/>
                <a:gd name="T69" fmla="*/ 193 h 214"/>
                <a:gd name="T70" fmla="*/ 72 w 296"/>
                <a:gd name="T71" fmla="*/ 207 h 214"/>
                <a:gd name="T72" fmla="*/ 54 w 296"/>
                <a:gd name="T73" fmla="*/ 206 h 214"/>
                <a:gd name="T74" fmla="*/ 27 w 296"/>
                <a:gd name="T75" fmla="*/ 207 h 214"/>
                <a:gd name="T76" fmla="*/ 14 w 296"/>
                <a:gd name="T77" fmla="*/ 194 h 214"/>
                <a:gd name="T78" fmla="*/ 5 w 296"/>
                <a:gd name="T79" fmla="*/ 18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6" h="214">
                  <a:moveTo>
                    <a:pt x="5" y="170"/>
                  </a:moveTo>
                  <a:cubicBezTo>
                    <a:pt x="4" y="181"/>
                    <a:pt x="26" y="189"/>
                    <a:pt x="26" y="180"/>
                  </a:cubicBezTo>
                  <a:cubicBezTo>
                    <a:pt x="26" y="183"/>
                    <a:pt x="30" y="183"/>
                    <a:pt x="30" y="184"/>
                  </a:cubicBezTo>
                  <a:cubicBezTo>
                    <a:pt x="29" y="187"/>
                    <a:pt x="36" y="189"/>
                    <a:pt x="38" y="190"/>
                  </a:cubicBezTo>
                  <a:cubicBezTo>
                    <a:pt x="42" y="191"/>
                    <a:pt x="44" y="188"/>
                    <a:pt x="47" y="192"/>
                  </a:cubicBezTo>
                  <a:cubicBezTo>
                    <a:pt x="50" y="195"/>
                    <a:pt x="54" y="195"/>
                    <a:pt x="58" y="196"/>
                  </a:cubicBezTo>
                  <a:cubicBezTo>
                    <a:pt x="55" y="192"/>
                    <a:pt x="49" y="195"/>
                    <a:pt x="48" y="189"/>
                  </a:cubicBezTo>
                  <a:cubicBezTo>
                    <a:pt x="47" y="186"/>
                    <a:pt x="50" y="182"/>
                    <a:pt x="53" y="186"/>
                  </a:cubicBezTo>
                  <a:cubicBezTo>
                    <a:pt x="50" y="184"/>
                    <a:pt x="50" y="181"/>
                    <a:pt x="51" y="177"/>
                  </a:cubicBezTo>
                  <a:cubicBezTo>
                    <a:pt x="51" y="176"/>
                    <a:pt x="52" y="174"/>
                    <a:pt x="52" y="172"/>
                  </a:cubicBezTo>
                  <a:cubicBezTo>
                    <a:pt x="53" y="168"/>
                    <a:pt x="55" y="170"/>
                    <a:pt x="58" y="168"/>
                  </a:cubicBezTo>
                  <a:cubicBezTo>
                    <a:pt x="56" y="168"/>
                    <a:pt x="54" y="168"/>
                    <a:pt x="52" y="168"/>
                  </a:cubicBezTo>
                  <a:cubicBezTo>
                    <a:pt x="54" y="165"/>
                    <a:pt x="52" y="162"/>
                    <a:pt x="53" y="159"/>
                  </a:cubicBezTo>
                  <a:cubicBezTo>
                    <a:pt x="56" y="159"/>
                    <a:pt x="58" y="161"/>
                    <a:pt x="61" y="161"/>
                  </a:cubicBezTo>
                  <a:cubicBezTo>
                    <a:pt x="51" y="153"/>
                    <a:pt x="66" y="144"/>
                    <a:pt x="73" y="143"/>
                  </a:cubicBezTo>
                  <a:cubicBezTo>
                    <a:pt x="83" y="141"/>
                    <a:pt x="98" y="139"/>
                    <a:pt x="106" y="133"/>
                  </a:cubicBezTo>
                  <a:cubicBezTo>
                    <a:pt x="114" y="128"/>
                    <a:pt x="114" y="117"/>
                    <a:pt x="121" y="111"/>
                  </a:cubicBezTo>
                  <a:cubicBezTo>
                    <a:pt x="129" y="103"/>
                    <a:pt x="134" y="95"/>
                    <a:pt x="135" y="83"/>
                  </a:cubicBezTo>
                  <a:cubicBezTo>
                    <a:pt x="141" y="83"/>
                    <a:pt x="142" y="86"/>
                    <a:pt x="144" y="91"/>
                  </a:cubicBezTo>
                  <a:cubicBezTo>
                    <a:pt x="145" y="94"/>
                    <a:pt x="153" y="102"/>
                    <a:pt x="156" y="102"/>
                  </a:cubicBezTo>
                  <a:cubicBezTo>
                    <a:pt x="161" y="102"/>
                    <a:pt x="163" y="91"/>
                    <a:pt x="161" y="88"/>
                  </a:cubicBezTo>
                  <a:cubicBezTo>
                    <a:pt x="155" y="80"/>
                    <a:pt x="162" y="77"/>
                    <a:pt x="166" y="73"/>
                  </a:cubicBezTo>
                  <a:cubicBezTo>
                    <a:pt x="167" y="80"/>
                    <a:pt x="166" y="90"/>
                    <a:pt x="175" y="92"/>
                  </a:cubicBezTo>
                  <a:cubicBezTo>
                    <a:pt x="175" y="87"/>
                    <a:pt x="174" y="80"/>
                    <a:pt x="171" y="75"/>
                  </a:cubicBezTo>
                  <a:cubicBezTo>
                    <a:pt x="167" y="69"/>
                    <a:pt x="175" y="73"/>
                    <a:pt x="177" y="71"/>
                  </a:cubicBezTo>
                  <a:cubicBezTo>
                    <a:pt x="179" y="69"/>
                    <a:pt x="186" y="64"/>
                    <a:pt x="180" y="62"/>
                  </a:cubicBezTo>
                  <a:cubicBezTo>
                    <a:pt x="172" y="58"/>
                    <a:pt x="180" y="52"/>
                    <a:pt x="183" y="48"/>
                  </a:cubicBezTo>
                  <a:cubicBezTo>
                    <a:pt x="182" y="56"/>
                    <a:pt x="191" y="48"/>
                    <a:pt x="193" y="45"/>
                  </a:cubicBezTo>
                  <a:cubicBezTo>
                    <a:pt x="195" y="40"/>
                    <a:pt x="196" y="34"/>
                    <a:pt x="198" y="30"/>
                  </a:cubicBezTo>
                  <a:cubicBezTo>
                    <a:pt x="199" y="27"/>
                    <a:pt x="201" y="28"/>
                    <a:pt x="202" y="26"/>
                  </a:cubicBezTo>
                  <a:cubicBezTo>
                    <a:pt x="204" y="24"/>
                    <a:pt x="206" y="21"/>
                    <a:pt x="207" y="18"/>
                  </a:cubicBezTo>
                  <a:cubicBezTo>
                    <a:pt x="211" y="13"/>
                    <a:pt x="211" y="5"/>
                    <a:pt x="216" y="0"/>
                  </a:cubicBezTo>
                  <a:cubicBezTo>
                    <a:pt x="220" y="5"/>
                    <a:pt x="215" y="10"/>
                    <a:pt x="217" y="15"/>
                  </a:cubicBezTo>
                  <a:cubicBezTo>
                    <a:pt x="221" y="12"/>
                    <a:pt x="224" y="0"/>
                    <a:pt x="228" y="1"/>
                  </a:cubicBezTo>
                  <a:cubicBezTo>
                    <a:pt x="228" y="1"/>
                    <a:pt x="238" y="23"/>
                    <a:pt x="239" y="13"/>
                  </a:cubicBezTo>
                  <a:cubicBezTo>
                    <a:pt x="240" y="17"/>
                    <a:pt x="247" y="19"/>
                    <a:pt x="247" y="24"/>
                  </a:cubicBezTo>
                  <a:cubicBezTo>
                    <a:pt x="247" y="27"/>
                    <a:pt x="242" y="26"/>
                    <a:pt x="243" y="30"/>
                  </a:cubicBezTo>
                  <a:cubicBezTo>
                    <a:pt x="245" y="36"/>
                    <a:pt x="244" y="37"/>
                    <a:pt x="239" y="39"/>
                  </a:cubicBezTo>
                  <a:cubicBezTo>
                    <a:pt x="242" y="37"/>
                    <a:pt x="245" y="39"/>
                    <a:pt x="248" y="38"/>
                  </a:cubicBezTo>
                  <a:cubicBezTo>
                    <a:pt x="251" y="36"/>
                    <a:pt x="252" y="33"/>
                    <a:pt x="256" y="34"/>
                  </a:cubicBezTo>
                  <a:cubicBezTo>
                    <a:pt x="262" y="37"/>
                    <a:pt x="256" y="41"/>
                    <a:pt x="253" y="43"/>
                  </a:cubicBezTo>
                  <a:cubicBezTo>
                    <a:pt x="253" y="49"/>
                    <a:pt x="259" y="43"/>
                    <a:pt x="262" y="41"/>
                  </a:cubicBezTo>
                  <a:cubicBezTo>
                    <a:pt x="267" y="38"/>
                    <a:pt x="273" y="46"/>
                    <a:pt x="273" y="50"/>
                  </a:cubicBezTo>
                  <a:cubicBezTo>
                    <a:pt x="277" y="46"/>
                    <a:pt x="283" y="53"/>
                    <a:pt x="284" y="56"/>
                  </a:cubicBezTo>
                  <a:cubicBezTo>
                    <a:pt x="287" y="52"/>
                    <a:pt x="295" y="55"/>
                    <a:pt x="295" y="60"/>
                  </a:cubicBezTo>
                  <a:cubicBezTo>
                    <a:pt x="296" y="66"/>
                    <a:pt x="281" y="71"/>
                    <a:pt x="276" y="71"/>
                  </a:cubicBezTo>
                  <a:cubicBezTo>
                    <a:pt x="272" y="71"/>
                    <a:pt x="258" y="66"/>
                    <a:pt x="262" y="76"/>
                  </a:cubicBezTo>
                  <a:cubicBezTo>
                    <a:pt x="264" y="80"/>
                    <a:pt x="273" y="82"/>
                    <a:pt x="273" y="87"/>
                  </a:cubicBezTo>
                  <a:cubicBezTo>
                    <a:pt x="275" y="85"/>
                    <a:pt x="278" y="87"/>
                    <a:pt x="276" y="90"/>
                  </a:cubicBezTo>
                  <a:cubicBezTo>
                    <a:pt x="274" y="93"/>
                    <a:pt x="270" y="92"/>
                    <a:pt x="268" y="93"/>
                  </a:cubicBezTo>
                  <a:cubicBezTo>
                    <a:pt x="258" y="93"/>
                    <a:pt x="255" y="96"/>
                    <a:pt x="247" y="89"/>
                  </a:cubicBezTo>
                  <a:cubicBezTo>
                    <a:pt x="246" y="91"/>
                    <a:pt x="248" y="96"/>
                    <a:pt x="246" y="97"/>
                  </a:cubicBezTo>
                  <a:cubicBezTo>
                    <a:pt x="243" y="99"/>
                    <a:pt x="238" y="95"/>
                    <a:pt x="236" y="93"/>
                  </a:cubicBezTo>
                  <a:cubicBezTo>
                    <a:pt x="229" y="89"/>
                    <a:pt x="219" y="96"/>
                    <a:pt x="213" y="90"/>
                  </a:cubicBezTo>
                  <a:cubicBezTo>
                    <a:pt x="213" y="97"/>
                    <a:pt x="208" y="90"/>
                    <a:pt x="205" y="91"/>
                  </a:cubicBezTo>
                  <a:cubicBezTo>
                    <a:pt x="202" y="92"/>
                    <a:pt x="202" y="90"/>
                    <a:pt x="200" y="92"/>
                  </a:cubicBezTo>
                  <a:cubicBezTo>
                    <a:pt x="198" y="96"/>
                    <a:pt x="195" y="91"/>
                    <a:pt x="193" y="90"/>
                  </a:cubicBezTo>
                  <a:cubicBezTo>
                    <a:pt x="192" y="93"/>
                    <a:pt x="189" y="94"/>
                    <a:pt x="188" y="97"/>
                  </a:cubicBezTo>
                  <a:cubicBezTo>
                    <a:pt x="186" y="100"/>
                    <a:pt x="185" y="105"/>
                    <a:pt x="185" y="109"/>
                  </a:cubicBezTo>
                  <a:cubicBezTo>
                    <a:pt x="185" y="112"/>
                    <a:pt x="184" y="115"/>
                    <a:pt x="185" y="118"/>
                  </a:cubicBezTo>
                  <a:cubicBezTo>
                    <a:pt x="186" y="123"/>
                    <a:pt x="185" y="123"/>
                    <a:pt x="184" y="127"/>
                  </a:cubicBezTo>
                  <a:cubicBezTo>
                    <a:pt x="182" y="134"/>
                    <a:pt x="184" y="137"/>
                    <a:pt x="176" y="138"/>
                  </a:cubicBezTo>
                  <a:cubicBezTo>
                    <a:pt x="168" y="138"/>
                    <a:pt x="173" y="152"/>
                    <a:pt x="176" y="155"/>
                  </a:cubicBezTo>
                  <a:cubicBezTo>
                    <a:pt x="171" y="157"/>
                    <a:pt x="158" y="165"/>
                    <a:pt x="164" y="171"/>
                  </a:cubicBezTo>
                  <a:cubicBezTo>
                    <a:pt x="167" y="174"/>
                    <a:pt x="155" y="186"/>
                    <a:pt x="157" y="192"/>
                  </a:cubicBezTo>
                  <a:cubicBezTo>
                    <a:pt x="152" y="192"/>
                    <a:pt x="152" y="189"/>
                    <a:pt x="147" y="192"/>
                  </a:cubicBezTo>
                  <a:cubicBezTo>
                    <a:pt x="143" y="194"/>
                    <a:pt x="140" y="191"/>
                    <a:pt x="136" y="193"/>
                  </a:cubicBezTo>
                  <a:cubicBezTo>
                    <a:pt x="132" y="195"/>
                    <a:pt x="131" y="199"/>
                    <a:pt x="125" y="198"/>
                  </a:cubicBezTo>
                  <a:cubicBezTo>
                    <a:pt x="121" y="198"/>
                    <a:pt x="112" y="195"/>
                    <a:pt x="110" y="191"/>
                  </a:cubicBezTo>
                  <a:cubicBezTo>
                    <a:pt x="107" y="186"/>
                    <a:pt x="88" y="187"/>
                    <a:pt x="85" y="193"/>
                  </a:cubicBezTo>
                  <a:cubicBezTo>
                    <a:pt x="83" y="195"/>
                    <a:pt x="82" y="199"/>
                    <a:pt x="81" y="202"/>
                  </a:cubicBezTo>
                  <a:cubicBezTo>
                    <a:pt x="81" y="202"/>
                    <a:pt x="72" y="207"/>
                    <a:pt x="72" y="207"/>
                  </a:cubicBezTo>
                  <a:cubicBezTo>
                    <a:pt x="69" y="207"/>
                    <a:pt x="67" y="208"/>
                    <a:pt x="64" y="208"/>
                  </a:cubicBezTo>
                  <a:cubicBezTo>
                    <a:pt x="60" y="209"/>
                    <a:pt x="58" y="206"/>
                    <a:pt x="54" y="206"/>
                  </a:cubicBezTo>
                  <a:cubicBezTo>
                    <a:pt x="48" y="205"/>
                    <a:pt x="44" y="209"/>
                    <a:pt x="39" y="211"/>
                  </a:cubicBezTo>
                  <a:cubicBezTo>
                    <a:pt x="32" y="214"/>
                    <a:pt x="32" y="209"/>
                    <a:pt x="27" y="207"/>
                  </a:cubicBezTo>
                  <a:cubicBezTo>
                    <a:pt x="25" y="207"/>
                    <a:pt x="21" y="202"/>
                    <a:pt x="19" y="201"/>
                  </a:cubicBezTo>
                  <a:cubicBezTo>
                    <a:pt x="17" y="199"/>
                    <a:pt x="16" y="196"/>
                    <a:pt x="14" y="194"/>
                  </a:cubicBezTo>
                  <a:cubicBezTo>
                    <a:pt x="12" y="192"/>
                    <a:pt x="10" y="192"/>
                    <a:pt x="8" y="190"/>
                  </a:cubicBezTo>
                  <a:cubicBezTo>
                    <a:pt x="7" y="187"/>
                    <a:pt x="8" y="181"/>
                    <a:pt x="5" y="180"/>
                  </a:cubicBezTo>
                  <a:cubicBezTo>
                    <a:pt x="0" y="177"/>
                    <a:pt x="4" y="175"/>
                    <a:pt x="5" y="17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Freeform 568">
              <a:extLst>
                <a:ext uri="{FF2B5EF4-FFF2-40B4-BE49-F238E27FC236}">
                  <a16:creationId xmlns:a16="http://schemas.microsoft.com/office/drawing/2014/main" id="{3256569C-732F-409D-B6E0-613794549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1337" y="4744573"/>
              <a:ext cx="640670" cy="462706"/>
            </a:xfrm>
            <a:custGeom>
              <a:avLst/>
              <a:gdLst>
                <a:gd name="T0" fmla="*/ 26 w 296"/>
                <a:gd name="T1" fmla="*/ 180 h 214"/>
                <a:gd name="T2" fmla="*/ 38 w 296"/>
                <a:gd name="T3" fmla="*/ 190 h 214"/>
                <a:gd name="T4" fmla="*/ 58 w 296"/>
                <a:gd name="T5" fmla="*/ 196 h 214"/>
                <a:gd name="T6" fmla="*/ 53 w 296"/>
                <a:gd name="T7" fmla="*/ 186 h 214"/>
                <a:gd name="T8" fmla="*/ 52 w 296"/>
                <a:gd name="T9" fmla="*/ 172 h 214"/>
                <a:gd name="T10" fmla="*/ 52 w 296"/>
                <a:gd name="T11" fmla="*/ 168 h 214"/>
                <a:gd name="T12" fmla="*/ 61 w 296"/>
                <a:gd name="T13" fmla="*/ 161 h 214"/>
                <a:gd name="T14" fmla="*/ 106 w 296"/>
                <a:gd name="T15" fmla="*/ 133 h 214"/>
                <a:gd name="T16" fmla="*/ 135 w 296"/>
                <a:gd name="T17" fmla="*/ 83 h 214"/>
                <a:gd name="T18" fmla="*/ 156 w 296"/>
                <a:gd name="T19" fmla="*/ 102 h 214"/>
                <a:gd name="T20" fmla="*/ 166 w 296"/>
                <a:gd name="T21" fmla="*/ 73 h 214"/>
                <a:gd name="T22" fmla="*/ 171 w 296"/>
                <a:gd name="T23" fmla="*/ 75 h 214"/>
                <a:gd name="T24" fmla="*/ 180 w 296"/>
                <a:gd name="T25" fmla="*/ 62 h 214"/>
                <a:gd name="T26" fmla="*/ 193 w 296"/>
                <a:gd name="T27" fmla="*/ 45 h 214"/>
                <a:gd name="T28" fmla="*/ 202 w 296"/>
                <a:gd name="T29" fmla="*/ 26 h 214"/>
                <a:gd name="T30" fmla="*/ 216 w 296"/>
                <a:gd name="T31" fmla="*/ 0 h 214"/>
                <a:gd name="T32" fmla="*/ 228 w 296"/>
                <a:gd name="T33" fmla="*/ 1 h 214"/>
                <a:gd name="T34" fmla="*/ 247 w 296"/>
                <a:gd name="T35" fmla="*/ 24 h 214"/>
                <a:gd name="T36" fmla="*/ 239 w 296"/>
                <a:gd name="T37" fmla="*/ 39 h 214"/>
                <a:gd name="T38" fmla="*/ 256 w 296"/>
                <a:gd name="T39" fmla="*/ 34 h 214"/>
                <a:gd name="T40" fmla="*/ 262 w 296"/>
                <a:gd name="T41" fmla="*/ 41 h 214"/>
                <a:gd name="T42" fmla="*/ 284 w 296"/>
                <a:gd name="T43" fmla="*/ 56 h 214"/>
                <a:gd name="T44" fmla="*/ 276 w 296"/>
                <a:gd name="T45" fmla="*/ 71 h 214"/>
                <a:gd name="T46" fmla="*/ 273 w 296"/>
                <a:gd name="T47" fmla="*/ 87 h 214"/>
                <a:gd name="T48" fmla="*/ 268 w 296"/>
                <a:gd name="T49" fmla="*/ 93 h 214"/>
                <a:gd name="T50" fmla="*/ 246 w 296"/>
                <a:gd name="T51" fmla="*/ 97 h 214"/>
                <a:gd name="T52" fmla="*/ 213 w 296"/>
                <a:gd name="T53" fmla="*/ 90 h 214"/>
                <a:gd name="T54" fmla="*/ 200 w 296"/>
                <a:gd name="T55" fmla="*/ 92 h 214"/>
                <a:gd name="T56" fmla="*/ 188 w 296"/>
                <a:gd name="T57" fmla="*/ 97 h 214"/>
                <a:gd name="T58" fmla="*/ 185 w 296"/>
                <a:gd name="T59" fmla="*/ 118 h 214"/>
                <a:gd name="T60" fmla="*/ 176 w 296"/>
                <a:gd name="T61" fmla="*/ 138 h 214"/>
                <a:gd name="T62" fmla="*/ 164 w 296"/>
                <a:gd name="T63" fmla="*/ 171 h 214"/>
                <a:gd name="T64" fmla="*/ 147 w 296"/>
                <a:gd name="T65" fmla="*/ 192 h 214"/>
                <a:gd name="T66" fmla="*/ 125 w 296"/>
                <a:gd name="T67" fmla="*/ 198 h 214"/>
                <a:gd name="T68" fmla="*/ 85 w 296"/>
                <a:gd name="T69" fmla="*/ 193 h 214"/>
                <a:gd name="T70" fmla="*/ 72 w 296"/>
                <a:gd name="T71" fmla="*/ 207 h 214"/>
                <a:gd name="T72" fmla="*/ 54 w 296"/>
                <a:gd name="T73" fmla="*/ 206 h 214"/>
                <a:gd name="T74" fmla="*/ 27 w 296"/>
                <a:gd name="T75" fmla="*/ 207 h 214"/>
                <a:gd name="T76" fmla="*/ 14 w 296"/>
                <a:gd name="T77" fmla="*/ 194 h 214"/>
                <a:gd name="T78" fmla="*/ 5 w 296"/>
                <a:gd name="T79" fmla="*/ 18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6" h="214">
                  <a:moveTo>
                    <a:pt x="5" y="170"/>
                  </a:moveTo>
                  <a:cubicBezTo>
                    <a:pt x="4" y="181"/>
                    <a:pt x="26" y="189"/>
                    <a:pt x="26" y="180"/>
                  </a:cubicBezTo>
                  <a:cubicBezTo>
                    <a:pt x="26" y="183"/>
                    <a:pt x="30" y="183"/>
                    <a:pt x="30" y="184"/>
                  </a:cubicBezTo>
                  <a:cubicBezTo>
                    <a:pt x="29" y="187"/>
                    <a:pt x="36" y="189"/>
                    <a:pt x="38" y="190"/>
                  </a:cubicBezTo>
                  <a:cubicBezTo>
                    <a:pt x="42" y="191"/>
                    <a:pt x="44" y="188"/>
                    <a:pt x="47" y="192"/>
                  </a:cubicBezTo>
                  <a:cubicBezTo>
                    <a:pt x="50" y="195"/>
                    <a:pt x="54" y="195"/>
                    <a:pt x="58" y="196"/>
                  </a:cubicBezTo>
                  <a:cubicBezTo>
                    <a:pt x="55" y="192"/>
                    <a:pt x="49" y="195"/>
                    <a:pt x="48" y="189"/>
                  </a:cubicBezTo>
                  <a:cubicBezTo>
                    <a:pt x="47" y="186"/>
                    <a:pt x="50" y="182"/>
                    <a:pt x="53" y="186"/>
                  </a:cubicBezTo>
                  <a:cubicBezTo>
                    <a:pt x="50" y="184"/>
                    <a:pt x="50" y="181"/>
                    <a:pt x="51" y="177"/>
                  </a:cubicBezTo>
                  <a:cubicBezTo>
                    <a:pt x="51" y="176"/>
                    <a:pt x="52" y="174"/>
                    <a:pt x="52" y="172"/>
                  </a:cubicBezTo>
                  <a:cubicBezTo>
                    <a:pt x="53" y="168"/>
                    <a:pt x="55" y="170"/>
                    <a:pt x="58" y="168"/>
                  </a:cubicBezTo>
                  <a:cubicBezTo>
                    <a:pt x="56" y="168"/>
                    <a:pt x="54" y="168"/>
                    <a:pt x="52" y="168"/>
                  </a:cubicBezTo>
                  <a:cubicBezTo>
                    <a:pt x="54" y="165"/>
                    <a:pt x="52" y="162"/>
                    <a:pt x="53" y="159"/>
                  </a:cubicBezTo>
                  <a:cubicBezTo>
                    <a:pt x="56" y="159"/>
                    <a:pt x="58" y="161"/>
                    <a:pt x="61" y="161"/>
                  </a:cubicBezTo>
                  <a:cubicBezTo>
                    <a:pt x="51" y="153"/>
                    <a:pt x="66" y="144"/>
                    <a:pt x="73" y="143"/>
                  </a:cubicBezTo>
                  <a:cubicBezTo>
                    <a:pt x="83" y="141"/>
                    <a:pt x="98" y="139"/>
                    <a:pt x="106" y="133"/>
                  </a:cubicBezTo>
                  <a:cubicBezTo>
                    <a:pt x="114" y="128"/>
                    <a:pt x="114" y="117"/>
                    <a:pt x="121" y="111"/>
                  </a:cubicBezTo>
                  <a:cubicBezTo>
                    <a:pt x="129" y="103"/>
                    <a:pt x="134" y="95"/>
                    <a:pt x="135" y="83"/>
                  </a:cubicBezTo>
                  <a:cubicBezTo>
                    <a:pt x="141" y="83"/>
                    <a:pt x="142" y="86"/>
                    <a:pt x="144" y="91"/>
                  </a:cubicBezTo>
                  <a:cubicBezTo>
                    <a:pt x="145" y="94"/>
                    <a:pt x="153" y="102"/>
                    <a:pt x="156" y="102"/>
                  </a:cubicBezTo>
                  <a:cubicBezTo>
                    <a:pt x="161" y="102"/>
                    <a:pt x="163" y="91"/>
                    <a:pt x="161" y="88"/>
                  </a:cubicBezTo>
                  <a:cubicBezTo>
                    <a:pt x="155" y="80"/>
                    <a:pt x="162" y="77"/>
                    <a:pt x="166" y="73"/>
                  </a:cubicBezTo>
                  <a:cubicBezTo>
                    <a:pt x="167" y="80"/>
                    <a:pt x="166" y="90"/>
                    <a:pt x="175" y="92"/>
                  </a:cubicBezTo>
                  <a:cubicBezTo>
                    <a:pt x="175" y="87"/>
                    <a:pt x="174" y="80"/>
                    <a:pt x="171" y="75"/>
                  </a:cubicBezTo>
                  <a:cubicBezTo>
                    <a:pt x="167" y="69"/>
                    <a:pt x="175" y="73"/>
                    <a:pt x="177" y="71"/>
                  </a:cubicBezTo>
                  <a:cubicBezTo>
                    <a:pt x="179" y="69"/>
                    <a:pt x="186" y="64"/>
                    <a:pt x="180" y="62"/>
                  </a:cubicBezTo>
                  <a:cubicBezTo>
                    <a:pt x="172" y="58"/>
                    <a:pt x="180" y="52"/>
                    <a:pt x="183" y="48"/>
                  </a:cubicBezTo>
                  <a:cubicBezTo>
                    <a:pt x="182" y="56"/>
                    <a:pt x="191" y="48"/>
                    <a:pt x="193" y="45"/>
                  </a:cubicBezTo>
                  <a:cubicBezTo>
                    <a:pt x="195" y="40"/>
                    <a:pt x="196" y="34"/>
                    <a:pt x="198" y="30"/>
                  </a:cubicBezTo>
                  <a:cubicBezTo>
                    <a:pt x="199" y="27"/>
                    <a:pt x="201" y="28"/>
                    <a:pt x="202" y="26"/>
                  </a:cubicBezTo>
                  <a:cubicBezTo>
                    <a:pt x="204" y="24"/>
                    <a:pt x="206" y="21"/>
                    <a:pt x="207" y="18"/>
                  </a:cubicBezTo>
                  <a:cubicBezTo>
                    <a:pt x="211" y="13"/>
                    <a:pt x="211" y="5"/>
                    <a:pt x="216" y="0"/>
                  </a:cubicBezTo>
                  <a:cubicBezTo>
                    <a:pt x="220" y="5"/>
                    <a:pt x="215" y="10"/>
                    <a:pt x="217" y="15"/>
                  </a:cubicBezTo>
                  <a:cubicBezTo>
                    <a:pt x="221" y="12"/>
                    <a:pt x="224" y="0"/>
                    <a:pt x="228" y="1"/>
                  </a:cubicBezTo>
                  <a:cubicBezTo>
                    <a:pt x="228" y="1"/>
                    <a:pt x="238" y="23"/>
                    <a:pt x="239" y="13"/>
                  </a:cubicBezTo>
                  <a:cubicBezTo>
                    <a:pt x="240" y="17"/>
                    <a:pt x="247" y="19"/>
                    <a:pt x="247" y="24"/>
                  </a:cubicBezTo>
                  <a:cubicBezTo>
                    <a:pt x="247" y="27"/>
                    <a:pt x="242" y="26"/>
                    <a:pt x="243" y="30"/>
                  </a:cubicBezTo>
                  <a:cubicBezTo>
                    <a:pt x="245" y="36"/>
                    <a:pt x="244" y="37"/>
                    <a:pt x="239" y="39"/>
                  </a:cubicBezTo>
                  <a:cubicBezTo>
                    <a:pt x="242" y="37"/>
                    <a:pt x="245" y="39"/>
                    <a:pt x="248" y="38"/>
                  </a:cubicBezTo>
                  <a:cubicBezTo>
                    <a:pt x="251" y="36"/>
                    <a:pt x="252" y="33"/>
                    <a:pt x="256" y="34"/>
                  </a:cubicBezTo>
                  <a:cubicBezTo>
                    <a:pt x="262" y="37"/>
                    <a:pt x="256" y="41"/>
                    <a:pt x="253" y="43"/>
                  </a:cubicBezTo>
                  <a:cubicBezTo>
                    <a:pt x="253" y="49"/>
                    <a:pt x="259" y="43"/>
                    <a:pt x="262" y="41"/>
                  </a:cubicBezTo>
                  <a:cubicBezTo>
                    <a:pt x="267" y="38"/>
                    <a:pt x="273" y="46"/>
                    <a:pt x="273" y="50"/>
                  </a:cubicBezTo>
                  <a:cubicBezTo>
                    <a:pt x="277" y="46"/>
                    <a:pt x="283" y="53"/>
                    <a:pt x="284" y="56"/>
                  </a:cubicBezTo>
                  <a:cubicBezTo>
                    <a:pt x="287" y="52"/>
                    <a:pt x="295" y="55"/>
                    <a:pt x="295" y="60"/>
                  </a:cubicBezTo>
                  <a:cubicBezTo>
                    <a:pt x="296" y="66"/>
                    <a:pt x="281" y="71"/>
                    <a:pt x="276" y="71"/>
                  </a:cubicBezTo>
                  <a:cubicBezTo>
                    <a:pt x="272" y="71"/>
                    <a:pt x="258" y="66"/>
                    <a:pt x="262" y="76"/>
                  </a:cubicBezTo>
                  <a:cubicBezTo>
                    <a:pt x="264" y="80"/>
                    <a:pt x="273" y="82"/>
                    <a:pt x="273" y="87"/>
                  </a:cubicBezTo>
                  <a:cubicBezTo>
                    <a:pt x="275" y="85"/>
                    <a:pt x="278" y="87"/>
                    <a:pt x="276" y="90"/>
                  </a:cubicBezTo>
                  <a:cubicBezTo>
                    <a:pt x="274" y="93"/>
                    <a:pt x="270" y="92"/>
                    <a:pt x="268" y="93"/>
                  </a:cubicBezTo>
                  <a:cubicBezTo>
                    <a:pt x="258" y="93"/>
                    <a:pt x="255" y="96"/>
                    <a:pt x="247" y="89"/>
                  </a:cubicBezTo>
                  <a:cubicBezTo>
                    <a:pt x="246" y="91"/>
                    <a:pt x="248" y="96"/>
                    <a:pt x="246" y="97"/>
                  </a:cubicBezTo>
                  <a:cubicBezTo>
                    <a:pt x="243" y="99"/>
                    <a:pt x="238" y="95"/>
                    <a:pt x="236" y="93"/>
                  </a:cubicBezTo>
                  <a:cubicBezTo>
                    <a:pt x="229" y="89"/>
                    <a:pt x="219" y="96"/>
                    <a:pt x="213" y="90"/>
                  </a:cubicBezTo>
                  <a:cubicBezTo>
                    <a:pt x="213" y="97"/>
                    <a:pt x="208" y="90"/>
                    <a:pt x="205" y="91"/>
                  </a:cubicBezTo>
                  <a:cubicBezTo>
                    <a:pt x="202" y="92"/>
                    <a:pt x="202" y="90"/>
                    <a:pt x="200" y="92"/>
                  </a:cubicBezTo>
                  <a:cubicBezTo>
                    <a:pt x="198" y="96"/>
                    <a:pt x="195" y="91"/>
                    <a:pt x="193" y="90"/>
                  </a:cubicBezTo>
                  <a:cubicBezTo>
                    <a:pt x="192" y="93"/>
                    <a:pt x="189" y="94"/>
                    <a:pt x="188" y="97"/>
                  </a:cubicBezTo>
                  <a:cubicBezTo>
                    <a:pt x="186" y="100"/>
                    <a:pt x="185" y="105"/>
                    <a:pt x="185" y="109"/>
                  </a:cubicBezTo>
                  <a:cubicBezTo>
                    <a:pt x="185" y="112"/>
                    <a:pt x="184" y="115"/>
                    <a:pt x="185" y="118"/>
                  </a:cubicBezTo>
                  <a:cubicBezTo>
                    <a:pt x="186" y="123"/>
                    <a:pt x="185" y="123"/>
                    <a:pt x="184" y="127"/>
                  </a:cubicBezTo>
                  <a:cubicBezTo>
                    <a:pt x="182" y="134"/>
                    <a:pt x="184" y="137"/>
                    <a:pt x="176" y="138"/>
                  </a:cubicBezTo>
                  <a:cubicBezTo>
                    <a:pt x="168" y="138"/>
                    <a:pt x="173" y="152"/>
                    <a:pt x="176" y="155"/>
                  </a:cubicBezTo>
                  <a:cubicBezTo>
                    <a:pt x="171" y="157"/>
                    <a:pt x="158" y="165"/>
                    <a:pt x="164" y="171"/>
                  </a:cubicBezTo>
                  <a:cubicBezTo>
                    <a:pt x="167" y="174"/>
                    <a:pt x="155" y="186"/>
                    <a:pt x="157" y="192"/>
                  </a:cubicBezTo>
                  <a:cubicBezTo>
                    <a:pt x="152" y="192"/>
                    <a:pt x="152" y="189"/>
                    <a:pt x="147" y="192"/>
                  </a:cubicBezTo>
                  <a:cubicBezTo>
                    <a:pt x="143" y="194"/>
                    <a:pt x="140" y="191"/>
                    <a:pt x="136" y="193"/>
                  </a:cubicBezTo>
                  <a:cubicBezTo>
                    <a:pt x="132" y="195"/>
                    <a:pt x="131" y="199"/>
                    <a:pt x="125" y="198"/>
                  </a:cubicBezTo>
                  <a:cubicBezTo>
                    <a:pt x="121" y="198"/>
                    <a:pt x="112" y="195"/>
                    <a:pt x="110" y="191"/>
                  </a:cubicBezTo>
                  <a:cubicBezTo>
                    <a:pt x="107" y="186"/>
                    <a:pt x="88" y="187"/>
                    <a:pt x="85" y="193"/>
                  </a:cubicBezTo>
                  <a:cubicBezTo>
                    <a:pt x="83" y="195"/>
                    <a:pt x="82" y="199"/>
                    <a:pt x="81" y="202"/>
                  </a:cubicBezTo>
                  <a:cubicBezTo>
                    <a:pt x="81" y="202"/>
                    <a:pt x="72" y="207"/>
                    <a:pt x="72" y="207"/>
                  </a:cubicBezTo>
                  <a:cubicBezTo>
                    <a:pt x="69" y="207"/>
                    <a:pt x="67" y="208"/>
                    <a:pt x="64" y="208"/>
                  </a:cubicBezTo>
                  <a:cubicBezTo>
                    <a:pt x="60" y="209"/>
                    <a:pt x="58" y="206"/>
                    <a:pt x="54" y="206"/>
                  </a:cubicBezTo>
                  <a:cubicBezTo>
                    <a:pt x="48" y="205"/>
                    <a:pt x="44" y="209"/>
                    <a:pt x="39" y="211"/>
                  </a:cubicBezTo>
                  <a:cubicBezTo>
                    <a:pt x="32" y="214"/>
                    <a:pt x="32" y="209"/>
                    <a:pt x="27" y="207"/>
                  </a:cubicBezTo>
                  <a:cubicBezTo>
                    <a:pt x="25" y="207"/>
                    <a:pt x="21" y="202"/>
                    <a:pt x="19" y="201"/>
                  </a:cubicBezTo>
                  <a:cubicBezTo>
                    <a:pt x="17" y="199"/>
                    <a:pt x="16" y="196"/>
                    <a:pt x="14" y="194"/>
                  </a:cubicBezTo>
                  <a:cubicBezTo>
                    <a:pt x="12" y="192"/>
                    <a:pt x="10" y="192"/>
                    <a:pt x="8" y="190"/>
                  </a:cubicBezTo>
                  <a:cubicBezTo>
                    <a:pt x="7" y="187"/>
                    <a:pt x="8" y="181"/>
                    <a:pt x="5" y="180"/>
                  </a:cubicBezTo>
                  <a:cubicBezTo>
                    <a:pt x="0" y="177"/>
                    <a:pt x="4" y="175"/>
                    <a:pt x="5" y="17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Freeform 569">
              <a:extLst>
                <a:ext uri="{FF2B5EF4-FFF2-40B4-BE49-F238E27FC236}">
                  <a16:creationId xmlns:a16="http://schemas.microsoft.com/office/drawing/2014/main" id="{46AAC698-9B62-482A-8BC3-2CAE2EFAC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122" y="4450933"/>
              <a:ext cx="17796" cy="40043"/>
            </a:xfrm>
            <a:custGeom>
              <a:avLst/>
              <a:gdLst>
                <a:gd name="T0" fmla="*/ 6 w 9"/>
                <a:gd name="T1" fmla="*/ 4 h 18"/>
                <a:gd name="T2" fmla="*/ 4 w 9"/>
                <a:gd name="T3" fmla="*/ 0 h 18"/>
                <a:gd name="T4" fmla="*/ 0 w 9"/>
                <a:gd name="T5" fmla="*/ 10 h 18"/>
                <a:gd name="T6" fmla="*/ 6 w 9"/>
                <a:gd name="T7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8">
                  <a:moveTo>
                    <a:pt x="6" y="4"/>
                  </a:moveTo>
                  <a:cubicBezTo>
                    <a:pt x="5" y="3"/>
                    <a:pt x="5" y="1"/>
                    <a:pt x="4" y="0"/>
                  </a:cubicBezTo>
                  <a:cubicBezTo>
                    <a:pt x="1" y="2"/>
                    <a:pt x="0" y="6"/>
                    <a:pt x="0" y="10"/>
                  </a:cubicBezTo>
                  <a:cubicBezTo>
                    <a:pt x="2" y="18"/>
                    <a:pt x="9" y="9"/>
                    <a:pt x="6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Freeform 570">
              <a:extLst>
                <a:ext uri="{FF2B5EF4-FFF2-40B4-BE49-F238E27FC236}">
                  <a16:creationId xmlns:a16="http://schemas.microsoft.com/office/drawing/2014/main" id="{846BBE23-7B04-4FE7-8992-FCD628E97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122" y="4450933"/>
              <a:ext cx="17796" cy="40043"/>
            </a:xfrm>
            <a:custGeom>
              <a:avLst/>
              <a:gdLst>
                <a:gd name="T0" fmla="*/ 6 w 9"/>
                <a:gd name="T1" fmla="*/ 4 h 18"/>
                <a:gd name="T2" fmla="*/ 4 w 9"/>
                <a:gd name="T3" fmla="*/ 0 h 18"/>
                <a:gd name="T4" fmla="*/ 0 w 9"/>
                <a:gd name="T5" fmla="*/ 10 h 18"/>
                <a:gd name="T6" fmla="*/ 6 w 9"/>
                <a:gd name="T7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8">
                  <a:moveTo>
                    <a:pt x="6" y="4"/>
                  </a:moveTo>
                  <a:cubicBezTo>
                    <a:pt x="5" y="3"/>
                    <a:pt x="5" y="1"/>
                    <a:pt x="4" y="0"/>
                  </a:cubicBezTo>
                  <a:cubicBezTo>
                    <a:pt x="1" y="2"/>
                    <a:pt x="0" y="6"/>
                    <a:pt x="0" y="10"/>
                  </a:cubicBezTo>
                  <a:cubicBezTo>
                    <a:pt x="2" y="18"/>
                    <a:pt x="9" y="9"/>
                    <a:pt x="6" y="4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Freeform 571">
              <a:extLst>
                <a:ext uri="{FF2B5EF4-FFF2-40B4-BE49-F238E27FC236}">
                  <a16:creationId xmlns:a16="http://schemas.microsoft.com/office/drawing/2014/main" id="{B47AB8DE-9D4A-4790-B71F-B13E509A9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122" y="4250725"/>
              <a:ext cx="40043" cy="155720"/>
            </a:xfrm>
            <a:custGeom>
              <a:avLst/>
              <a:gdLst>
                <a:gd name="T0" fmla="*/ 8 w 19"/>
                <a:gd name="T1" fmla="*/ 23 h 70"/>
                <a:gd name="T2" fmla="*/ 9 w 19"/>
                <a:gd name="T3" fmla="*/ 48 h 70"/>
                <a:gd name="T4" fmla="*/ 10 w 19"/>
                <a:gd name="T5" fmla="*/ 69 h 70"/>
                <a:gd name="T6" fmla="*/ 10 w 19"/>
                <a:gd name="T7" fmla="*/ 63 h 70"/>
                <a:gd name="T8" fmla="*/ 9 w 19"/>
                <a:gd name="T9" fmla="*/ 51 h 70"/>
                <a:gd name="T10" fmla="*/ 12 w 19"/>
                <a:gd name="T11" fmla="*/ 42 h 70"/>
                <a:gd name="T12" fmla="*/ 14 w 19"/>
                <a:gd name="T13" fmla="*/ 35 h 70"/>
                <a:gd name="T14" fmla="*/ 11 w 19"/>
                <a:gd name="T15" fmla="*/ 21 h 70"/>
                <a:gd name="T16" fmla="*/ 12 w 19"/>
                <a:gd name="T17" fmla="*/ 8 h 70"/>
                <a:gd name="T18" fmla="*/ 12 w 19"/>
                <a:gd name="T19" fmla="*/ 0 h 70"/>
                <a:gd name="T20" fmla="*/ 8 w 19"/>
                <a:gd name="T21" fmla="*/ 2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70">
                  <a:moveTo>
                    <a:pt x="8" y="23"/>
                  </a:moveTo>
                  <a:cubicBezTo>
                    <a:pt x="3" y="28"/>
                    <a:pt x="8" y="42"/>
                    <a:pt x="9" y="48"/>
                  </a:cubicBezTo>
                  <a:cubicBezTo>
                    <a:pt x="2" y="46"/>
                    <a:pt x="0" y="70"/>
                    <a:pt x="10" y="69"/>
                  </a:cubicBezTo>
                  <a:cubicBezTo>
                    <a:pt x="6" y="66"/>
                    <a:pt x="10" y="66"/>
                    <a:pt x="10" y="63"/>
                  </a:cubicBezTo>
                  <a:cubicBezTo>
                    <a:pt x="10" y="59"/>
                    <a:pt x="8" y="55"/>
                    <a:pt x="9" y="51"/>
                  </a:cubicBezTo>
                  <a:cubicBezTo>
                    <a:pt x="10" y="48"/>
                    <a:pt x="13" y="45"/>
                    <a:pt x="12" y="42"/>
                  </a:cubicBezTo>
                  <a:cubicBezTo>
                    <a:pt x="11" y="37"/>
                    <a:pt x="13" y="40"/>
                    <a:pt x="14" y="35"/>
                  </a:cubicBezTo>
                  <a:cubicBezTo>
                    <a:pt x="15" y="30"/>
                    <a:pt x="10" y="25"/>
                    <a:pt x="11" y="21"/>
                  </a:cubicBezTo>
                  <a:cubicBezTo>
                    <a:pt x="12" y="18"/>
                    <a:pt x="19" y="10"/>
                    <a:pt x="12" y="8"/>
                  </a:cubicBezTo>
                  <a:cubicBezTo>
                    <a:pt x="15" y="6"/>
                    <a:pt x="14" y="2"/>
                    <a:pt x="12" y="0"/>
                  </a:cubicBezTo>
                  <a:cubicBezTo>
                    <a:pt x="5" y="5"/>
                    <a:pt x="10" y="15"/>
                    <a:pt x="8" y="2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Freeform 572">
              <a:extLst>
                <a:ext uri="{FF2B5EF4-FFF2-40B4-BE49-F238E27FC236}">
                  <a16:creationId xmlns:a16="http://schemas.microsoft.com/office/drawing/2014/main" id="{EE024F6F-A082-46F6-92AF-B39882DE1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122" y="4250725"/>
              <a:ext cx="40043" cy="155720"/>
            </a:xfrm>
            <a:custGeom>
              <a:avLst/>
              <a:gdLst>
                <a:gd name="T0" fmla="*/ 8 w 19"/>
                <a:gd name="T1" fmla="*/ 23 h 70"/>
                <a:gd name="T2" fmla="*/ 9 w 19"/>
                <a:gd name="T3" fmla="*/ 48 h 70"/>
                <a:gd name="T4" fmla="*/ 10 w 19"/>
                <a:gd name="T5" fmla="*/ 69 h 70"/>
                <a:gd name="T6" fmla="*/ 10 w 19"/>
                <a:gd name="T7" fmla="*/ 63 h 70"/>
                <a:gd name="T8" fmla="*/ 9 w 19"/>
                <a:gd name="T9" fmla="*/ 51 h 70"/>
                <a:gd name="T10" fmla="*/ 12 w 19"/>
                <a:gd name="T11" fmla="*/ 42 h 70"/>
                <a:gd name="T12" fmla="*/ 14 w 19"/>
                <a:gd name="T13" fmla="*/ 35 h 70"/>
                <a:gd name="T14" fmla="*/ 11 w 19"/>
                <a:gd name="T15" fmla="*/ 21 h 70"/>
                <a:gd name="T16" fmla="*/ 12 w 19"/>
                <a:gd name="T17" fmla="*/ 8 h 70"/>
                <a:gd name="T18" fmla="*/ 12 w 19"/>
                <a:gd name="T19" fmla="*/ 0 h 70"/>
                <a:gd name="T20" fmla="*/ 8 w 19"/>
                <a:gd name="T21" fmla="*/ 2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70">
                  <a:moveTo>
                    <a:pt x="8" y="23"/>
                  </a:moveTo>
                  <a:cubicBezTo>
                    <a:pt x="3" y="28"/>
                    <a:pt x="8" y="42"/>
                    <a:pt x="9" y="48"/>
                  </a:cubicBezTo>
                  <a:cubicBezTo>
                    <a:pt x="2" y="46"/>
                    <a:pt x="0" y="70"/>
                    <a:pt x="10" y="69"/>
                  </a:cubicBezTo>
                  <a:cubicBezTo>
                    <a:pt x="6" y="66"/>
                    <a:pt x="10" y="66"/>
                    <a:pt x="10" y="63"/>
                  </a:cubicBezTo>
                  <a:cubicBezTo>
                    <a:pt x="10" y="59"/>
                    <a:pt x="8" y="55"/>
                    <a:pt x="9" y="51"/>
                  </a:cubicBezTo>
                  <a:cubicBezTo>
                    <a:pt x="10" y="48"/>
                    <a:pt x="13" y="45"/>
                    <a:pt x="12" y="42"/>
                  </a:cubicBezTo>
                  <a:cubicBezTo>
                    <a:pt x="11" y="37"/>
                    <a:pt x="13" y="40"/>
                    <a:pt x="14" y="35"/>
                  </a:cubicBezTo>
                  <a:cubicBezTo>
                    <a:pt x="15" y="30"/>
                    <a:pt x="10" y="25"/>
                    <a:pt x="11" y="21"/>
                  </a:cubicBezTo>
                  <a:cubicBezTo>
                    <a:pt x="12" y="18"/>
                    <a:pt x="19" y="10"/>
                    <a:pt x="12" y="8"/>
                  </a:cubicBezTo>
                  <a:cubicBezTo>
                    <a:pt x="15" y="6"/>
                    <a:pt x="14" y="2"/>
                    <a:pt x="12" y="0"/>
                  </a:cubicBezTo>
                  <a:cubicBezTo>
                    <a:pt x="5" y="5"/>
                    <a:pt x="10" y="15"/>
                    <a:pt x="8" y="23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Freeform 573">
              <a:extLst>
                <a:ext uri="{FF2B5EF4-FFF2-40B4-BE49-F238E27FC236}">
                  <a16:creationId xmlns:a16="http://schemas.microsoft.com/office/drawing/2014/main" id="{1E9A7E7A-EDA9-4642-88C6-8A4A11D26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104" y="4717878"/>
              <a:ext cx="31145" cy="44491"/>
            </a:xfrm>
            <a:custGeom>
              <a:avLst/>
              <a:gdLst>
                <a:gd name="T0" fmla="*/ 11 w 14"/>
                <a:gd name="T1" fmla="*/ 6 h 20"/>
                <a:gd name="T2" fmla="*/ 11 w 14"/>
                <a:gd name="T3" fmla="*/ 20 h 20"/>
                <a:gd name="T4" fmla="*/ 11 w 14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6"/>
                  </a:moveTo>
                  <a:cubicBezTo>
                    <a:pt x="0" y="0"/>
                    <a:pt x="9" y="17"/>
                    <a:pt x="11" y="20"/>
                  </a:cubicBezTo>
                  <a:cubicBezTo>
                    <a:pt x="14" y="13"/>
                    <a:pt x="11" y="12"/>
                    <a:pt x="11" y="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Freeform 574">
              <a:extLst>
                <a:ext uri="{FF2B5EF4-FFF2-40B4-BE49-F238E27FC236}">
                  <a16:creationId xmlns:a16="http://schemas.microsoft.com/office/drawing/2014/main" id="{FD0C1FC3-02CC-4623-8095-FDC26AE31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104" y="4717878"/>
              <a:ext cx="31145" cy="44491"/>
            </a:xfrm>
            <a:custGeom>
              <a:avLst/>
              <a:gdLst>
                <a:gd name="T0" fmla="*/ 11 w 14"/>
                <a:gd name="T1" fmla="*/ 6 h 20"/>
                <a:gd name="T2" fmla="*/ 11 w 14"/>
                <a:gd name="T3" fmla="*/ 20 h 20"/>
                <a:gd name="T4" fmla="*/ 11 w 14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11" y="6"/>
                  </a:moveTo>
                  <a:cubicBezTo>
                    <a:pt x="0" y="0"/>
                    <a:pt x="9" y="17"/>
                    <a:pt x="11" y="20"/>
                  </a:cubicBezTo>
                  <a:cubicBezTo>
                    <a:pt x="14" y="13"/>
                    <a:pt x="11" y="12"/>
                    <a:pt x="11" y="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Freeform 647">
              <a:extLst>
                <a:ext uri="{FF2B5EF4-FFF2-40B4-BE49-F238E27FC236}">
                  <a16:creationId xmlns:a16="http://schemas.microsoft.com/office/drawing/2014/main" id="{085894F4-9C8E-44AA-AD6D-F1D0E0CC9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1950" y="3142898"/>
              <a:ext cx="218007" cy="129025"/>
            </a:xfrm>
            <a:custGeom>
              <a:avLst/>
              <a:gdLst>
                <a:gd name="T0" fmla="*/ 0 w 101"/>
                <a:gd name="T1" fmla="*/ 40 h 58"/>
                <a:gd name="T2" fmla="*/ 2 w 101"/>
                <a:gd name="T3" fmla="*/ 37 h 58"/>
                <a:gd name="T4" fmla="*/ 5 w 101"/>
                <a:gd name="T5" fmla="*/ 29 h 58"/>
                <a:gd name="T6" fmla="*/ 15 w 101"/>
                <a:gd name="T7" fmla="*/ 11 h 58"/>
                <a:gd name="T8" fmla="*/ 32 w 101"/>
                <a:gd name="T9" fmla="*/ 0 h 58"/>
                <a:gd name="T10" fmla="*/ 41 w 101"/>
                <a:gd name="T11" fmla="*/ 3 h 58"/>
                <a:gd name="T12" fmla="*/ 42 w 101"/>
                <a:gd name="T13" fmla="*/ 9 h 58"/>
                <a:gd name="T14" fmla="*/ 57 w 101"/>
                <a:gd name="T15" fmla="*/ 10 h 58"/>
                <a:gd name="T16" fmla="*/ 64 w 101"/>
                <a:gd name="T17" fmla="*/ 11 h 58"/>
                <a:gd name="T18" fmla="*/ 71 w 101"/>
                <a:gd name="T19" fmla="*/ 9 h 58"/>
                <a:gd name="T20" fmla="*/ 81 w 101"/>
                <a:gd name="T21" fmla="*/ 18 h 58"/>
                <a:gd name="T22" fmla="*/ 90 w 101"/>
                <a:gd name="T23" fmla="*/ 30 h 58"/>
                <a:gd name="T24" fmla="*/ 96 w 101"/>
                <a:gd name="T25" fmla="*/ 41 h 58"/>
                <a:gd name="T26" fmla="*/ 99 w 101"/>
                <a:gd name="T27" fmla="*/ 50 h 58"/>
                <a:gd name="T28" fmla="*/ 83 w 101"/>
                <a:gd name="T29" fmla="*/ 51 h 58"/>
                <a:gd name="T30" fmla="*/ 74 w 101"/>
                <a:gd name="T31" fmla="*/ 53 h 58"/>
                <a:gd name="T32" fmla="*/ 62 w 101"/>
                <a:gd name="T33" fmla="*/ 53 h 58"/>
                <a:gd name="T34" fmla="*/ 46 w 101"/>
                <a:gd name="T35" fmla="*/ 51 h 58"/>
                <a:gd name="T36" fmla="*/ 30 w 101"/>
                <a:gd name="T37" fmla="*/ 56 h 58"/>
                <a:gd name="T38" fmla="*/ 17 w 101"/>
                <a:gd name="T39" fmla="*/ 51 h 58"/>
                <a:gd name="T40" fmla="*/ 0 w 101"/>
                <a:gd name="T41" fmla="*/ 4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" h="58">
                  <a:moveTo>
                    <a:pt x="0" y="40"/>
                  </a:moveTo>
                  <a:cubicBezTo>
                    <a:pt x="0" y="38"/>
                    <a:pt x="1" y="38"/>
                    <a:pt x="2" y="37"/>
                  </a:cubicBezTo>
                  <a:cubicBezTo>
                    <a:pt x="5" y="35"/>
                    <a:pt x="2" y="31"/>
                    <a:pt x="5" y="29"/>
                  </a:cubicBezTo>
                  <a:cubicBezTo>
                    <a:pt x="10" y="25"/>
                    <a:pt x="12" y="16"/>
                    <a:pt x="15" y="11"/>
                  </a:cubicBezTo>
                  <a:cubicBezTo>
                    <a:pt x="19" y="6"/>
                    <a:pt x="25" y="0"/>
                    <a:pt x="32" y="0"/>
                  </a:cubicBezTo>
                  <a:cubicBezTo>
                    <a:pt x="34" y="0"/>
                    <a:pt x="40" y="1"/>
                    <a:pt x="41" y="3"/>
                  </a:cubicBezTo>
                  <a:cubicBezTo>
                    <a:pt x="41" y="5"/>
                    <a:pt x="40" y="8"/>
                    <a:pt x="42" y="9"/>
                  </a:cubicBezTo>
                  <a:cubicBezTo>
                    <a:pt x="47" y="10"/>
                    <a:pt x="52" y="10"/>
                    <a:pt x="57" y="10"/>
                  </a:cubicBezTo>
                  <a:cubicBezTo>
                    <a:pt x="60" y="10"/>
                    <a:pt x="61" y="14"/>
                    <a:pt x="64" y="11"/>
                  </a:cubicBezTo>
                  <a:cubicBezTo>
                    <a:pt x="67" y="9"/>
                    <a:pt x="67" y="8"/>
                    <a:pt x="71" y="9"/>
                  </a:cubicBezTo>
                  <a:cubicBezTo>
                    <a:pt x="76" y="11"/>
                    <a:pt x="82" y="12"/>
                    <a:pt x="81" y="18"/>
                  </a:cubicBezTo>
                  <a:cubicBezTo>
                    <a:pt x="81" y="24"/>
                    <a:pt x="81" y="30"/>
                    <a:pt x="90" y="30"/>
                  </a:cubicBezTo>
                  <a:cubicBezTo>
                    <a:pt x="98" y="29"/>
                    <a:pt x="96" y="37"/>
                    <a:pt x="96" y="41"/>
                  </a:cubicBezTo>
                  <a:cubicBezTo>
                    <a:pt x="96" y="43"/>
                    <a:pt x="101" y="49"/>
                    <a:pt x="99" y="50"/>
                  </a:cubicBezTo>
                  <a:cubicBezTo>
                    <a:pt x="94" y="52"/>
                    <a:pt x="89" y="53"/>
                    <a:pt x="83" y="51"/>
                  </a:cubicBezTo>
                  <a:cubicBezTo>
                    <a:pt x="81" y="50"/>
                    <a:pt x="76" y="53"/>
                    <a:pt x="74" y="53"/>
                  </a:cubicBezTo>
                  <a:cubicBezTo>
                    <a:pt x="70" y="53"/>
                    <a:pt x="66" y="53"/>
                    <a:pt x="62" y="53"/>
                  </a:cubicBezTo>
                  <a:cubicBezTo>
                    <a:pt x="56" y="53"/>
                    <a:pt x="51" y="48"/>
                    <a:pt x="46" y="51"/>
                  </a:cubicBezTo>
                  <a:cubicBezTo>
                    <a:pt x="41" y="54"/>
                    <a:pt x="35" y="58"/>
                    <a:pt x="30" y="56"/>
                  </a:cubicBezTo>
                  <a:cubicBezTo>
                    <a:pt x="25" y="54"/>
                    <a:pt x="23" y="50"/>
                    <a:pt x="17" y="51"/>
                  </a:cubicBezTo>
                  <a:cubicBezTo>
                    <a:pt x="7" y="51"/>
                    <a:pt x="7" y="44"/>
                    <a:pt x="0" y="4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Freeform 648">
              <a:extLst>
                <a:ext uri="{FF2B5EF4-FFF2-40B4-BE49-F238E27FC236}">
                  <a16:creationId xmlns:a16="http://schemas.microsoft.com/office/drawing/2014/main" id="{F9D9B70E-0095-4E32-ADC0-2C4EB27A2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1950" y="3142898"/>
              <a:ext cx="218007" cy="129025"/>
            </a:xfrm>
            <a:custGeom>
              <a:avLst/>
              <a:gdLst>
                <a:gd name="T0" fmla="*/ 0 w 101"/>
                <a:gd name="T1" fmla="*/ 40 h 58"/>
                <a:gd name="T2" fmla="*/ 2 w 101"/>
                <a:gd name="T3" fmla="*/ 37 h 58"/>
                <a:gd name="T4" fmla="*/ 5 w 101"/>
                <a:gd name="T5" fmla="*/ 29 h 58"/>
                <a:gd name="T6" fmla="*/ 15 w 101"/>
                <a:gd name="T7" fmla="*/ 11 h 58"/>
                <a:gd name="T8" fmla="*/ 32 w 101"/>
                <a:gd name="T9" fmla="*/ 0 h 58"/>
                <a:gd name="T10" fmla="*/ 41 w 101"/>
                <a:gd name="T11" fmla="*/ 3 h 58"/>
                <a:gd name="T12" fmla="*/ 42 w 101"/>
                <a:gd name="T13" fmla="*/ 9 h 58"/>
                <a:gd name="T14" fmla="*/ 57 w 101"/>
                <a:gd name="T15" fmla="*/ 10 h 58"/>
                <a:gd name="T16" fmla="*/ 64 w 101"/>
                <a:gd name="T17" fmla="*/ 11 h 58"/>
                <a:gd name="T18" fmla="*/ 71 w 101"/>
                <a:gd name="T19" fmla="*/ 9 h 58"/>
                <a:gd name="T20" fmla="*/ 81 w 101"/>
                <a:gd name="T21" fmla="*/ 18 h 58"/>
                <a:gd name="T22" fmla="*/ 90 w 101"/>
                <a:gd name="T23" fmla="*/ 30 h 58"/>
                <a:gd name="T24" fmla="*/ 96 w 101"/>
                <a:gd name="T25" fmla="*/ 41 h 58"/>
                <a:gd name="T26" fmla="*/ 99 w 101"/>
                <a:gd name="T27" fmla="*/ 50 h 58"/>
                <a:gd name="T28" fmla="*/ 83 w 101"/>
                <a:gd name="T29" fmla="*/ 51 h 58"/>
                <a:gd name="T30" fmla="*/ 74 w 101"/>
                <a:gd name="T31" fmla="*/ 53 h 58"/>
                <a:gd name="T32" fmla="*/ 62 w 101"/>
                <a:gd name="T33" fmla="*/ 53 h 58"/>
                <a:gd name="T34" fmla="*/ 46 w 101"/>
                <a:gd name="T35" fmla="*/ 51 h 58"/>
                <a:gd name="T36" fmla="*/ 30 w 101"/>
                <a:gd name="T37" fmla="*/ 56 h 58"/>
                <a:gd name="T38" fmla="*/ 17 w 101"/>
                <a:gd name="T39" fmla="*/ 51 h 58"/>
                <a:gd name="T40" fmla="*/ 0 w 101"/>
                <a:gd name="T41" fmla="*/ 4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1" h="58">
                  <a:moveTo>
                    <a:pt x="0" y="40"/>
                  </a:moveTo>
                  <a:cubicBezTo>
                    <a:pt x="0" y="38"/>
                    <a:pt x="1" y="38"/>
                    <a:pt x="2" y="37"/>
                  </a:cubicBezTo>
                  <a:cubicBezTo>
                    <a:pt x="5" y="35"/>
                    <a:pt x="2" y="31"/>
                    <a:pt x="5" y="29"/>
                  </a:cubicBezTo>
                  <a:cubicBezTo>
                    <a:pt x="10" y="25"/>
                    <a:pt x="12" y="16"/>
                    <a:pt x="15" y="11"/>
                  </a:cubicBezTo>
                  <a:cubicBezTo>
                    <a:pt x="19" y="6"/>
                    <a:pt x="25" y="0"/>
                    <a:pt x="32" y="0"/>
                  </a:cubicBezTo>
                  <a:cubicBezTo>
                    <a:pt x="34" y="0"/>
                    <a:pt x="40" y="1"/>
                    <a:pt x="41" y="3"/>
                  </a:cubicBezTo>
                  <a:cubicBezTo>
                    <a:pt x="41" y="5"/>
                    <a:pt x="40" y="8"/>
                    <a:pt x="42" y="9"/>
                  </a:cubicBezTo>
                  <a:cubicBezTo>
                    <a:pt x="47" y="10"/>
                    <a:pt x="52" y="10"/>
                    <a:pt x="57" y="10"/>
                  </a:cubicBezTo>
                  <a:cubicBezTo>
                    <a:pt x="60" y="10"/>
                    <a:pt x="61" y="14"/>
                    <a:pt x="64" y="11"/>
                  </a:cubicBezTo>
                  <a:cubicBezTo>
                    <a:pt x="67" y="9"/>
                    <a:pt x="67" y="8"/>
                    <a:pt x="71" y="9"/>
                  </a:cubicBezTo>
                  <a:cubicBezTo>
                    <a:pt x="76" y="11"/>
                    <a:pt x="82" y="12"/>
                    <a:pt x="81" y="18"/>
                  </a:cubicBezTo>
                  <a:cubicBezTo>
                    <a:pt x="81" y="24"/>
                    <a:pt x="81" y="30"/>
                    <a:pt x="90" y="30"/>
                  </a:cubicBezTo>
                  <a:cubicBezTo>
                    <a:pt x="98" y="29"/>
                    <a:pt x="96" y="37"/>
                    <a:pt x="96" y="41"/>
                  </a:cubicBezTo>
                  <a:cubicBezTo>
                    <a:pt x="96" y="43"/>
                    <a:pt x="101" y="49"/>
                    <a:pt x="99" y="50"/>
                  </a:cubicBezTo>
                  <a:cubicBezTo>
                    <a:pt x="94" y="52"/>
                    <a:pt x="89" y="53"/>
                    <a:pt x="83" y="51"/>
                  </a:cubicBezTo>
                  <a:cubicBezTo>
                    <a:pt x="81" y="50"/>
                    <a:pt x="76" y="53"/>
                    <a:pt x="74" y="53"/>
                  </a:cubicBezTo>
                  <a:cubicBezTo>
                    <a:pt x="70" y="53"/>
                    <a:pt x="66" y="53"/>
                    <a:pt x="62" y="53"/>
                  </a:cubicBezTo>
                  <a:cubicBezTo>
                    <a:pt x="56" y="53"/>
                    <a:pt x="51" y="48"/>
                    <a:pt x="46" y="51"/>
                  </a:cubicBezTo>
                  <a:cubicBezTo>
                    <a:pt x="41" y="54"/>
                    <a:pt x="35" y="58"/>
                    <a:pt x="30" y="56"/>
                  </a:cubicBezTo>
                  <a:cubicBezTo>
                    <a:pt x="25" y="54"/>
                    <a:pt x="23" y="50"/>
                    <a:pt x="17" y="51"/>
                  </a:cubicBezTo>
                  <a:cubicBezTo>
                    <a:pt x="7" y="51"/>
                    <a:pt x="7" y="44"/>
                    <a:pt x="0" y="4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4" name="Group 503">
              <a:extLst>
                <a:ext uri="{FF2B5EF4-FFF2-40B4-BE49-F238E27FC236}">
                  <a16:creationId xmlns:a16="http://schemas.microsoft.com/office/drawing/2014/main" id="{7C8EF725-D568-4218-AAD3-5421C6EB54ED}"/>
                </a:ext>
              </a:extLst>
            </p:cNvPr>
            <p:cNvGrpSpPr/>
            <p:nvPr/>
          </p:nvGrpSpPr>
          <p:grpSpPr>
            <a:xfrm>
              <a:off x="10457389" y="3872550"/>
              <a:ext cx="640672" cy="1018845"/>
              <a:chOff x="10457389" y="3872550"/>
              <a:chExt cx="640672" cy="1018845"/>
            </a:xfrm>
            <a:grpFill/>
          </p:grpSpPr>
          <p:sp>
            <p:nvSpPr>
              <p:cNvPr id="531" name="Freeform 561">
                <a:extLst>
                  <a:ext uri="{FF2B5EF4-FFF2-40B4-BE49-F238E27FC236}">
                    <a16:creationId xmlns:a16="http://schemas.microsoft.com/office/drawing/2014/main" id="{1AAB1569-A128-4F41-9E0D-0376C6AD39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6287" y="4713431"/>
                <a:ext cx="13349" cy="22247"/>
              </a:xfrm>
              <a:custGeom>
                <a:avLst/>
                <a:gdLst>
                  <a:gd name="T0" fmla="*/ 1 w 7"/>
                  <a:gd name="T1" fmla="*/ 4 h 9"/>
                  <a:gd name="T2" fmla="*/ 1 w 7"/>
                  <a:gd name="T3" fmla="*/ 9 h 9"/>
                  <a:gd name="T4" fmla="*/ 1 w 7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1" y="4"/>
                    </a:moveTo>
                    <a:cubicBezTo>
                      <a:pt x="0" y="6"/>
                      <a:pt x="0" y="8"/>
                      <a:pt x="1" y="9"/>
                    </a:cubicBezTo>
                    <a:cubicBezTo>
                      <a:pt x="7" y="7"/>
                      <a:pt x="5" y="0"/>
                      <a:pt x="1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562">
                <a:extLst>
                  <a:ext uri="{FF2B5EF4-FFF2-40B4-BE49-F238E27FC236}">
                    <a16:creationId xmlns:a16="http://schemas.microsoft.com/office/drawing/2014/main" id="{FC9D38BD-2799-45F0-A17D-0BB70F30C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6287" y="4713431"/>
                <a:ext cx="13349" cy="22247"/>
              </a:xfrm>
              <a:custGeom>
                <a:avLst/>
                <a:gdLst>
                  <a:gd name="T0" fmla="*/ 1 w 7"/>
                  <a:gd name="T1" fmla="*/ 4 h 9"/>
                  <a:gd name="T2" fmla="*/ 1 w 7"/>
                  <a:gd name="T3" fmla="*/ 9 h 9"/>
                  <a:gd name="T4" fmla="*/ 1 w 7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1" y="4"/>
                    </a:moveTo>
                    <a:cubicBezTo>
                      <a:pt x="0" y="6"/>
                      <a:pt x="0" y="8"/>
                      <a:pt x="1" y="9"/>
                    </a:cubicBezTo>
                    <a:cubicBezTo>
                      <a:pt x="7" y="7"/>
                      <a:pt x="5" y="0"/>
                      <a:pt x="1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581">
                <a:extLst>
                  <a:ext uri="{FF2B5EF4-FFF2-40B4-BE49-F238E27FC236}">
                    <a16:creationId xmlns:a16="http://schemas.microsoft.com/office/drawing/2014/main" id="{B23BB9D2-C554-400F-9EAE-6BB5ACB0EB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7389" y="4664489"/>
                <a:ext cx="4450" cy="17796"/>
              </a:xfrm>
              <a:custGeom>
                <a:avLst/>
                <a:gdLst>
                  <a:gd name="T0" fmla="*/ 2 w 4"/>
                  <a:gd name="T1" fmla="*/ 9 h 9"/>
                  <a:gd name="T2" fmla="*/ 1 w 4"/>
                  <a:gd name="T3" fmla="*/ 0 h 9"/>
                  <a:gd name="T4" fmla="*/ 2 w 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2" y="9"/>
                    </a:moveTo>
                    <a:cubicBezTo>
                      <a:pt x="4" y="6"/>
                      <a:pt x="4" y="2"/>
                      <a:pt x="1" y="0"/>
                    </a:cubicBezTo>
                    <a:cubicBezTo>
                      <a:pt x="0" y="3"/>
                      <a:pt x="0" y="7"/>
                      <a:pt x="2" y="9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582">
                <a:extLst>
                  <a:ext uri="{FF2B5EF4-FFF2-40B4-BE49-F238E27FC236}">
                    <a16:creationId xmlns:a16="http://schemas.microsoft.com/office/drawing/2014/main" id="{7023666D-D0FF-4015-AF40-A85D5FA88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7389" y="4664489"/>
                <a:ext cx="4450" cy="17796"/>
              </a:xfrm>
              <a:custGeom>
                <a:avLst/>
                <a:gdLst>
                  <a:gd name="T0" fmla="*/ 2 w 4"/>
                  <a:gd name="T1" fmla="*/ 9 h 9"/>
                  <a:gd name="T2" fmla="*/ 1 w 4"/>
                  <a:gd name="T3" fmla="*/ 0 h 9"/>
                  <a:gd name="T4" fmla="*/ 2 w 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9">
                    <a:moveTo>
                      <a:pt x="2" y="9"/>
                    </a:moveTo>
                    <a:cubicBezTo>
                      <a:pt x="4" y="6"/>
                      <a:pt x="4" y="2"/>
                      <a:pt x="1" y="0"/>
                    </a:cubicBezTo>
                    <a:cubicBezTo>
                      <a:pt x="0" y="3"/>
                      <a:pt x="0" y="7"/>
                      <a:pt x="2" y="9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583">
                <a:extLst>
                  <a:ext uri="{FF2B5EF4-FFF2-40B4-BE49-F238E27FC236}">
                    <a16:creationId xmlns:a16="http://schemas.microsoft.com/office/drawing/2014/main" id="{204FB3E7-EF51-4950-9CB9-5D27D029DA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6287" y="4415340"/>
                <a:ext cx="164618" cy="231353"/>
              </a:xfrm>
              <a:custGeom>
                <a:avLst/>
                <a:gdLst>
                  <a:gd name="T0" fmla="*/ 2 w 74"/>
                  <a:gd name="T1" fmla="*/ 97 h 106"/>
                  <a:gd name="T2" fmla="*/ 0 w 74"/>
                  <a:gd name="T3" fmla="*/ 106 h 106"/>
                  <a:gd name="T4" fmla="*/ 26 w 74"/>
                  <a:gd name="T5" fmla="*/ 82 h 106"/>
                  <a:gd name="T6" fmla="*/ 43 w 74"/>
                  <a:gd name="T7" fmla="*/ 57 h 106"/>
                  <a:gd name="T8" fmla="*/ 44 w 74"/>
                  <a:gd name="T9" fmla="*/ 52 h 106"/>
                  <a:gd name="T10" fmla="*/ 53 w 74"/>
                  <a:gd name="T11" fmla="*/ 48 h 106"/>
                  <a:gd name="T12" fmla="*/ 58 w 74"/>
                  <a:gd name="T13" fmla="*/ 42 h 106"/>
                  <a:gd name="T14" fmla="*/ 67 w 74"/>
                  <a:gd name="T15" fmla="*/ 36 h 106"/>
                  <a:gd name="T16" fmla="*/ 66 w 74"/>
                  <a:gd name="T17" fmla="*/ 21 h 106"/>
                  <a:gd name="T18" fmla="*/ 62 w 74"/>
                  <a:gd name="T19" fmla="*/ 0 h 106"/>
                  <a:gd name="T20" fmla="*/ 58 w 74"/>
                  <a:gd name="T21" fmla="*/ 10 h 106"/>
                  <a:gd name="T22" fmla="*/ 63 w 74"/>
                  <a:gd name="T23" fmla="*/ 22 h 106"/>
                  <a:gd name="T24" fmla="*/ 55 w 74"/>
                  <a:gd name="T25" fmla="*/ 15 h 106"/>
                  <a:gd name="T26" fmla="*/ 58 w 74"/>
                  <a:gd name="T27" fmla="*/ 25 h 106"/>
                  <a:gd name="T28" fmla="*/ 53 w 74"/>
                  <a:gd name="T29" fmla="*/ 32 h 106"/>
                  <a:gd name="T30" fmla="*/ 50 w 74"/>
                  <a:gd name="T31" fmla="*/ 35 h 106"/>
                  <a:gd name="T32" fmla="*/ 49 w 74"/>
                  <a:gd name="T33" fmla="*/ 41 h 106"/>
                  <a:gd name="T34" fmla="*/ 45 w 74"/>
                  <a:gd name="T35" fmla="*/ 42 h 106"/>
                  <a:gd name="T36" fmla="*/ 45 w 74"/>
                  <a:gd name="T37" fmla="*/ 48 h 106"/>
                  <a:gd name="T38" fmla="*/ 40 w 74"/>
                  <a:gd name="T39" fmla="*/ 51 h 106"/>
                  <a:gd name="T40" fmla="*/ 34 w 74"/>
                  <a:gd name="T41" fmla="*/ 59 h 106"/>
                  <a:gd name="T42" fmla="*/ 24 w 74"/>
                  <a:gd name="T43" fmla="*/ 73 h 106"/>
                  <a:gd name="T44" fmla="*/ 19 w 74"/>
                  <a:gd name="T45" fmla="*/ 75 h 106"/>
                  <a:gd name="T46" fmla="*/ 15 w 74"/>
                  <a:gd name="T47" fmla="*/ 80 h 106"/>
                  <a:gd name="T48" fmla="*/ 2 w 74"/>
                  <a:gd name="T49" fmla="*/ 97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4" h="106">
                    <a:moveTo>
                      <a:pt x="2" y="97"/>
                    </a:moveTo>
                    <a:cubicBezTo>
                      <a:pt x="0" y="100"/>
                      <a:pt x="1" y="103"/>
                      <a:pt x="0" y="106"/>
                    </a:cubicBezTo>
                    <a:cubicBezTo>
                      <a:pt x="8" y="96"/>
                      <a:pt x="19" y="93"/>
                      <a:pt x="26" y="82"/>
                    </a:cubicBezTo>
                    <a:cubicBezTo>
                      <a:pt x="29" y="78"/>
                      <a:pt x="51" y="64"/>
                      <a:pt x="43" y="57"/>
                    </a:cubicBezTo>
                    <a:cubicBezTo>
                      <a:pt x="47" y="58"/>
                      <a:pt x="44" y="55"/>
                      <a:pt x="44" y="52"/>
                    </a:cubicBezTo>
                    <a:cubicBezTo>
                      <a:pt x="45" y="49"/>
                      <a:pt x="50" y="48"/>
                      <a:pt x="53" y="48"/>
                    </a:cubicBezTo>
                    <a:cubicBezTo>
                      <a:pt x="57" y="47"/>
                      <a:pt x="58" y="46"/>
                      <a:pt x="58" y="42"/>
                    </a:cubicBezTo>
                    <a:cubicBezTo>
                      <a:pt x="59" y="37"/>
                      <a:pt x="63" y="38"/>
                      <a:pt x="67" y="36"/>
                    </a:cubicBezTo>
                    <a:cubicBezTo>
                      <a:pt x="74" y="31"/>
                      <a:pt x="69" y="27"/>
                      <a:pt x="66" y="21"/>
                    </a:cubicBezTo>
                    <a:cubicBezTo>
                      <a:pt x="62" y="15"/>
                      <a:pt x="68" y="6"/>
                      <a:pt x="62" y="0"/>
                    </a:cubicBezTo>
                    <a:cubicBezTo>
                      <a:pt x="59" y="3"/>
                      <a:pt x="63" y="15"/>
                      <a:pt x="58" y="10"/>
                    </a:cubicBezTo>
                    <a:cubicBezTo>
                      <a:pt x="59" y="13"/>
                      <a:pt x="63" y="19"/>
                      <a:pt x="63" y="22"/>
                    </a:cubicBezTo>
                    <a:cubicBezTo>
                      <a:pt x="60" y="20"/>
                      <a:pt x="56" y="19"/>
                      <a:pt x="55" y="15"/>
                    </a:cubicBezTo>
                    <a:cubicBezTo>
                      <a:pt x="55" y="19"/>
                      <a:pt x="57" y="22"/>
                      <a:pt x="58" y="25"/>
                    </a:cubicBezTo>
                    <a:cubicBezTo>
                      <a:pt x="59" y="28"/>
                      <a:pt x="55" y="39"/>
                      <a:pt x="53" y="32"/>
                    </a:cubicBezTo>
                    <a:cubicBezTo>
                      <a:pt x="53" y="34"/>
                      <a:pt x="52" y="34"/>
                      <a:pt x="50" y="35"/>
                    </a:cubicBezTo>
                    <a:cubicBezTo>
                      <a:pt x="48" y="35"/>
                      <a:pt x="49" y="40"/>
                      <a:pt x="49" y="41"/>
                    </a:cubicBezTo>
                    <a:cubicBezTo>
                      <a:pt x="48" y="42"/>
                      <a:pt x="45" y="41"/>
                      <a:pt x="45" y="42"/>
                    </a:cubicBezTo>
                    <a:cubicBezTo>
                      <a:pt x="44" y="44"/>
                      <a:pt x="46" y="45"/>
                      <a:pt x="45" y="48"/>
                    </a:cubicBezTo>
                    <a:cubicBezTo>
                      <a:pt x="44" y="41"/>
                      <a:pt x="41" y="49"/>
                      <a:pt x="40" y="51"/>
                    </a:cubicBezTo>
                    <a:cubicBezTo>
                      <a:pt x="38" y="54"/>
                      <a:pt x="37" y="57"/>
                      <a:pt x="34" y="59"/>
                    </a:cubicBezTo>
                    <a:cubicBezTo>
                      <a:pt x="31" y="63"/>
                      <a:pt x="29" y="69"/>
                      <a:pt x="24" y="73"/>
                    </a:cubicBezTo>
                    <a:cubicBezTo>
                      <a:pt x="23" y="74"/>
                      <a:pt x="21" y="73"/>
                      <a:pt x="19" y="75"/>
                    </a:cubicBezTo>
                    <a:cubicBezTo>
                      <a:pt x="17" y="76"/>
                      <a:pt x="17" y="79"/>
                      <a:pt x="15" y="80"/>
                    </a:cubicBezTo>
                    <a:cubicBezTo>
                      <a:pt x="9" y="83"/>
                      <a:pt x="4" y="91"/>
                      <a:pt x="2" y="9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584">
                <a:extLst>
                  <a:ext uri="{FF2B5EF4-FFF2-40B4-BE49-F238E27FC236}">
                    <a16:creationId xmlns:a16="http://schemas.microsoft.com/office/drawing/2014/main" id="{9EAFF269-B5A4-41D9-ABBE-BAFC21461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6287" y="4415340"/>
                <a:ext cx="164618" cy="231353"/>
              </a:xfrm>
              <a:custGeom>
                <a:avLst/>
                <a:gdLst>
                  <a:gd name="T0" fmla="*/ 2 w 74"/>
                  <a:gd name="T1" fmla="*/ 97 h 106"/>
                  <a:gd name="T2" fmla="*/ 0 w 74"/>
                  <a:gd name="T3" fmla="*/ 106 h 106"/>
                  <a:gd name="T4" fmla="*/ 26 w 74"/>
                  <a:gd name="T5" fmla="*/ 82 h 106"/>
                  <a:gd name="T6" fmla="*/ 43 w 74"/>
                  <a:gd name="T7" fmla="*/ 57 h 106"/>
                  <a:gd name="T8" fmla="*/ 44 w 74"/>
                  <a:gd name="T9" fmla="*/ 52 h 106"/>
                  <a:gd name="T10" fmla="*/ 53 w 74"/>
                  <a:gd name="T11" fmla="*/ 48 h 106"/>
                  <a:gd name="T12" fmla="*/ 58 w 74"/>
                  <a:gd name="T13" fmla="*/ 42 h 106"/>
                  <a:gd name="T14" fmla="*/ 67 w 74"/>
                  <a:gd name="T15" fmla="*/ 36 h 106"/>
                  <a:gd name="T16" fmla="*/ 66 w 74"/>
                  <a:gd name="T17" fmla="*/ 21 h 106"/>
                  <a:gd name="T18" fmla="*/ 62 w 74"/>
                  <a:gd name="T19" fmla="*/ 0 h 106"/>
                  <a:gd name="T20" fmla="*/ 58 w 74"/>
                  <a:gd name="T21" fmla="*/ 10 h 106"/>
                  <a:gd name="T22" fmla="*/ 63 w 74"/>
                  <a:gd name="T23" fmla="*/ 22 h 106"/>
                  <a:gd name="T24" fmla="*/ 55 w 74"/>
                  <a:gd name="T25" fmla="*/ 15 h 106"/>
                  <a:gd name="T26" fmla="*/ 58 w 74"/>
                  <a:gd name="T27" fmla="*/ 25 h 106"/>
                  <a:gd name="T28" fmla="*/ 53 w 74"/>
                  <a:gd name="T29" fmla="*/ 32 h 106"/>
                  <a:gd name="T30" fmla="*/ 50 w 74"/>
                  <a:gd name="T31" fmla="*/ 35 h 106"/>
                  <a:gd name="T32" fmla="*/ 49 w 74"/>
                  <a:gd name="T33" fmla="*/ 41 h 106"/>
                  <a:gd name="T34" fmla="*/ 45 w 74"/>
                  <a:gd name="T35" fmla="*/ 42 h 106"/>
                  <a:gd name="T36" fmla="*/ 45 w 74"/>
                  <a:gd name="T37" fmla="*/ 48 h 106"/>
                  <a:gd name="T38" fmla="*/ 40 w 74"/>
                  <a:gd name="T39" fmla="*/ 51 h 106"/>
                  <a:gd name="T40" fmla="*/ 34 w 74"/>
                  <a:gd name="T41" fmla="*/ 59 h 106"/>
                  <a:gd name="T42" fmla="*/ 24 w 74"/>
                  <a:gd name="T43" fmla="*/ 73 h 106"/>
                  <a:gd name="T44" fmla="*/ 19 w 74"/>
                  <a:gd name="T45" fmla="*/ 75 h 106"/>
                  <a:gd name="T46" fmla="*/ 15 w 74"/>
                  <a:gd name="T47" fmla="*/ 80 h 106"/>
                  <a:gd name="T48" fmla="*/ 2 w 74"/>
                  <a:gd name="T49" fmla="*/ 97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4" h="106">
                    <a:moveTo>
                      <a:pt x="2" y="97"/>
                    </a:moveTo>
                    <a:cubicBezTo>
                      <a:pt x="0" y="100"/>
                      <a:pt x="1" y="103"/>
                      <a:pt x="0" y="106"/>
                    </a:cubicBezTo>
                    <a:cubicBezTo>
                      <a:pt x="8" y="96"/>
                      <a:pt x="19" y="93"/>
                      <a:pt x="26" y="82"/>
                    </a:cubicBezTo>
                    <a:cubicBezTo>
                      <a:pt x="29" y="78"/>
                      <a:pt x="51" y="64"/>
                      <a:pt x="43" y="57"/>
                    </a:cubicBezTo>
                    <a:cubicBezTo>
                      <a:pt x="47" y="58"/>
                      <a:pt x="44" y="55"/>
                      <a:pt x="44" y="52"/>
                    </a:cubicBezTo>
                    <a:cubicBezTo>
                      <a:pt x="45" y="49"/>
                      <a:pt x="50" y="48"/>
                      <a:pt x="53" y="48"/>
                    </a:cubicBezTo>
                    <a:cubicBezTo>
                      <a:pt x="57" y="47"/>
                      <a:pt x="58" y="46"/>
                      <a:pt x="58" y="42"/>
                    </a:cubicBezTo>
                    <a:cubicBezTo>
                      <a:pt x="59" y="37"/>
                      <a:pt x="63" y="38"/>
                      <a:pt x="67" y="36"/>
                    </a:cubicBezTo>
                    <a:cubicBezTo>
                      <a:pt x="74" y="31"/>
                      <a:pt x="69" y="27"/>
                      <a:pt x="66" y="21"/>
                    </a:cubicBezTo>
                    <a:cubicBezTo>
                      <a:pt x="62" y="15"/>
                      <a:pt x="68" y="6"/>
                      <a:pt x="62" y="0"/>
                    </a:cubicBezTo>
                    <a:cubicBezTo>
                      <a:pt x="59" y="3"/>
                      <a:pt x="63" y="15"/>
                      <a:pt x="58" y="10"/>
                    </a:cubicBezTo>
                    <a:cubicBezTo>
                      <a:pt x="59" y="13"/>
                      <a:pt x="63" y="19"/>
                      <a:pt x="63" y="22"/>
                    </a:cubicBezTo>
                    <a:cubicBezTo>
                      <a:pt x="60" y="20"/>
                      <a:pt x="56" y="19"/>
                      <a:pt x="55" y="15"/>
                    </a:cubicBezTo>
                    <a:cubicBezTo>
                      <a:pt x="55" y="19"/>
                      <a:pt x="57" y="22"/>
                      <a:pt x="58" y="25"/>
                    </a:cubicBezTo>
                    <a:cubicBezTo>
                      <a:pt x="59" y="28"/>
                      <a:pt x="55" y="39"/>
                      <a:pt x="53" y="32"/>
                    </a:cubicBezTo>
                    <a:cubicBezTo>
                      <a:pt x="53" y="34"/>
                      <a:pt x="52" y="34"/>
                      <a:pt x="50" y="35"/>
                    </a:cubicBezTo>
                    <a:cubicBezTo>
                      <a:pt x="48" y="35"/>
                      <a:pt x="49" y="40"/>
                      <a:pt x="49" y="41"/>
                    </a:cubicBezTo>
                    <a:cubicBezTo>
                      <a:pt x="48" y="42"/>
                      <a:pt x="45" y="41"/>
                      <a:pt x="45" y="42"/>
                    </a:cubicBezTo>
                    <a:cubicBezTo>
                      <a:pt x="44" y="44"/>
                      <a:pt x="46" y="45"/>
                      <a:pt x="45" y="48"/>
                    </a:cubicBezTo>
                    <a:cubicBezTo>
                      <a:pt x="44" y="41"/>
                      <a:pt x="41" y="49"/>
                      <a:pt x="40" y="51"/>
                    </a:cubicBezTo>
                    <a:cubicBezTo>
                      <a:pt x="38" y="54"/>
                      <a:pt x="37" y="57"/>
                      <a:pt x="34" y="59"/>
                    </a:cubicBezTo>
                    <a:cubicBezTo>
                      <a:pt x="31" y="63"/>
                      <a:pt x="29" y="69"/>
                      <a:pt x="24" y="73"/>
                    </a:cubicBezTo>
                    <a:cubicBezTo>
                      <a:pt x="23" y="74"/>
                      <a:pt x="21" y="73"/>
                      <a:pt x="19" y="75"/>
                    </a:cubicBezTo>
                    <a:cubicBezTo>
                      <a:pt x="17" y="76"/>
                      <a:pt x="17" y="79"/>
                      <a:pt x="15" y="80"/>
                    </a:cubicBezTo>
                    <a:cubicBezTo>
                      <a:pt x="9" y="83"/>
                      <a:pt x="4" y="91"/>
                      <a:pt x="2" y="9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585">
                <a:extLst>
                  <a:ext uri="{FF2B5EF4-FFF2-40B4-BE49-F238E27FC236}">
                    <a16:creationId xmlns:a16="http://schemas.microsoft.com/office/drawing/2014/main" id="{292CF330-59EA-42E6-9854-BE21D3AD0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7516" y="3872550"/>
                <a:ext cx="324785" cy="462706"/>
              </a:xfrm>
              <a:custGeom>
                <a:avLst/>
                <a:gdLst>
                  <a:gd name="T0" fmla="*/ 6 w 150"/>
                  <a:gd name="T1" fmla="*/ 96 h 214"/>
                  <a:gd name="T2" fmla="*/ 15 w 150"/>
                  <a:gd name="T3" fmla="*/ 128 h 214"/>
                  <a:gd name="T4" fmla="*/ 29 w 150"/>
                  <a:gd name="T5" fmla="*/ 145 h 214"/>
                  <a:gd name="T6" fmla="*/ 45 w 150"/>
                  <a:gd name="T7" fmla="*/ 145 h 214"/>
                  <a:gd name="T8" fmla="*/ 38 w 150"/>
                  <a:gd name="T9" fmla="*/ 167 h 214"/>
                  <a:gd name="T10" fmla="*/ 47 w 150"/>
                  <a:gd name="T11" fmla="*/ 171 h 214"/>
                  <a:gd name="T12" fmla="*/ 61 w 150"/>
                  <a:gd name="T13" fmla="*/ 173 h 214"/>
                  <a:gd name="T14" fmla="*/ 72 w 150"/>
                  <a:gd name="T15" fmla="*/ 162 h 214"/>
                  <a:gd name="T16" fmla="*/ 98 w 150"/>
                  <a:gd name="T17" fmla="*/ 186 h 214"/>
                  <a:gd name="T18" fmla="*/ 101 w 150"/>
                  <a:gd name="T19" fmla="*/ 182 h 214"/>
                  <a:gd name="T20" fmla="*/ 92 w 150"/>
                  <a:gd name="T21" fmla="*/ 163 h 214"/>
                  <a:gd name="T22" fmla="*/ 121 w 150"/>
                  <a:gd name="T23" fmla="*/ 187 h 214"/>
                  <a:gd name="T24" fmla="*/ 131 w 150"/>
                  <a:gd name="T25" fmla="*/ 197 h 214"/>
                  <a:gd name="T26" fmla="*/ 144 w 150"/>
                  <a:gd name="T27" fmla="*/ 197 h 214"/>
                  <a:gd name="T28" fmla="*/ 147 w 150"/>
                  <a:gd name="T29" fmla="*/ 211 h 214"/>
                  <a:gd name="T30" fmla="*/ 136 w 150"/>
                  <a:gd name="T31" fmla="*/ 185 h 214"/>
                  <a:gd name="T32" fmla="*/ 139 w 150"/>
                  <a:gd name="T33" fmla="*/ 171 h 214"/>
                  <a:gd name="T34" fmla="*/ 117 w 150"/>
                  <a:gd name="T35" fmla="*/ 158 h 214"/>
                  <a:gd name="T36" fmla="*/ 109 w 150"/>
                  <a:gd name="T37" fmla="*/ 157 h 214"/>
                  <a:gd name="T38" fmla="*/ 85 w 150"/>
                  <a:gd name="T39" fmla="*/ 154 h 214"/>
                  <a:gd name="T40" fmla="*/ 73 w 150"/>
                  <a:gd name="T41" fmla="*/ 158 h 214"/>
                  <a:gd name="T42" fmla="*/ 56 w 150"/>
                  <a:gd name="T43" fmla="*/ 109 h 214"/>
                  <a:gd name="T44" fmla="*/ 73 w 150"/>
                  <a:gd name="T45" fmla="*/ 83 h 214"/>
                  <a:gd name="T46" fmla="*/ 75 w 150"/>
                  <a:gd name="T47" fmla="*/ 75 h 214"/>
                  <a:gd name="T48" fmla="*/ 76 w 150"/>
                  <a:gd name="T49" fmla="*/ 47 h 214"/>
                  <a:gd name="T50" fmla="*/ 67 w 150"/>
                  <a:gd name="T51" fmla="*/ 15 h 214"/>
                  <a:gd name="T52" fmla="*/ 56 w 150"/>
                  <a:gd name="T53" fmla="*/ 13 h 214"/>
                  <a:gd name="T54" fmla="*/ 42 w 150"/>
                  <a:gd name="T55" fmla="*/ 7 h 214"/>
                  <a:gd name="T56" fmla="*/ 20 w 150"/>
                  <a:gd name="T57" fmla="*/ 1 h 214"/>
                  <a:gd name="T58" fmla="*/ 15 w 150"/>
                  <a:gd name="T59" fmla="*/ 10 h 214"/>
                  <a:gd name="T60" fmla="*/ 17 w 150"/>
                  <a:gd name="T61" fmla="*/ 61 h 214"/>
                  <a:gd name="T62" fmla="*/ 4 w 150"/>
                  <a:gd name="T63" fmla="*/ 78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0" h="214">
                    <a:moveTo>
                      <a:pt x="2" y="87"/>
                    </a:moveTo>
                    <a:cubicBezTo>
                      <a:pt x="1" y="93"/>
                      <a:pt x="6" y="93"/>
                      <a:pt x="6" y="96"/>
                    </a:cubicBezTo>
                    <a:cubicBezTo>
                      <a:pt x="7" y="102"/>
                      <a:pt x="8" y="109"/>
                      <a:pt x="11" y="114"/>
                    </a:cubicBezTo>
                    <a:cubicBezTo>
                      <a:pt x="13" y="118"/>
                      <a:pt x="15" y="122"/>
                      <a:pt x="15" y="128"/>
                    </a:cubicBezTo>
                    <a:cubicBezTo>
                      <a:pt x="16" y="131"/>
                      <a:pt x="21" y="138"/>
                      <a:pt x="20" y="131"/>
                    </a:cubicBezTo>
                    <a:cubicBezTo>
                      <a:pt x="26" y="133"/>
                      <a:pt x="23" y="143"/>
                      <a:pt x="29" y="145"/>
                    </a:cubicBezTo>
                    <a:cubicBezTo>
                      <a:pt x="38" y="148"/>
                      <a:pt x="31" y="136"/>
                      <a:pt x="31" y="132"/>
                    </a:cubicBezTo>
                    <a:cubicBezTo>
                      <a:pt x="33" y="133"/>
                      <a:pt x="52" y="139"/>
                      <a:pt x="45" y="145"/>
                    </a:cubicBezTo>
                    <a:cubicBezTo>
                      <a:pt x="42" y="147"/>
                      <a:pt x="40" y="149"/>
                      <a:pt x="37" y="151"/>
                    </a:cubicBezTo>
                    <a:cubicBezTo>
                      <a:pt x="33" y="155"/>
                      <a:pt x="37" y="163"/>
                      <a:pt x="38" y="167"/>
                    </a:cubicBezTo>
                    <a:cubicBezTo>
                      <a:pt x="40" y="167"/>
                      <a:pt x="41" y="166"/>
                      <a:pt x="40" y="163"/>
                    </a:cubicBezTo>
                    <a:cubicBezTo>
                      <a:pt x="45" y="163"/>
                      <a:pt x="48" y="166"/>
                      <a:pt x="47" y="171"/>
                    </a:cubicBezTo>
                    <a:cubicBezTo>
                      <a:pt x="48" y="165"/>
                      <a:pt x="52" y="171"/>
                      <a:pt x="51" y="174"/>
                    </a:cubicBezTo>
                    <a:cubicBezTo>
                      <a:pt x="54" y="173"/>
                      <a:pt x="58" y="175"/>
                      <a:pt x="61" y="173"/>
                    </a:cubicBezTo>
                    <a:cubicBezTo>
                      <a:pt x="63" y="170"/>
                      <a:pt x="63" y="167"/>
                      <a:pt x="66" y="165"/>
                    </a:cubicBezTo>
                    <a:cubicBezTo>
                      <a:pt x="66" y="165"/>
                      <a:pt x="71" y="162"/>
                      <a:pt x="72" y="162"/>
                    </a:cubicBezTo>
                    <a:cubicBezTo>
                      <a:pt x="75" y="165"/>
                      <a:pt x="80" y="167"/>
                      <a:pt x="84" y="170"/>
                    </a:cubicBezTo>
                    <a:cubicBezTo>
                      <a:pt x="88" y="174"/>
                      <a:pt x="96" y="180"/>
                      <a:pt x="98" y="186"/>
                    </a:cubicBezTo>
                    <a:cubicBezTo>
                      <a:pt x="98" y="188"/>
                      <a:pt x="102" y="191"/>
                      <a:pt x="102" y="187"/>
                    </a:cubicBezTo>
                    <a:cubicBezTo>
                      <a:pt x="102" y="186"/>
                      <a:pt x="102" y="184"/>
                      <a:pt x="101" y="182"/>
                    </a:cubicBezTo>
                    <a:cubicBezTo>
                      <a:pt x="100" y="181"/>
                      <a:pt x="96" y="175"/>
                      <a:pt x="98" y="176"/>
                    </a:cubicBezTo>
                    <a:cubicBezTo>
                      <a:pt x="94" y="173"/>
                      <a:pt x="95" y="167"/>
                      <a:pt x="92" y="163"/>
                    </a:cubicBezTo>
                    <a:cubicBezTo>
                      <a:pt x="98" y="162"/>
                      <a:pt x="104" y="169"/>
                      <a:pt x="107" y="174"/>
                    </a:cubicBezTo>
                    <a:cubicBezTo>
                      <a:pt x="111" y="180"/>
                      <a:pt x="118" y="180"/>
                      <a:pt x="121" y="187"/>
                    </a:cubicBezTo>
                    <a:cubicBezTo>
                      <a:pt x="122" y="189"/>
                      <a:pt x="120" y="193"/>
                      <a:pt x="123" y="193"/>
                    </a:cubicBezTo>
                    <a:cubicBezTo>
                      <a:pt x="126" y="194"/>
                      <a:pt x="128" y="196"/>
                      <a:pt x="131" y="197"/>
                    </a:cubicBezTo>
                    <a:cubicBezTo>
                      <a:pt x="133" y="198"/>
                      <a:pt x="135" y="201"/>
                      <a:pt x="137" y="200"/>
                    </a:cubicBezTo>
                    <a:cubicBezTo>
                      <a:pt x="139" y="199"/>
                      <a:pt x="142" y="196"/>
                      <a:pt x="144" y="197"/>
                    </a:cubicBezTo>
                    <a:cubicBezTo>
                      <a:pt x="144" y="200"/>
                      <a:pt x="137" y="202"/>
                      <a:pt x="140" y="206"/>
                    </a:cubicBezTo>
                    <a:cubicBezTo>
                      <a:pt x="141" y="207"/>
                      <a:pt x="146" y="214"/>
                      <a:pt x="147" y="211"/>
                    </a:cubicBezTo>
                    <a:cubicBezTo>
                      <a:pt x="150" y="205"/>
                      <a:pt x="147" y="184"/>
                      <a:pt x="136" y="192"/>
                    </a:cubicBezTo>
                    <a:cubicBezTo>
                      <a:pt x="135" y="189"/>
                      <a:pt x="136" y="188"/>
                      <a:pt x="136" y="185"/>
                    </a:cubicBezTo>
                    <a:cubicBezTo>
                      <a:pt x="135" y="182"/>
                      <a:pt x="131" y="178"/>
                      <a:pt x="128" y="177"/>
                    </a:cubicBezTo>
                    <a:cubicBezTo>
                      <a:pt x="121" y="173"/>
                      <a:pt x="136" y="169"/>
                      <a:pt x="139" y="171"/>
                    </a:cubicBezTo>
                    <a:cubicBezTo>
                      <a:pt x="139" y="167"/>
                      <a:pt x="132" y="165"/>
                      <a:pt x="128" y="165"/>
                    </a:cubicBezTo>
                    <a:cubicBezTo>
                      <a:pt x="122" y="164"/>
                      <a:pt x="121" y="159"/>
                      <a:pt x="117" y="158"/>
                    </a:cubicBezTo>
                    <a:cubicBezTo>
                      <a:pt x="115" y="162"/>
                      <a:pt x="123" y="168"/>
                      <a:pt x="117" y="170"/>
                    </a:cubicBezTo>
                    <a:cubicBezTo>
                      <a:pt x="112" y="172"/>
                      <a:pt x="111" y="161"/>
                      <a:pt x="109" y="157"/>
                    </a:cubicBezTo>
                    <a:cubicBezTo>
                      <a:pt x="104" y="150"/>
                      <a:pt x="87" y="144"/>
                      <a:pt x="87" y="157"/>
                    </a:cubicBezTo>
                    <a:cubicBezTo>
                      <a:pt x="87" y="156"/>
                      <a:pt x="86" y="155"/>
                      <a:pt x="85" y="154"/>
                    </a:cubicBezTo>
                    <a:cubicBezTo>
                      <a:pt x="81" y="157"/>
                      <a:pt x="89" y="160"/>
                      <a:pt x="87" y="162"/>
                    </a:cubicBezTo>
                    <a:cubicBezTo>
                      <a:pt x="83" y="166"/>
                      <a:pt x="76" y="161"/>
                      <a:pt x="73" y="158"/>
                    </a:cubicBezTo>
                    <a:cubicBezTo>
                      <a:pt x="70" y="155"/>
                      <a:pt x="60" y="137"/>
                      <a:pt x="68" y="137"/>
                    </a:cubicBezTo>
                    <a:cubicBezTo>
                      <a:pt x="60" y="132"/>
                      <a:pt x="53" y="118"/>
                      <a:pt x="56" y="109"/>
                    </a:cubicBezTo>
                    <a:cubicBezTo>
                      <a:pt x="59" y="104"/>
                      <a:pt x="56" y="99"/>
                      <a:pt x="58" y="94"/>
                    </a:cubicBezTo>
                    <a:cubicBezTo>
                      <a:pt x="60" y="88"/>
                      <a:pt x="68" y="87"/>
                      <a:pt x="73" y="83"/>
                    </a:cubicBezTo>
                    <a:cubicBezTo>
                      <a:pt x="72" y="85"/>
                      <a:pt x="72" y="86"/>
                      <a:pt x="71" y="88"/>
                    </a:cubicBezTo>
                    <a:cubicBezTo>
                      <a:pt x="75" y="84"/>
                      <a:pt x="73" y="79"/>
                      <a:pt x="75" y="75"/>
                    </a:cubicBezTo>
                    <a:cubicBezTo>
                      <a:pt x="78" y="67"/>
                      <a:pt x="81" y="60"/>
                      <a:pt x="79" y="52"/>
                    </a:cubicBezTo>
                    <a:cubicBezTo>
                      <a:pt x="75" y="54"/>
                      <a:pt x="77" y="48"/>
                      <a:pt x="76" y="47"/>
                    </a:cubicBezTo>
                    <a:cubicBezTo>
                      <a:pt x="72" y="42"/>
                      <a:pt x="68" y="41"/>
                      <a:pt x="66" y="34"/>
                    </a:cubicBezTo>
                    <a:cubicBezTo>
                      <a:pt x="64" y="27"/>
                      <a:pt x="64" y="22"/>
                      <a:pt x="67" y="15"/>
                    </a:cubicBezTo>
                    <a:cubicBezTo>
                      <a:pt x="68" y="11"/>
                      <a:pt x="64" y="2"/>
                      <a:pt x="61" y="7"/>
                    </a:cubicBezTo>
                    <a:cubicBezTo>
                      <a:pt x="60" y="9"/>
                      <a:pt x="59" y="13"/>
                      <a:pt x="56" y="13"/>
                    </a:cubicBezTo>
                    <a:cubicBezTo>
                      <a:pt x="54" y="12"/>
                      <a:pt x="49" y="10"/>
                      <a:pt x="47" y="12"/>
                    </a:cubicBezTo>
                    <a:cubicBezTo>
                      <a:pt x="46" y="10"/>
                      <a:pt x="44" y="8"/>
                      <a:pt x="42" y="7"/>
                    </a:cubicBezTo>
                    <a:cubicBezTo>
                      <a:pt x="37" y="4"/>
                      <a:pt x="32" y="0"/>
                      <a:pt x="27" y="2"/>
                    </a:cubicBezTo>
                    <a:cubicBezTo>
                      <a:pt x="24" y="3"/>
                      <a:pt x="22" y="1"/>
                      <a:pt x="20" y="1"/>
                    </a:cubicBezTo>
                    <a:cubicBezTo>
                      <a:pt x="18" y="1"/>
                      <a:pt x="19" y="4"/>
                      <a:pt x="17" y="4"/>
                    </a:cubicBezTo>
                    <a:cubicBezTo>
                      <a:pt x="12" y="4"/>
                      <a:pt x="15" y="7"/>
                      <a:pt x="15" y="10"/>
                    </a:cubicBezTo>
                    <a:cubicBezTo>
                      <a:pt x="15" y="16"/>
                      <a:pt x="13" y="23"/>
                      <a:pt x="12" y="29"/>
                    </a:cubicBezTo>
                    <a:cubicBezTo>
                      <a:pt x="11" y="40"/>
                      <a:pt x="19" y="50"/>
                      <a:pt x="17" y="61"/>
                    </a:cubicBezTo>
                    <a:cubicBezTo>
                      <a:pt x="15" y="71"/>
                      <a:pt x="19" y="78"/>
                      <a:pt x="20" y="86"/>
                    </a:cubicBezTo>
                    <a:cubicBezTo>
                      <a:pt x="22" y="97"/>
                      <a:pt x="5" y="83"/>
                      <a:pt x="4" y="78"/>
                    </a:cubicBezTo>
                    <a:cubicBezTo>
                      <a:pt x="0" y="80"/>
                      <a:pt x="1" y="84"/>
                      <a:pt x="2" y="8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586">
                <a:extLst>
                  <a:ext uri="{FF2B5EF4-FFF2-40B4-BE49-F238E27FC236}">
                    <a16:creationId xmlns:a16="http://schemas.microsoft.com/office/drawing/2014/main" id="{541F87AD-E912-4E9B-AC1A-B0BD9E407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7516" y="3872550"/>
                <a:ext cx="324785" cy="462706"/>
              </a:xfrm>
              <a:custGeom>
                <a:avLst/>
                <a:gdLst>
                  <a:gd name="T0" fmla="*/ 6 w 150"/>
                  <a:gd name="T1" fmla="*/ 96 h 214"/>
                  <a:gd name="T2" fmla="*/ 15 w 150"/>
                  <a:gd name="T3" fmla="*/ 128 h 214"/>
                  <a:gd name="T4" fmla="*/ 29 w 150"/>
                  <a:gd name="T5" fmla="*/ 145 h 214"/>
                  <a:gd name="T6" fmla="*/ 45 w 150"/>
                  <a:gd name="T7" fmla="*/ 145 h 214"/>
                  <a:gd name="T8" fmla="*/ 38 w 150"/>
                  <a:gd name="T9" fmla="*/ 167 h 214"/>
                  <a:gd name="T10" fmla="*/ 47 w 150"/>
                  <a:gd name="T11" fmla="*/ 171 h 214"/>
                  <a:gd name="T12" fmla="*/ 61 w 150"/>
                  <a:gd name="T13" fmla="*/ 173 h 214"/>
                  <a:gd name="T14" fmla="*/ 72 w 150"/>
                  <a:gd name="T15" fmla="*/ 162 h 214"/>
                  <a:gd name="T16" fmla="*/ 98 w 150"/>
                  <a:gd name="T17" fmla="*/ 186 h 214"/>
                  <a:gd name="T18" fmla="*/ 101 w 150"/>
                  <a:gd name="T19" fmla="*/ 182 h 214"/>
                  <a:gd name="T20" fmla="*/ 92 w 150"/>
                  <a:gd name="T21" fmla="*/ 163 h 214"/>
                  <a:gd name="T22" fmla="*/ 121 w 150"/>
                  <a:gd name="T23" fmla="*/ 187 h 214"/>
                  <a:gd name="T24" fmla="*/ 131 w 150"/>
                  <a:gd name="T25" fmla="*/ 197 h 214"/>
                  <a:gd name="T26" fmla="*/ 144 w 150"/>
                  <a:gd name="T27" fmla="*/ 197 h 214"/>
                  <a:gd name="T28" fmla="*/ 147 w 150"/>
                  <a:gd name="T29" fmla="*/ 211 h 214"/>
                  <a:gd name="T30" fmla="*/ 136 w 150"/>
                  <a:gd name="T31" fmla="*/ 185 h 214"/>
                  <a:gd name="T32" fmla="*/ 139 w 150"/>
                  <a:gd name="T33" fmla="*/ 171 h 214"/>
                  <a:gd name="T34" fmla="*/ 117 w 150"/>
                  <a:gd name="T35" fmla="*/ 158 h 214"/>
                  <a:gd name="T36" fmla="*/ 109 w 150"/>
                  <a:gd name="T37" fmla="*/ 157 h 214"/>
                  <a:gd name="T38" fmla="*/ 85 w 150"/>
                  <a:gd name="T39" fmla="*/ 154 h 214"/>
                  <a:gd name="T40" fmla="*/ 73 w 150"/>
                  <a:gd name="T41" fmla="*/ 158 h 214"/>
                  <a:gd name="T42" fmla="*/ 56 w 150"/>
                  <a:gd name="T43" fmla="*/ 109 h 214"/>
                  <a:gd name="T44" fmla="*/ 73 w 150"/>
                  <a:gd name="T45" fmla="*/ 83 h 214"/>
                  <a:gd name="T46" fmla="*/ 75 w 150"/>
                  <a:gd name="T47" fmla="*/ 75 h 214"/>
                  <a:gd name="T48" fmla="*/ 76 w 150"/>
                  <a:gd name="T49" fmla="*/ 47 h 214"/>
                  <a:gd name="T50" fmla="*/ 67 w 150"/>
                  <a:gd name="T51" fmla="*/ 15 h 214"/>
                  <a:gd name="T52" fmla="*/ 56 w 150"/>
                  <a:gd name="T53" fmla="*/ 13 h 214"/>
                  <a:gd name="T54" fmla="*/ 42 w 150"/>
                  <a:gd name="T55" fmla="*/ 7 h 214"/>
                  <a:gd name="T56" fmla="*/ 20 w 150"/>
                  <a:gd name="T57" fmla="*/ 1 h 214"/>
                  <a:gd name="T58" fmla="*/ 15 w 150"/>
                  <a:gd name="T59" fmla="*/ 10 h 214"/>
                  <a:gd name="T60" fmla="*/ 17 w 150"/>
                  <a:gd name="T61" fmla="*/ 61 h 214"/>
                  <a:gd name="T62" fmla="*/ 4 w 150"/>
                  <a:gd name="T63" fmla="*/ 78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0" h="214">
                    <a:moveTo>
                      <a:pt x="2" y="87"/>
                    </a:moveTo>
                    <a:cubicBezTo>
                      <a:pt x="1" y="93"/>
                      <a:pt x="6" y="93"/>
                      <a:pt x="6" y="96"/>
                    </a:cubicBezTo>
                    <a:cubicBezTo>
                      <a:pt x="7" y="102"/>
                      <a:pt x="8" y="109"/>
                      <a:pt x="11" y="114"/>
                    </a:cubicBezTo>
                    <a:cubicBezTo>
                      <a:pt x="13" y="118"/>
                      <a:pt x="15" y="122"/>
                      <a:pt x="15" y="128"/>
                    </a:cubicBezTo>
                    <a:cubicBezTo>
                      <a:pt x="16" y="131"/>
                      <a:pt x="21" y="138"/>
                      <a:pt x="20" y="131"/>
                    </a:cubicBezTo>
                    <a:cubicBezTo>
                      <a:pt x="26" y="133"/>
                      <a:pt x="23" y="143"/>
                      <a:pt x="29" y="145"/>
                    </a:cubicBezTo>
                    <a:cubicBezTo>
                      <a:pt x="38" y="148"/>
                      <a:pt x="31" y="136"/>
                      <a:pt x="31" y="132"/>
                    </a:cubicBezTo>
                    <a:cubicBezTo>
                      <a:pt x="33" y="133"/>
                      <a:pt x="52" y="139"/>
                      <a:pt x="45" y="145"/>
                    </a:cubicBezTo>
                    <a:cubicBezTo>
                      <a:pt x="42" y="147"/>
                      <a:pt x="40" y="149"/>
                      <a:pt x="37" y="151"/>
                    </a:cubicBezTo>
                    <a:cubicBezTo>
                      <a:pt x="33" y="155"/>
                      <a:pt x="37" y="163"/>
                      <a:pt x="38" y="167"/>
                    </a:cubicBezTo>
                    <a:cubicBezTo>
                      <a:pt x="40" y="167"/>
                      <a:pt x="41" y="166"/>
                      <a:pt x="40" y="163"/>
                    </a:cubicBezTo>
                    <a:cubicBezTo>
                      <a:pt x="45" y="163"/>
                      <a:pt x="48" y="166"/>
                      <a:pt x="47" y="171"/>
                    </a:cubicBezTo>
                    <a:cubicBezTo>
                      <a:pt x="48" y="165"/>
                      <a:pt x="52" y="171"/>
                      <a:pt x="51" y="174"/>
                    </a:cubicBezTo>
                    <a:cubicBezTo>
                      <a:pt x="54" y="173"/>
                      <a:pt x="58" y="175"/>
                      <a:pt x="61" y="173"/>
                    </a:cubicBezTo>
                    <a:cubicBezTo>
                      <a:pt x="63" y="170"/>
                      <a:pt x="63" y="167"/>
                      <a:pt x="66" y="165"/>
                    </a:cubicBezTo>
                    <a:cubicBezTo>
                      <a:pt x="66" y="165"/>
                      <a:pt x="71" y="162"/>
                      <a:pt x="72" y="162"/>
                    </a:cubicBezTo>
                    <a:cubicBezTo>
                      <a:pt x="75" y="165"/>
                      <a:pt x="80" y="167"/>
                      <a:pt x="84" y="170"/>
                    </a:cubicBezTo>
                    <a:cubicBezTo>
                      <a:pt x="88" y="174"/>
                      <a:pt x="96" y="180"/>
                      <a:pt x="98" y="186"/>
                    </a:cubicBezTo>
                    <a:cubicBezTo>
                      <a:pt x="98" y="188"/>
                      <a:pt x="102" y="191"/>
                      <a:pt x="102" y="187"/>
                    </a:cubicBezTo>
                    <a:cubicBezTo>
                      <a:pt x="102" y="186"/>
                      <a:pt x="102" y="184"/>
                      <a:pt x="101" y="182"/>
                    </a:cubicBezTo>
                    <a:cubicBezTo>
                      <a:pt x="100" y="181"/>
                      <a:pt x="96" y="175"/>
                      <a:pt x="98" y="176"/>
                    </a:cubicBezTo>
                    <a:cubicBezTo>
                      <a:pt x="94" y="173"/>
                      <a:pt x="95" y="167"/>
                      <a:pt x="92" y="163"/>
                    </a:cubicBezTo>
                    <a:cubicBezTo>
                      <a:pt x="98" y="162"/>
                      <a:pt x="104" y="169"/>
                      <a:pt x="107" y="174"/>
                    </a:cubicBezTo>
                    <a:cubicBezTo>
                      <a:pt x="111" y="180"/>
                      <a:pt x="118" y="180"/>
                      <a:pt x="121" y="187"/>
                    </a:cubicBezTo>
                    <a:cubicBezTo>
                      <a:pt x="122" y="189"/>
                      <a:pt x="120" y="193"/>
                      <a:pt x="123" y="193"/>
                    </a:cubicBezTo>
                    <a:cubicBezTo>
                      <a:pt x="126" y="194"/>
                      <a:pt x="128" y="196"/>
                      <a:pt x="131" y="197"/>
                    </a:cubicBezTo>
                    <a:cubicBezTo>
                      <a:pt x="133" y="198"/>
                      <a:pt x="135" y="201"/>
                      <a:pt x="137" y="200"/>
                    </a:cubicBezTo>
                    <a:cubicBezTo>
                      <a:pt x="139" y="199"/>
                      <a:pt x="142" y="196"/>
                      <a:pt x="144" y="197"/>
                    </a:cubicBezTo>
                    <a:cubicBezTo>
                      <a:pt x="144" y="200"/>
                      <a:pt x="137" y="202"/>
                      <a:pt x="140" y="206"/>
                    </a:cubicBezTo>
                    <a:cubicBezTo>
                      <a:pt x="141" y="207"/>
                      <a:pt x="146" y="214"/>
                      <a:pt x="147" y="211"/>
                    </a:cubicBezTo>
                    <a:cubicBezTo>
                      <a:pt x="150" y="205"/>
                      <a:pt x="147" y="184"/>
                      <a:pt x="136" y="192"/>
                    </a:cubicBezTo>
                    <a:cubicBezTo>
                      <a:pt x="135" y="189"/>
                      <a:pt x="136" y="188"/>
                      <a:pt x="136" y="185"/>
                    </a:cubicBezTo>
                    <a:cubicBezTo>
                      <a:pt x="135" y="182"/>
                      <a:pt x="131" y="178"/>
                      <a:pt x="128" y="177"/>
                    </a:cubicBezTo>
                    <a:cubicBezTo>
                      <a:pt x="121" y="173"/>
                      <a:pt x="136" y="169"/>
                      <a:pt x="139" y="171"/>
                    </a:cubicBezTo>
                    <a:cubicBezTo>
                      <a:pt x="139" y="167"/>
                      <a:pt x="132" y="165"/>
                      <a:pt x="128" y="165"/>
                    </a:cubicBezTo>
                    <a:cubicBezTo>
                      <a:pt x="122" y="164"/>
                      <a:pt x="121" y="159"/>
                      <a:pt x="117" y="158"/>
                    </a:cubicBezTo>
                    <a:cubicBezTo>
                      <a:pt x="115" y="162"/>
                      <a:pt x="123" y="168"/>
                      <a:pt x="117" y="170"/>
                    </a:cubicBezTo>
                    <a:cubicBezTo>
                      <a:pt x="112" y="172"/>
                      <a:pt x="111" y="161"/>
                      <a:pt x="109" y="157"/>
                    </a:cubicBezTo>
                    <a:cubicBezTo>
                      <a:pt x="104" y="150"/>
                      <a:pt x="87" y="144"/>
                      <a:pt x="87" y="157"/>
                    </a:cubicBezTo>
                    <a:cubicBezTo>
                      <a:pt x="87" y="156"/>
                      <a:pt x="86" y="155"/>
                      <a:pt x="85" y="154"/>
                    </a:cubicBezTo>
                    <a:cubicBezTo>
                      <a:pt x="81" y="157"/>
                      <a:pt x="89" y="160"/>
                      <a:pt x="87" y="162"/>
                    </a:cubicBezTo>
                    <a:cubicBezTo>
                      <a:pt x="83" y="166"/>
                      <a:pt x="76" y="161"/>
                      <a:pt x="73" y="158"/>
                    </a:cubicBezTo>
                    <a:cubicBezTo>
                      <a:pt x="70" y="155"/>
                      <a:pt x="60" y="137"/>
                      <a:pt x="68" y="137"/>
                    </a:cubicBezTo>
                    <a:cubicBezTo>
                      <a:pt x="60" y="132"/>
                      <a:pt x="53" y="118"/>
                      <a:pt x="56" y="109"/>
                    </a:cubicBezTo>
                    <a:cubicBezTo>
                      <a:pt x="59" y="104"/>
                      <a:pt x="56" y="99"/>
                      <a:pt x="58" y="94"/>
                    </a:cubicBezTo>
                    <a:cubicBezTo>
                      <a:pt x="60" y="88"/>
                      <a:pt x="68" y="87"/>
                      <a:pt x="73" y="83"/>
                    </a:cubicBezTo>
                    <a:cubicBezTo>
                      <a:pt x="72" y="85"/>
                      <a:pt x="72" y="86"/>
                      <a:pt x="71" y="88"/>
                    </a:cubicBezTo>
                    <a:cubicBezTo>
                      <a:pt x="75" y="84"/>
                      <a:pt x="73" y="79"/>
                      <a:pt x="75" y="75"/>
                    </a:cubicBezTo>
                    <a:cubicBezTo>
                      <a:pt x="78" y="67"/>
                      <a:pt x="81" y="60"/>
                      <a:pt x="79" y="52"/>
                    </a:cubicBezTo>
                    <a:cubicBezTo>
                      <a:pt x="75" y="54"/>
                      <a:pt x="77" y="48"/>
                      <a:pt x="76" y="47"/>
                    </a:cubicBezTo>
                    <a:cubicBezTo>
                      <a:pt x="72" y="42"/>
                      <a:pt x="68" y="41"/>
                      <a:pt x="66" y="34"/>
                    </a:cubicBezTo>
                    <a:cubicBezTo>
                      <a:pt x="64" y="27"/>
                      <a:pt x="64" y="22"/>
                      <a:pt x="67" y="15"/>
                    </a:cubicBezTo>
                    <a:cubicBezTo>
                      <a:pt x="68" y="11"/>
                      <a:pt x="64" y="2"/>
                      <a:pt x="61" y="7"/>
                    </a:cubicBezTo>
                    <a:cubicBezTo>
                      <a:pt x="60" y="9"/>
                      <a:pt x="59" y="13"/>
                      <a:pt x="56" y="13"/>
                    </a:cubicBezTo>
                    <a:cubicBezTo>
                      <a:pt x="54" y="12"/>
                      <a:pt x="49" y="10"/>
                      <a:pt x="47" y="12"/>
                    </a:cubicBezTo>
                    <a:cubicBezTo>
                      <a:pt x="46" y="10"/>
                      <a:pt x="44" y="8"/>
                      <a:pt x="42" y="7"/>
                    </a:cubicBezTo>
                    <a:cubicBezTo>
                      <a:pt x="37" y="4"/>
                      <a:pt x="32" y="0"/>
                      <a:pt x="27" y="2"/>
                    </a:cubicBezTo>
                    <a:cubicBezTo>
                      <a:pt x="24" y="3"/>
                      <a:pt x="22" y="1"/>
                      <a:pt x="20" y="1"/>
                    </a:cubicBezTo>
                    <a:cubicBezTo>
                      <a:pt x="18" y="1"/>
                      <a:pt x="19" y="4"/>
                      <a:pt x="17" y="4"/>
                    </a:cubicBezTo>
                    <a:cubicBezTo>
                      <a:pt x="12" y="4"/>
                      <a:pt x="15" y="7"/>
                      <a:pt x="15" y="10"/>
                    </a:cubicBezTo>
                    <a:cubicBezTo>
                      <a:pt x="15" y="16"/>
                      <a:pt x="13" y="23"/>
                      <a:pt x="12" y="29"/>
                    </a:cubicBezTo>
                    <a:cubicBezTo>
                      <a:pt x="11" y="40"/>
                      <a:pt x="19" y="50"/>
                      <a:pt x="17" y="61"/>
                    </a:cubicBezTo>
                    <a:cubicBezTo>
                      <a:pt x="15" y="71"/>
                      <a:pt x="19" y="78"/>
                      <a:pt x="20" y="86"/>
                    </a:cubicBezTo>
                    <a:cubicBezTo>
                      <a:pt x="22" y="97"/>
                      <a:pt x="5" y="83"/>
                      <a:pt x="4" y="78"/>
                    </a:cubicBezTo>
                    <a:cubicBezTo>
                      <a:pt x="0" y="80"/>
                      <a:pt x="1" y="84"/>
                      <a:pt x="2" y="8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587">
                <a:extLst>
                  <a:ext uri="{FF2B5EF4-FFF2-40B4-BE49-F238E27FC236}">
                    <a16:creationId xmlns:a16="http://schemas.microsoft.com/office/drawing/2014/main" id="{8CCA7BA2-A9CE-4C2F-803B-6BF515D05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3109" y="4344154"/>
                <a:ext cx="40043" cy="26695"/>
              </a:xfrm>
              <a:custGeom>
                <a:avLst/>
                <a:gdLst>
                  <a:gd name="T0" fmla="*/ 8 w 20"/>
                  <a:gd name="T1" fmla="*/ 2 h 11"/>
                  <a:gd name="T2" fmla="*/ 5 w 20"/>
                  <a:gd name="T3" fmla="*/ 0 h 11"/>
                  <a:gd name="T4" fmla="*/ 20 w 20"/>
                  <a:gd name="T5" fmla="*/ 11 h 11"/>
                  <a:gd name="T6" fmla="*/ 17 w 20"/>
                  <a:gd name="T7" fmla="*/ 6 h 11"/>
                  <a:gd name="T8" fmla="*/ 8 w 20"/>
                  <a:gd name="T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1">
                    <a:moveTo>
                      <a:pt x="8" y="2"/>
                    </a:moveTo>
                    <a:cubicBezTo>
                      <a:pt x="8" y="1"/>
                      <a:pt x="7" y="0"/>
                      <a:pt x="5" y="0"/>
                    </a:cubicBezTo>
                    <a:cubicBezTo>
                      <a:pt x="0" y="9"/>
                      <a:pt x="13" y="11"/>
                      <a:pt x="20" y="11"/>
                    </a:cubicBezTo>
                    <a:cubicBezTo>
                      <a:pt x="20" y="9"/>
                      <a:pt x="19" y="7"/>
                      <a:pt x="17" y="6"/>
                    </a:cubicBezTo>
                    <a:cubicBezTo>
                      <a:pt x="14" y="4"/>
                      <a:pt x="12" y="5"/>
                      <a:pt x="8" y="2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588">
                <a:extLst>
                  <a:ext uri="{FF2B5EF4-FFF2-40B4-BE49-F238E27FC236}">
                    <a16:creationId xmlns:a16="http://schemas.microsoft.com/office/drawing/2014/main" id="{F630858B-6121-46ED-967C-A1BA1BC96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3109" y="4344154"/>
                <a:ext cx="40043" cy="26695"/>
              </a:xfrm>
              <a:custGeom>
                <a:avLst/>
                <a:gdLst>
                  <a:gd name="T0" fmla="*/ 8 w 20"/>
                  <a:gd name="T1" fmla="*/ 2 h 11"/>
                  <a:gd name="T2" fmla="*/ 5 w 20"/>
                  <a:gd name="T3" fmla="*/ 0 h 11"/>
                  <a:gd name="T4" fmla="*/ 20 w 20"/>
                  <a:gd name="T5" fmla="*/ 11 h 11"/>
                  <a:gd name="T6" fmla="*/ 17 w 20"/>
                  <a:gd name="T7" fmla="*/ 6 h 11"/>
                  <a:gd name="T8" fmla="*/ 8 w 20"/>
                  <a:gd name="T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1">
                    <a:moveTo>
                      <a:pt x="8" y="2"/>
                    </a:moveTo>
                    <a:cubicBezTo>
                      <a:pt x="8" y="1"/>
                      <a:pt x="7" y="0"/>
                      <a:pt x="5" y="0"/>
                    </a:cubicBezTo>
                    <a:cubicBezTo>
                      <a:pt x="0" y="9"/>
                      <a:pt x="13" y="11"/>
                      <a:pt x="20" y="11"/>
                    </a:cubicBezTo>
                    <a:cubicBezTo>
                      <a:pt x="20" y="9"/>
                      <a:pt x="19" y="7"/>
                      <a:pt x="17" y="6"/>
                    </a:cubicBezTo>
                    <a:cubicBezTo>
                      <a:pt x="14" y="4"/>
                      <a:pt x="12" y="5"/>
                      <a:pt x="8" y="2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589">
                <a:extLst>
                  <a:ext uri="{FF2B5EF4-FFF2-40B4-BE49-F238E27FC236}">
                    <a16:creationId xmlns:a16="http://schemas.microsoft.com/office/drawing/2014/main" id="{B3B93CB4-6403-4A94-A24B-925CC98A4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22007" y="4232928"/>
                <a:ext cx="13349" cy="13349"/>
              </a:xfrm>
              <a:custGeom>
                <a:avLst/>
                <a:gdLst>
                  <a:gd name="T0" fmla="*/ 0 w 7"/>
                  <a:gd name="T1" fmla="*/ 0 h 6"/>
                  <a:gd name="T2" fmla="*/ 7 w 7"/>
                  <a:gd name="T3" fmla="*/ 6 h 6"/>
                  <a:gd name="T4" fmla="*/ 0 w 7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1" y="3"/>
                      <a:pt x="4" y="5"/>
                      <a:pt x="7" y="6"/>
                    </a:cubicBez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590">
                <a:extLst>
                  <a:ext uri="{FF2B5EF4-FFF2-40B4-BE49-F238E27FC236}">
                    <a16:creationId xmlns:a16="http://schemas.microsoft.com/office/drawing/2014/main" id="{2DCA165C-74F2-407D-9372-0528ADD06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22007" y="4232928"/>
                <a:ext cx="13349" cy="13349"/>
              </a:xfrm>
              <a:custGeom>
                <a:avLst/>
                <a:gdLst>
                  <a:gd name="T0" fmla="*/ 0 w 7"/>
                  <a:gd name="T1" fmla="*/ 0 h 6"/>
                  <a:gd name="T2" fmla="*/ 7 w 7"/>
                  <a:gd name="T3" fmla="*/ 6 h 6"/>
                  <a:gd name="T4" fmla="*/ 0 w 7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1" y="3"/>
                      <a:pt x="4" y="5"/>
                      <a:pt x="7" y="6"/>
                    </a:cubicBezTo>
                    <a:cubicBezTo>
                      <a:pt x="7" y="3"/>
                      <a:pt x="4" y="0"/>
                      <a:pt x="0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591">
                <a:extLst>
                  <a:ext uri="{FF2B5EF4-FFF2-40B4-BE49-F238E27FC236}">
                    <a16:creationId xmlns:a16="http://schemas.microsoft.com/office/drawing/2014/main" id="{BF152D22-C252-42FD-AF17-8DA63F18B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26455" y="4375299"/>
                <a:ext cx="13349" cy="17796"/>
              </a:xfrm>
              <a:custGeom>
                <a:avLst/>
                <a:gdLst>
                  <a:gd name="T0" fmla="*/ 4 w 7"/>
                  <a:gd name="T1" fmla="*/ 0 h 9"/>
                  <a:gd name="T2" fmla="*/ 0 w 7"/>
                  <a:gd name="T3" fmla="*/ 1 h 9"/>
                  <a:gd name="T4" fmla="*/ 4 w 7"/>
                  <a:gd name="T5" fmla="*/ 9 h 9"/>
                  <a:gd name="T6" fmla="*/ 4 w 7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4" y="0"/>
                    </a:moveTo>
                    <a:cubicBezTo>
                      <a:pt x="2" y="1"/>
                      <a:pt x="1" y="1"/>
                      <a:pt x="0" y="1"/>
                    </a:cubicBezTo>
                    <a:cubicBezTo>
                      <a:pt x="0" y="5"/>
                      <a:pt x="5" y="5"/>
                      <a:pt x="4" y="9"/>
                    </a:cubicBezTo>
                    <a:cubicBezTo>
                      <a:pt x="7" y="7"/>
                      <a:pt x="4" y="3"/>
                      <a:pt x="4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592">
                <a:extLst>
                  <a:ext uri="{FF2B5EF4-FFF2-40B4-BE49-F238E27FC236}">
                    <a16:creationId xmlns:a16="http://schemas.microsoft.com/office/drawing/2014/main" id="{ACA4AE55-C9E8-4E40-B55F-05A04A7F3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26455" y="4375299"/>
                <a:ext cx="13349" cy="17796"/>
              </a:xfrm>
              <a:custGeom>
                <a:avLst/>
                <a:gdLst>
                  <a:gd name="T0" fmla="*/ 4 w 7"/>
                  <a:gd name="T1" fmla="*/ 0 h 9"/>
                  <a:gd name="T2" fmla="*/ 0 w 7"/>
                  <a:gd name="T3" fmla="*/ 1 h 9"/>
                  <a:gd name="T4" fmla="*/ 4 w 7"/>
                  <a:gd name="T5" fmla="*/ 9 h 9"/>
                  <a:gd name="T6" fmla="*/ 4 w 7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9">
                    <a:moveTo>
                      <a:pt x="4" y="0"/>
                    </a:moveTo>
                    <a:cubicBezTo>
                      <a:pt x="2" y="1"/>
                      <a:pt x="1" y="1"/>
                      <a:pt x="0" y="1"/>
                    </a:cubicBezTo>
                    <a:cubicBezTo>
                      <a:pt x="0" y="5"/>
                      <a:pt x="5" y="5"/>
                      <a:pt x="4" y="9"/>
                    </a:cubicBezTo>
                    <a:cubicBezTo>
                      <a:pt x="7" y="7"/>
                      <a:pt x="4" y="3"/>
                      <a:pt x="4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593">
                <a:extLst>
                  <a:ext uri="{FF2B5EF4-FFF2-40B4-BE49-F238E27FC236}">
                    <a16:creationId xmlns:a16="http://schemas.microsoft.com/office/drawing/2014/main" id="{BE89D089-04CE-4F38-BE01-160F3078F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9803" y="4250725"/>
                <a:ext cx="88982" cy="124575"/>
              </a:xfrm>
              <a:custGeom>
                <a:avLst/>
                <a:gdLst>
                  <a:gd name="T0" fmla="*/ 0 w 41"/>
                  <a:gd name="T1" fmla="*/ 5 h 58"/>
                  <a:gd name="T2" fmla="*/ 8 w 41"/>
                  <a:gd name="T3" fmla="*/ 13 h 58"/>
                  <a:gd name="T4" fmla="*/ 18 w 41"/>
                  <a:gd name="T5" fmla="*/ 30 h 58"/>
                  <a:gd name="T6" fmla="*/ 37 w 41"/>
                  <a:gd name="T7" fmla="*/ 43 h 58"/>
                  <a:gd name="T8" fmla="*/ 40 w 41"/>
                  <a:gd name="T9" fmla="*/ 35 h 58"/>
                  <a:gd name="T10" fmla="*/ 38 w 41"/>
                  <a:gd name="T11" fmla="*/ 26 h 58"/>
                  <a:gd name="T12" fmla="*/ 29 w 41"/>
                  <a:gd name="T13" fmla="*/ 8 h 58"/>
                  <a:gd name="T14" fmla="*/ 0 w 41"/>
                  <a:gd name="T15" fmla="*/ 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58">
                    <a:moveTo>
                      <a:pt x="0" y="5"/>
                    </a:moveTo>
                    <a:cubicBezTo>
                      <a:pt x="0" y="7"/>
                      <a:pt x="7" y="12"/>
                      <a:pt x="8" y="13"/>
                    </a:cubicBezTo>
                    <a:cubicBezTo>
                      <a:pt x="15" y="18"/>
                      <a:pt x="13" y="25"/>
                      <a:pt x="18" y="30"/>
                    </a:cubicBezTo>
                    <a:cubicBezTo>
                      <a:pt x="20" y="33"/>
                      <a:pt x="34" y="58"/>
                      <a:pt x="37" y="43"/>
                    </a:cubicBezTo>
                    <a:cubicBezTo>
                      <a:pt x="37" y="40"/>
                      <a:pt x="39" y="38"/>
                      <a:pt x="40" y="35"/>
                    </a:cubicBezTo>
                    <a:cubicBezTo>
                      <a:pt x="41" y="31"/>
                      <a:pt x="38" y="29"/>
                      <a:pt x="38" y="26"/>
                    </a:cubicBezTo>
                    <a:cubicBezTo>
                      <a:pt x="38" y="18"/>
                      <a:pt x="34" y="13"/>
                      <a:pt x="29" y="8"/>
                    </a:cubicBezTo>
                    <a:cubicBezTo>
                      <a:pt x="25" y="4"/>
                      <a:pt x="3" y="0"/>
                      <a:pt x="0" y="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Freeform 594">
                <a:extLst>
                  <a:ext uri="{FF2B5EF4-FFF2-40B4-BE49-F238E27FC236}">
                    <a16:creationId xmlns:a16="http://schemas.microsoft.com/office/drawing/2014/main" id="{3679EE57-967E-473F-A625-A5FBC2F41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9803" y="4250725"/>
                <a:ext cx="88982" cy="124575"/>
              </a:xfrm>
              <a:custGeom>
                <a:avLst/>
                <a:gdLst>
                  <a:gd name="T0" fmla="*/ 0 w 41"/>
                  <a:gd name="T1" fmla="*/ 5 h 58"/>
                  <a:gd name="T2" fmla="*/ 8 w 41"/>
                  <a:gd name="T3" fmla="*/ 13 h 58"/>
                  <a:gd name="T4" fmla="*/ 18 w 41"/>
                  <a:gd name="T5" fmla="*/ 30 h 58"/>
                  <a:gd name="T6" fmla="*/ 37 w 41"/>
                  <a:gd name="T7" fmla="*/ 43 h 58"/>
                  <a:gd name="T8" fmla="*/ 40 w 41"/>
                  <a:gd name="T9" fmla="*/ 35 h 58"/>
                  <a:gd name="T10" fmla="*/ 38 w 41"/>
                  <a:gd name="T11" fmla="*/ 26 h 58"/>
                  <a:gd name="T12" fmla="*/ 29 w 41"/>
                  <a:gd name="T13" fmla="*/ 8 h 58"/>
                  <a:gd name="T14" fmla="*/ 0 w 41"/>
                  <a:gd name="T15" fmla="*/ 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58">
                    <a:moveTo>
                      <a:pt x="0" y="5"/>
                    </a:moveTo>
                    <a:cubicBezTo>
                      <a:pt x="0" y="7"/>
                      <a:pt x="7" y="12"/>
                      <a:pt x="8" y="13"/>
                    </a:cubicBezTo>
                    <a:cubicBezTo>
                      <a:pt x="15" y="18"/>
                      <a:pt x="13" y="25"/>
                      <a:pt x="18" y="30"/>
                    </a:cubicBezTo>
                    <a:cubicBezTo>
                      <a:pt x="20" y="33"/>
                      <a:pt x="34" y="58"/>
                      <a:pt x="37" y="43"/>
                    </a:cubicBezTo>
                    <a:cubicBezTo>
                      <a:pt x="37" y="40"/>
                      <a:pt x="39" y="38"/>
                      <a:pt x="40" y="35"/>
                    </a:cubicBezTo>
                    <a:cubicBezTo>
                      <a:pt x="41" y="31"/>
                      <a:pt x="38" y="29"/>
                      <a:pt x="38" y="26"/>
                    </a:cubicBezTo>
                    <a:cubicBezTo>
                      <a:pt x="38" y="18"/>
                      <a:pt x="34" y="13"/>
                      <a:pt x="29" y="8"/>
                    </a:cubicBezTo>
                    <a:cubicBezTo>
                      <a:pt x="25" y="4"/>
                      <a:pt x="3" y="0"/>
                      <a:pt x="0" y="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Freeform 595">
                <a:extLst>
                  <a:ext uri="{FF2B5EF4-FFF2-40B4-BE49-F238E27FC236}">
                    <a16:creationId xmlns:a16="http://schemas.microsoft.com/office/drawing/2014/main" id="{DB3566BC-A275-4385-A874-80B58EE74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44251" y="4370849"/>
                <a:ext cx="4450" cy="13349"/>
              </a:xfrm>
              <a:custGeom>
                <a:avLst/>
                <a:gdLst>
                  <a:gd name="T0" fmla="*/ 2 w 2"/>
                  <a:gd name="T1" fmla="*/ 6 h 6"/>
                  <a:gd name="T2" fmla="*/ 1 w 2"/>
                  <a:gd name="T3" fmla="*/ 0 h 6"/>
                  <a:gd name="T4" fmla="*/ 2 w 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cubicBezTo>
                      <a:pt x="2" y="4"/>
                      <a:pt x="2" y="2"/>
                      <a:pt x="1" y="0"/>
                    </a:cubicBezTo>
                    <a:cubicBezTo>
                      <a:pt x="0" y="2"/>
                      <a:pt x="0" y="4"/>
                      <a:pt x="2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596">
                <a:extLst>
                  <a:ext uri="{FF2B5EF4-FFF2-40B4-BE49-F238E27FC236}">
                    <a16:creationId xmlns:a16="http://schemas.microsoft.com/office/drawing/2014/main" id="{4981045D-2DE8-4CA5-B662-A89B6EC0A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44251" y="4370849"/>
                <a:ext cx="4450" cy="13349"/>
              </a:xfrm>
              <a:custGeom>
                <a:avLst/>
                <a:gdLst>
                  <a:gd name="T0" fmla="*/ 2 w 2"/>
                  <a:gd name="T1" fmla="*/ 6 h 6"/>
                  <a:gd name="T2" fmla="*/ 1 w 2"/>
                  <a:gd name="T3" fmla="*/ 0 h 6"/>
                  <a:gd name="T4" fmla="*/ 2 w 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cubicBezTo>
                      <a:pt x="2" y="4"/>
                      <a:pt x="2" y="2"/>
                      <a:pt x="1" y="0"/>
                    </a:cubicBezTo>
                    <a:cubicBezTo>
                      <a:pt x="0" y="2"/>
                      <a:pt x="0" y="4"/>
                      <a:pt x="2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597">
                <a:extLst>
                  <a:ext uri="{FF2B5EF4-FFF2-40B4-BE49-F238E27FC236}">
                    <a16:creationId xmlns:a16="http://schemas.microsoft.com/office/drawing/2014/main" id="{1862CEB5-3713-4CC6-B36C-25F3424CF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3149" y="4864700"/>
                <a:ext cx="31145" cy="26695"/>
              </a:xfrm>
              <a:custGeom>
                <a:avLst/>
                <a:gdLst>
                  <a:gd name="T0" fmla="*/ 3 w 15"/>
                  <a:gd name="T1" fmla="*/ 13 h 13"/>
                  <a:gd name="T2" fmla="*/ 15 w 15"/>
                  <a:gd name="T3" fmla="*/ 5 h 13"/>
                  <a:gd name="T4" fmla="*/ 8 w 15"/>
                  <a:gd name="T5" fmla="*/ 6 h 13"/>
                  <a:gd name="T6" fmla="*/ 3 w 15"/>
                  <a:gd name="T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3">
                    <a:moveTo>
                      <a:pt x="3" y="13"/>
                    </a:moveTo>
                    <a:cubicBezTo>
                      <a:pt x="5" y="12"/>
                      <a:pt x="15" y="6"/>
                      <a:pt x="15" y="5"/>
                    </a:cubicBezTo>
                    <a:cubicBezTo>
                      <a:pt x="13" y="0"/>
                      <a:pt x="10" y="4"/>
                      <a:pt x="8" y="6"/>
                    </a:cubicBezTo>
                    <a:cubicBezTo>
                      <a:pt x="5" y="8"/>
                      <a:pt x="0" y="8"/>
                      <a:pt x="3" y="13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598">
                <a:extLst>
                  <a:ext uri="{FF2B5EF4-FFF2-40B4-BE49-F238E27FC236}">
                    <a16:creationId xmlns:a16="http://schemas.microsoft.com/office/drawing/2014/main" id="{6D0B0E2A-FD3B-4E7E-97DA-DE4781B44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3149" y="4864700"/>
                <a:ext cx="31145" cy="26695"/>
              </a:xfrm>
              <a:custGeom>
                <a:avLst/>
                <a:gdLst>
                  <a:gd name="T0" fmla="*/ 3 w 15"/>
                  <a:gd name="T1" fmla="*/ 13 h 13"/>
                  <a:gd name="T2" fmla="*/ 15 w 15"/>
                  <a:gd name="T3" fmla="*/ 5 h 13"/>
                  <a:gd name="T4" fmla="*/ 8 w 15"/>
                  <a:gd name="T5" fmla="*/ 6 h 13"/>
                  <a:gd name="T6" fmla="*/ 3 w 15"/>
                  <a:gd name="T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3">
                    <a:moveTo>
                      <a:pt x="3" y="13"/>
                    </a:moveTo>
                    <a:cubicBezTo>
                      <a:pt x="5" y="12"/>
                      <a:pt x="15" y="6"/>
                      <a:pt x="15" y="5"/>
                    </a:cubicBezTo>
                    <a:cubicBezTo>
                      <a:pt x="13" y="0"/>
                      <a:pt x="10" y="4"/>
                      <a:pt x="8" y="6"/>
                    </a:cubicBezTo>
                    <a:cubicBezTo>
                      <a:pt x="5" y="8"/>
                      <a:pt x="0" y="8"/>
                      <a:pt x="3" y="13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599">
                <a:extLst>
                  <a:ext uri="{FF2B5EF4-FFF2-40B4-BE49-F238E27FC236}">
                    <a16:creationId xmlns:a16="http://schemas.microsoft.com/office/drawing/2014/main" id="{46E9FFB7-5131-4D9D-B48B-4A05E87CC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24335" y="4815759"/>
                <a:ext cx="44491" cy="17796"/>
              </a:xfrm>
              <a:custGeom>
                <a:avLst/>
                <a:gdLst>
                  <a:gd name="T0" fmla="*/ 13 w 20"/>
                  <a:gd name="T1" fmla="*/ 8 h 8"/>
                  <a:gd name="T2" fmla="*/ 4 w 20"/>
                  <a:gd name="T3" fmla="*/ 1 h 8"/>
                  <a:gd name="T4" fmla="*/ 2 w 20"/>
                  <a:gd name="T5" fmla="*/ 6 h 8"/>
                  <a:gd name="T6" fmla="*/ 13 w 20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8">
                    <a:moveTo>
                      <a:pt x="13" y="8"/>
                    </a:moveTo>
                    <a:cubicBezTo>
                      <a:pt x="20" y="4"/>
                      <a:pt x="8" y="0"/>
                      <a:pt x="4" y="1"/>
                    </a:cubicBezTo>
                    <a:cubicBezTo>
                      <a:pt x="0" y="1"/>
                      <a:pt x="1" y="7"/>
                      <a:pt x="2" y="6"/>
                    </a:cubicBezTo>
                    <a:cubicBezTo>
                      <a:pt x="4" y="5"/>
                      <a:pt x="11" y="4"/>
                      <a:pt x="13" y="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600">
                <a:extLst>
                  <a:ext uri="{FF2B5EF4-FFF2-40B4-BE49-F238E27FC236}">
                    <a16:creationId xmlns:a16="http://schemas.microsoft.com/office/drawing/2014/main" id="{B747A47F-8381-433A-807A-872A037A2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24335" y="4815759"/>
                <a:ext cx="44491" cy="17796"/>
              </a:xfrm>
              <a:custGeom>
                <a:avLst/>
                <a:gdLst>
                  <a:gd name="T0" fmla="*/ 13 w 20"/>
                  <a:gd name="T1" fmla="*/ 8 h 8"/>
                  <a:gd name="T2" fmla="*/ 4 w 20"/>
                  <a:gd name="T3" fmla="*/ 1 h 8"/>
                  <a:gd name="T4" fmla="*/ 2 w 20"/>
                  <a:gd name="T5" fmla="*/ 6 h 8"/>
                  <a:gd name="T6" fmla="*/ 13 w 20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8">
                    <a:moveTo>
                      <a:pt x="13" y="8"/>
                    </a:moveTo>
                    <a:cubicBezTo>
                      <a:pt x="20" y="4"/>
                      <a:pt x="8" y="0"/>
                      <a:pt x="4" y="1"/>
                    </a:cubicBezTo>
                    <a:cubicBezTo>
                      <a:pt x="0" y="1"/>
                      <a:pt x="1" y="7"/>
                      <a:pt x="2" y="6"/>
                    </a:cubicBezTo>
                    <a:cubicBezTo>
                      <a:pt x="4" y="5"/>
                      <a:pt x="11" y="4"/>
                      <a:pt x="13" y="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601">
                <a:extLst>
                  <a:ext uri="{FF2B5EF4-FFF2-40B4-BE49-F238E27FC236}">
                    <a16:creationId xmlns:a16="http://schemas.microsoft.com/office/drawing/2014/main" id="{797F7AFE-CBFB-4F59-B5F5-E55DE2026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24335" y="4130598"/>
                <a:ext cx="17796" cy="40043"/>
              </a:xfrm>
              <a:custGeom>
                <a:avLst/>
                <a:gdLst>
                  <a:gd name="T0" fmla="*/ 0 w 8"/>
                  <a:gd name="T1" fmla="*/ 6 h 18"/>
                  <a:gd name="T2" fmla="*/ 6 w 8"/>
                  <a:gd name="T3" fmla="*/ 18 h 18"/>
                  <a:gd name="T4" fmla="*/ 0 w 8"/>
                  <a:gd name="T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8">
                    <a:moveTo>
                      <a:pt x="0" y="6"/>
                    </a:moveTo>
                    <a:cubicBezTo>
                      <a:pt x="1" y="10"/>
                      <a:pt x="3" y="16"/>
                      <a:pt x="6" y="18"/>
                    </a:cubicBezTo>
                    <a:cubicBezTo>
                      <a:pt x="8" y="14"/>
                      <a:pt x="7" y="0"/>
                      <a:pt x="0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602">
                <a:extLst>
                  <a:ext uri="{FF2B5EF4-FFF2-40B4-BE49-F238E27FC236}">
                    <a16:creationId xmlns:a16="http://schemas.microsoft.com/office/drawing/2014/main" id="{62DB8004-CEBE-41D0-8C66-6C855C459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24335" y="4130598"/>
                <a:ext cx="17796" cy="40043"/>
              </a:xfrm>
              <a:custGeom>
                <a:avLst/>
                <a:gdLst>
                  <a:gd name="T0" fmla="*/ 0 w 8"/>
                  <a:gd name="T1" fmla="*/ 6 h 18"/>
                  <a:gd name="T2" fmla="*/ 6 w 8"/>
                  <a:gd name="T3" fmla="*/ 18 h 18"/>
                  <a:gd name="T4" fmla="*/ 0 w 8"/>
                  <a:gd name="T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8">
                    <a:moveTo>
                      <a:pt x="0" y="6"/>
                    </a:moveTo>
                    <a:cubicBezTo>
                      <a:pt x="1" y="10"/>
                      <a:pt x="3" y="16"/>
                      <a:pt x="6" y="18"/>
                    </a:cubicBezTo>
                    <a:cubicBezTo>
                      <a:pt x="8" y="14"/>
                      <a:pt x="7" y="0"/>
                      <a:pt x="0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603">
                <a:extLst>
                  <a:ext uri="{FF2B5EF4-FFF2-40B4-BE49-F238E27FC236}">
                    <a16:creationId xmlns:a16="http://schemas.microsoft.com/office/drawing/2014/main" id="{97927E4C-F6E4-44BE-B8D4-17E280542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7683" y="4206234"/>
                <a:ext cx="22247" cy="13349"/>
              </a:xfrm>
              <a:custGeom>
                <a:avLst/>
                <a:gdLst>
                  <a:gd name="T0" fmla="*/ 9 w 9"/>
                  <a:gd name="T1" fmla="*/ 7 h 7"/>
                  <a:gd name="T2" fmla="*/ 0 w 9"/>
                  <a:gd name="T3" fmla="*/ 0 h 7"/>
                  <a:gd name="T4" fmla="*/ 9 w 9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9" y="7"/>
                    </a:moveTo>
                    <a:cubicBezTo>
                      <a:pt x="8" y="3"/>
                      <a:pt x="3" y="1"/>
                      <a:pt x="0" y="0"/>
                    </a:cubicBezTo>
                    <a:cubicBezTo>
                      <a:pt x="2" y="3"/>
                      <a:pt x="6" y="5"/>
                      <a:pt x="9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604">
                <a:extLst>
                  <a:ext uri="{FF2B5EF4-FFF2-40B4-BE49-F238E27FC236}">
                    <a16:creationId xmlns:a16="http://schemas.microsoft.com/office/drawing/2014/main" id="{A61C52C3-6B41-4753-AE0A-FAFD110B3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7683" y="4206234"/>
                <a:ext cx="22247" cy="13349"/>
              </a:xfrm>
              <a:custGeom>
                <a:avLst/>
                <a:gdLst>
                  <a:gd name="T0" fmla="*/ 9 w 9"/>
                  <a:gd name="T1" fmla="*/ 7 h 7"/>
                  <a:gd name="T2" fmla="*/ 0 w 9"/>
                  <a:gd name="T3" fmla="*/ 0 h 7"/>
                  <a:gd name="T4" fmla="*/ 9 w 9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9" y="7"/>
                    </a:moveTo>
                    <a:cubicBezTo>
                      <a:pt x="8" y="3"/>
                      <a:pt x="3" y="1"/>
                      <a:pt x="0" y="0"/>
                    </a:cubicBezTo>
                    <a:cubicBezTo>
                      <a:pt x="2" y="3"/>
                      <a:pt x="6" y="5"/>
                      <a:pt x="9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605">
                <a:extLst>
                  <a:ext uri="{FF2B5EF4-FFF2-40B4-BE49-F238E27FC236}">
                    <a16:creationId xmlns:a16="http://schemas.microsoft.com/office/drawing/2014/main" id="{637E9D26-295D-4680-9B72-20CC9DFAA4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7683" y="4250725"/>
                <a:ext cx="22247" cy="35593"/>
              </a:xfrm>
              <a:custGeom>
                <a:avLst/>
                <a:gdLst>
                  <a:gd name="T0" fmla="*/ 0 w 10"/>
                  <a:gd name="T1" fmla="*/ 5 h 16"/>
                  <a:gd name="T2" fmla="*/ 10 w 10"/>
                  <a:gd name="T3" fmla="*/ 7 h 16"/>
                  <a:gd name="T4" fmla="*/ 0 w 10"/>
                  <a:gd name="T5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6">
                    <a:moveTo>
                      <a:pt x="0" y="5"/>
                    </a:moveTo>
                    <a:cubicBezTo>
                      <a:pt x="0" y="11"/>
                      <a:pt x="10" y="16"/>
                      <a:pt x="10" y="7"/>
                    </a:cubicBezTo>
                    <a:cubicBezTo>
                      <a:pt x="10" y="2"/>
                      <a:pt x="2" y="0"/>
                      <a:pt x="0" y="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606">
                <a:extLst>
                  <a:ext uri="{FF2B5EF4-FFF2-40B4-BE49-F238E27FC236}">
                    <a16:creationId xmlns:a16="http://schemas.microsoft.com/office/drawing/2014/main" id="{48335DEF-E397-4DF6-BE8C-C5DC6FC9A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37683" y="4250725"/>
                <a:ext cx="22247" cy="35593"/>
              </a:xfrm>
              <a:custGeom>
                <a:avLst/>
                <a:gdLst>
                  <a:gd name="T0" fmla="*/ 0 w 10"/>
                  <a:gd name="T1" fmla="*/ 5 h 16"/>
                  <a:gd name="T2" fmla="*/ 10 w 10"/>
                  <a:gd name="T3" fmla="*/ 7 h 16"/>
                  <a:gd name="T4" fmla="*/ 0 w 10"/>
                  <a:gd name="T5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6">
                    <a:moveTo>
                      <a:pt x="0" y="5"/>
                    </a:moveTo>
                    <a:cubicBezTo>
                      <a:pt x="0" y="11"/>
                      <a:pt x="10" y="16"/>
                      <a:pt x="10" y="7"/>
                    </a:cubicBezTo>
                    <a:cubicBezTo>
                      <a:pt x="10" y="2"/>
                      <a:pt x="2" y="0"/>
                      <a:pt x="0" y="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607">
                <a:extLst>
                  <a:ext uri="{FF2B5EF4-FFF2-40B4-BE49-F238E27FC236}">
                    <a16:creationId xmlns:a16="http://schemas.microsoft.com/office/drawing/2014/main" id="{506127A4-9FF5-4B18-BD2B-79AC156F24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1029" y="4157292"/>
                <a:ext cx="8898" cy="8898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2 h 4"/>
                  <a:gd name="T4" fmla="*/ 3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cubicBezTo>
                      <a:pt x="4" y="1"/>
                      <a:pt x="3" y="0"/>
                      <a:pt x="0" y="2"/>
                    </a:cubicBezTo>
                    <a:cubicBezTo>
                      <a:pt x="1" y="2"/>
                      <a:pt x="2" y="3"/>
                      <a:pt x="3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608">
                <a:extLst>
                  <a:ext uri="{FF2B5EF4-FFF2-40B4-BE49-F238E27FC236}">
                    <a16:creationId xmlns:a16="http://schemas.microsoft.com/office/drawing/2014/main" id="{41FEF51F-271B-4E5C-ACD9-7ED20DD21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1029" y="4157292"/>
                <a:ext cx="8898" cy="8898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2 h 4"/>
                  <a:gd name="T4" fmla="*/ 3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cubicBezTo>
                      <a:pt x="4" y="1"/>
                      <a:pt x="3" y="0"/>
                      <a:pt x="0" y="2"/>
                    </a:cubicBezTo>
                    <a:cubicBezTo>
                      <a:pt x="1" y="2"/>
                      <a:pt x="2" y="3"/>
                      <a:pt x="3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609">
                <a:extLst>
                  <a:ext uri="{FF2B5EF4-FFF2-40B4-BE49-F238E27FC236}">
                    <a16:creationId xmlns:a16="http://schemas.microsoft.com/office/drawing/2014/main" id="{4EA70B05-12B4-4B22-BD4D-8552DECDF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5480" y="4375299"/>
                <a:ext cx="93432" cy="115677"/>
              </a:xfrm>
              <a:custGeom>
                <a:avLst/>
                <a:gdLst>
                  <a:gd name="T0" fmla="*/ 0 w 42"/>
                  <a:gd name="T1" fmla="*/ 6 h 53"/>
                  <a:gd name="T2" fmla="*/ 7 w 42"/>
                  <a:gd name="T3" fmla="*/ 22 h 53"/>
                  <a:gd name="T4" fmla="*/ 6 w 42"/>
                  <a:gd name="T5" fmla="*/ 36 h 53"/>
                  <a:gd name="T6" fmla="*/ 6 w 42"/>
                  <a:gd name="T7" fmla="*/ 52 h 53"/>
                  <a:gd name="T8" fmla="*/ 20 w 42"/>
                  <a:gd name="T9" fmla="*/ 44 h 53"/>
                  <a:gd name="T10" fmla="*/ 30 w 42"/>
                  <a:gd name="T11" fmla="*/ 35 h 53"/>
                  <a:gd name="T12" fmla="*/ 40 w 42"/>
                  <a:gd name="T13" fmla="*/ 25 h 53"/>
                  <a:gd name="T14" fmla="*/ 32 w 42"/>
                  <a:gd name="T15" fmla="*/ 18 h 53"/>
                  <a:gd name="T16" fmla="*/ 28 w 42"/>
                  <a:gd name="T17" fmla="*/ 12 h 53"/>
                  <a:gd name="T18" fmla="*/ 21 w 42"/>
                  <a:gd name="T19" fmla="*/ 14 h 53"/>
                  <a:gd name="T20" fmla="*/ 13 w 42"/>
                  <a:gd name="T21" fmla="*/ 6 h 53"/>
                  <a:gd name="T22" fmla="*/ 2 w 42"/>
                  <a:gd name="T23" fmla="*/ 0 h 53"/>
                  <a:gd name="T24" fmla="*/ 0 w 42"/>
                  <a:gd name="T25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53">
                    <a:moveTo>
                      <a:pt x="0" y="6"/>
                    </a:moveTo>
                    <a:cubicBezTo>
                      <a:pt x="9" y="8"/>
                      <a:pt x="7" y="15"/>
                      <a:pt x="7" y="22"/>
                    </a:cubicBezTo>
                    <a:cubicBezTo>
                      <a:pt x="6" y="27"/>
                      <a:pt x="7" y="31"/>
                      <a:pt x="6" y="36"/>
                    </a:cubicBezTo>
                    <a:cubicBezTo>
                      <a:pt x="4" y="41"/>
                      <a:pt x="8" y="47"/>
                      <a:pt x="6" y="52"/>
                    </a:cubicBezTo>
                    <a:cubicBezTo>
                      <a:pt x="11" y="53"/>
                      <a:pt x="14" y="44"/>
                      <a:pt x="20" y="44"/>
                    </a:cubicBezTo>
                    <a:cubicBezTo>
                      <a:pt x="24" y="44"/>
                      <a:pt x="31" y="38"/>
                      <a:pt x="30" y="35"/>
                    </a:cubicBezTo>
                    <a:cubicBezTo>
                      <a:pt x="29" y="31"/>
                      <a:pt x="41" y="30"/>
                      <a:pt x="40" y="25"/>
                    </a:cubicBezTo>
                    <a:cubicBezTo>
                      <a:pt x="37" y="19"/>
                      <a:pt x="42" y="10"/>
                      <a:pt x="32" y="18"/>
                    </a:cubicBezTo>
                    <a:cubicBezTo>
                      <a:pt x="34" y="15"/>
                      <a:pt x="31" y="11"/>
                      <a:pt x="28" y="12"/>
                    </a:cubicBezTo>
                    <a:cubicBezTo>
                      <a:pt x="25" y="13"/>
                      <a:pt x="23" y="16"/>
                      <a:pt x="21" y="14"/>
                    </a:cubicBezTo>
                    <a:cubicBezTo>
                      <a:pt x="18" y="11"/>
                      <a:pt x="16" y="8"/>
                      <a:pt x="13" y="6"/>
                    </a:cubicBezTo>
                    <a:cubicBezTo>
                      <a:pt x="9" y="4"/>
                      <a:pt x="5" y="4"/>
                      <a:pt x="2" y="0"/>
                    </a:cubicBezTo>
                    <a:cubicBezTo>
                      <a:pt x="1" y="2"/>
                      <a:pt x="0" y="4"/>
                      <a:pt x="0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610">
                <a:extLst>
                  <a:ext uri="{FF2B5EF4-FFF2-40B4-BE49-F238E27FC236}">
                    <a16:creationId xmlns:a16="http://schemas.microsoft.com/office/drawing/2014/main" id="{FC4CD617-B4CB-4733-B638-3E9D64C51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5480" y="4375299"/>
                <a:ext cx="93432" cy="115677"/>
              </a:xfrm>
              <a:custGeom>
                <a:avLst/>
                <a:gdLst>
                  <a:gd name="T0" fmla="*/ 0 w 42"/>
                  <a:gd name="T1" fmla="*/ 6 h 53"/>
                  <a:gd name="T2" fmla="*/ 7 w 42"/>
                  <a:gd name="T3" fmla="*/ 22 h 53"/>
                  <a:gd name="T4" fmla="*/ 6 w 42"/>
                  <a:gd name="T5" fmla="*/ 36 h 53"/>
                  <a:gd name="T6" fmla="*/ 6 w 42"/>
                  <a:gd name="T7" fmla="*/ 52 h 53"/>
                  <a:gd name="T8" fmla="*/ 20 w 42"/>
                  <a:gd name="T9" fmla="*/ 44 h 53"/>
                  <a:gd name="T10" fmla="*/ 30 w 42"/>
                  <a:gd name="T11" fmla="*/ 35 h 53"/>
                  <a:gd name="T12" fmla="*/ 40 w 42"/>
                  <a:gd name="T13" fmla="*/ 25 h 53"/>
                  <a:gd name="T14" fmla="*/ 32 w 42"/>
                  <a:gd name="T15" fmla="*/ 18 h 53"/>
                  <a:gd name="T16" fmla="*/ 28 w 42"/>
                  <a:gd name="T17" fmla="*/ 12 h 53"/>
                  <a:gd name="T18" fmla="*/ 21 w 42"/>
                  <a:gd name="T19" fmla="*/ 14 h 53"/>
                  <a:gd name="T20" fmla="*/ 13 w 42"/>
                  <a:gd name="T21" fmla="*/ 6 h 53"/>
                  <a:gd name="T22" fmla="*/ 2 w 42"/>
                  <a:gd name="T23" fmla="*/ 0 h 53"/>
                  <a:gd name="T24" fmla="*/ 0 w 42"/>
                  <a:gd name="T25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53">
                    <a:moveTo>
                      <a:pt x="0" y="6"/>
                    </a:moveTo>
                    <a:cubicBezTo>
                      <a:pt x="9" y="8"/>
                      <a:pt x="7" y="15"/>
                      <a:pt x="7" y="22"/>
                    </a:cubicBezTo>
                    <a:cubicBezTo>
                      <a:pt x="6" y="27"/>
                      <a:pt x="7" y="31"/>
                      <a:pt x="6" y="36"/>
                    </a:cubicBezTo>
                    <a:cubicBezTo>
                      <a:pt x="4" y="41"/>
                      <a:pt x="8" y="47"/>
                      <a:pt x="6" y="52"/>
                    </a:cubicBezTo>
                    <a:cubicBezTo>
                      <a:pt x="11" y="53"/>
                      <a:pt x="14" y="44"/>
                      <a:pt x="20" y="44"/>
                    </a:cubicBezTo>
                    <a:cubicBezTo>
                      <a:pt x="24" y="44"/>
                      <a:pt x="31" y="38"/>
                      <a:pt x="30" y="35"/>
                    </a:cubicBezTo>
                    <a:cubicBezTo>
                      <a:pt x="29" y="31"/>
                      <a:pt x="41" y="30"/>
                      <a:pt x="40" y="25"/>
                    </a:cubicBezTo>
                    <a:cubicBezTo>
                      <a:pt x="37" y="19"/>
                      <a:pt x="42" y="10"/>
                      <a:pt x="32" y="18"/>
                    </a:cubicBezTo>
                    <a:cubicBezTo>
                      <a:pt x="34" y="15"/>
                      <a:pt x="31" y="11"/>
                      <a:pt x="28" y="12"/>
                    </a:cubicBezTo>
                    <a:cubicBezTo>
                      <a:pt x="25" y="13"/>
                      <a:pt x="23" y="16"/>
                      <a:pt x="21" y="14"/>
                    </a:cubicBezTo>
                    <a:cubicBezTo>
                      <a:pt x="18" y="11"/>
                      <a:pt x="16" y="8"/>
                      <a:pt x="13" y="6"/>
                    </a:cubicBezTo>
                    <a:cubicBezTo>
                      <a:pt x="9" y="4"/>
                      <a:pt x="5" y="4"/>
                      <a:pt x="2" y="0"/>
                    </a:cubicBezTo>
                    <a:cubicBezTo>
                      <a:pt x="1" y="2"/>
                      <a:pt x="0" y="4"/>
                      <a:pt x="0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611">
                <a:extLst>
                  <a:ext uri="{FF2B5EF4-FFF2-40B4-BE49-F238E27FC236}">
                    <a16:creationId xmlns:a16="http://schemas.microsoft.com/office/drawing/2014/main" id="{06836D25-1A33-40B5-914B-C3730FEBE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5480" y="4317460"/>
                <a:ext cx="13349" cy="44491"/>
              </a:xfrm>
              <a:custGeom>
                <a:avLst/>
                <a:gdLst>
                  <a:gd name="T0" fmla="*/ 3 w 7"/>
                  <a:gd name="T1" fmla="*/ 7 h 21"/>
                  <a:gd name="T2" fmla="*/ 4 w 7"/>
                  <a:gd name="T3" fmla="*/ 21 h 21"/>
                  <a:gd name="T4" fmla="*/ 7 w 7"/>
                  <a:gd name="T5" fmla="*/ 3 h 21"/>
                  <a:gd name="T6" fmla="*/ 3 w 7"/>
                  <a:gd name="T7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1">
                    <a:moveTo>
                      <a:pt x="3" y="7"/>
                    </a:moveTo>
                    <a:cubicBezTo>
                      <a:pt x="2" y="12"/>
                      <a:pt x="0" y="16"/>
                      <a:pt x="4" y="21"/>
                    </a:cubicBezTo>
                    <a:cubicBezTo>
                      <a:pt x="5" y="15"/>
                      <a:pt x="5" y="9"/>
                      <a:pt x="7" y="3"/>
                    </a:cubicBezTo>
                    <a:cubicBezTo>
                      <a:pt x="7" y="0"/>
                      <a:pt x="0" y="2"/>
                      <a:pt x="3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612">
                <a:extLst>
                  <a:ext uri="{FF2B5EF4-FFF2-40B4-BE49-F238E27FC236}">
                    <a16:creationId xmlns:a16="http://schemas.microsoft.com/office/drawing/2014/main" id="{2ED21CDA-E926-4E28-921E-D813C6C1D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5480" y="4317460"/>
                <a:ext cx="13349" cy="44491"/>
              </a:xfrm>
              <a:custGeom>
                <a:avLst/>
                <a:gdLst>
                  <a:gd name="T0" fmla="*/ 3 w 7"/>
                  <a:gd name="T1" fmla="*/ 7 h 21"/>
                  <a:gd name="T2" fmla="*/ 4 w 7"/>
                  <a:gd name="T3" fmla="*/ 21 h 21"/>
                  <a:gd name="T4" fmla="*/ 7 w 7"/>
                  <a:gd name="T5" fmla="*/ 3 h 21"/>
                  <a:gd name="T6" fmla="*/ 3 w 7"/>
                  <a:gd name="T7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1">
                    <a:moveTo>
                      <a:pt x="3" y="7"/>
                    </a:moveTo>
                    <a:cubicBezTo>
                      <a:pt x="2" y="12"/>
                      <a:pt x="0" y="16"/>
                      <a:pt x="4" y="21"/>
                    </a:cubicBezTo>
                    <a:cubicBezTo>
                      <a:pt x="5" y="15"/>
                      <a:pt x="5" y="9"/>
                      <a:pt x="7" y="3"/>
                    </a:cubicBezTo>
                    <a:cubicBezTo>
                      <a:pt x="7" y="0"/>
                      <a:pt x="0" y="2"/>
                      <a:pt x="3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613">
                <a:extLst>
                  <a:ext uri="{FF2B5EF4-FFF2-40B4-BE49-F238E27FC236}">
                    <a16:creationId xmlns:a16="http://schemas.microsoft.com/office/drawing/2014/main" id="{C8581103-F901-4B3F-8CAC-FF810D18C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82174" y="4766820"/>
                <a:ext cx="31145" cy="22247"/>
              </a:xfrm>
              <a:custGeom>
                <a:avLst/>
                <a:gdLst>
                  <a:gd name="T0" fmla="*/ 3 w 15"/>
                  <a:gd name="T1" fmla="*/ 7 h 12"/>
                  <a:gd name="T2" fmla="*/ 10 w 15"/>
                  <a:gd name="T3" fmla="*/ 11 h 12"/>
                  <a:gd name="T4" fmla="*/ 15 w 15"/>
                  <a:gd name="T5" fmla="*/ 3 h 12"/>
                  <a:gd name="T6" fmla="*/ 8 w 15"/>
                  <a:gd name="T7" fmla="*/ 0 h 12"/>
                  <a:gd name="T8" fmla="*/ 0 w 15"/>
                  <a:gd name="T9" fmla="*/ 4 h 12"/>
                  <a:gd name="T10" fmla="*/ 3 w 15"/>
                  <a:gd name="T11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2">
                    <a:moveTo>
                      <a:pt x="3" y="7"/>
                    </a:moveTo>
                    <a:cubicBezTo>
                      <a:pt x="4" y="10"/>
                      <a:pt x="7" y="12"/>
                      <a:pt x="10" y="11"/>
                    </a:cubicBezTo>
                    <a:cubicBezTo>
                      <a:pt x="13" y="9"/>
                      <a:pt x="13" y="6"/>
                      <a:pt x="15" y="3"/>
                    </a:cubicBezTo>
                    <a:cubicBezTo>
                      <a:pt x="12" y="3"/>
                      <a:pt x="11" y="1"/>
                      <a:pt x="8" y="0"/>
                    </a:cubicBezTo>
                    <a:cubicBezTo>
                      <a:pt x="5" y="0"/>
                      <a:pt x="3" y="3"/>
                      <a:pt x="0" y="4"/>
                    </a:cubicBezTo>
                    <a:cubicBezTo>
                      <a:pt x="1" y="5"/>
                      <a:pt x="2" y="6"/>
                      <a:pt x="3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Freeform 614">
                <a:extLst>
                  <a:ext uri="{FF2B5EF4-FFF2-40B4-BE49-F238E27FC236}">
                    <a16:creationId xmlns:a16="http://schemas.microsoft.com/office/drawing/2014/main" id="{2C006C87-379F-4455-BE39-A7B6C05CA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82174" y="4766820"/>
                <a:ext cx="31145" cy="22247"/>
              </a:xfrm>
              <a:custGeom>
                <a:avLst/>
                <a:gdLst>
                  <a:gd name="T0" fmla="*/ 3 w 15"/>
                  <a:gd name="T1" fmla="*/ 7 h 12"/>
                  <a:gd name="T2" fmla="*/ 10 w 15"/>
                  <a:gd name="T3" fmla="*/ 11 h 12"/>
                  <a:gd name="T4" fmla="*/ 15 w 15"/>
                  <a:gd name="T5" fmla="*/ 3 h 12"/>
                  <a:gd name="T6" fmla="*/ 8 w 15"/>
                  <a:gd name="T7" fmla="*/ 0 h 12"/>
                  <a:gd name="T8" fmla="*/ 0 w 15"/>
                  <a:gd name="T9" fmla="*/ 4 h 12"/>
                  <a:gd name="T10" fmla="*/ 3 w 15"/>
                  <a:gd name="T11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2">
                    <a:moveTo>
                      <a:pt x="3" y="7"/>
                    </a:moveTo>
                    <a:cubicBezTo>
                      <a:pt x="4" y="10"/>
                      <a:pt x="7" y="12"/>
                      <a:pt x="10" y="11"/>
                    </a:cubicBezTo>
                    <a:cubicBezTo>
                      <a:pt x="13" y="9"/>
                      <a:pt x="13" y="6"/>
                      <a:pt x="15" y="3"/>
                    </a:cubicBezTo>
                    <a:cubicBezTo>
                      <a:pt x="12" y="3"/>
                      <a:pt x="11" y="1"/>
                      <a:pt x="8" y="0"/>
                    </a:cubicBezTo>
                    <a:cubicBezTo>
                      <a:pt x="5" y="0"/>
                      <a:pt x="3" y="3"/>
                      <a:pt x="0" y="4"/>
                    </a:cubicBezTo>
                    <a:cubicBezTo>
                      <a:pt x="1" y="5"/>
                      <a:pt x="2" y="6"/>
                      <a:pt x="3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7" name="Freeform 615">
                <a:extLst>
                  <a:ext uri="{FF2B5EF4-FFF2-40B4-BE49-F238E27FC236}">
                    <a16:creationId xmlns:a16="http://schemas.microsoft.com/office/drawing/2014/main" id="{271A8315-D4A1-48AA-B8BD-58C4CB2C93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82174" y="4535467"/>
                <a:ext cx="315887" cy="324785"/>
              </a:xfrm>
              <a:custGeom>
                <a:avLst/>
                <a:gdLst>
                  <a:gd name="T0" fmla="*/ 2 w 146"/>
                  <a:gd name="T1" fmla="*/ 92 h 151"/>
                  <a:gd name="T2" fmla="*/ 13 w 146"/>
                  <a:gd name="T3" fmla="*/ 94 h 151"/>
                  <a:gd name="T4" fmla="*/ 17 w 146"/>
                  <a:gd name="T5" fmla="*/ 80 h 151"/>
                  <a:gd name="T6" fmla="*/ 25 w 146"/>
                  <a:gd name="T7" fmla="*/ 70 h 151"/>
                  <a:gd name="T8" fmla="*/ 30 w 146"/>
                  <a:gd name="T9" fmla="*/ 81 h 151"/>
                  <a:gd name="T10" fmla="*/ 34 w 146"/>
                  <a:gd name="T11" fmla="*/ 81 h 151"/>
                  <a:gd name="T12" fmla="*/ 38 w 146"/>
                  <a:gd name="T13" fmla="*/ 72 h 151"/>
                  <a:gd name="T14" fmla="*/ 38 w 146"/>
                  <a:gd name="T15" fmla="*/ 79 h 151"/>
                  <a:gd name="T16" fmla="*/ 48 w 146"/>
                  <a:gd name="T17" fmla="*/ 83 h 151"/>
                  <a:gd name="T18" fmla="*/ 45 w 146"/>
                  <a:gd name="T19" fmla="*/ 77 h 151"/>
                  <a:gd name="T20" fmla="*/ 49 w 146"/>
                  <a:gd name="T21" fmla="*/ 74 h 151"/>
                  <a:gd name="T22" fmla="*/ 50 w 146"/>
                  <a:gd name="T23" fmla="*/ 69 h 151"/>
                  <a:gd name="T24" fmla="*/ 57 w 146"/>
                  <a:gd name="T25" fmla="*/ 72 h 151"/>
                  <a:gd name="T26" fmla="*/ 71 w 146"/>
                  <a:gd name="T27" fmla="*/ 85 h 151"/>
                  <a:gd name="T28" fmla="*/ 66 w 146"/>
                  <a:gd name="T29" fmla="*/ 99 h 151"/>
                  <a:gd name="T30" fmla="*/ 69 w 146"/>
                  <a:gd name="T31" fmla="*/ 115 h 151"/>
                  <a:gd name="T32" fmla="*/ 83 w 146"/>
                  <a:gd name="T33" fmla="*/ 131 h 151"/>
                  <a:gd name="T34" fmla="*/ 100 w 146"/>
                  <a:gd name="T35" fmla="*/ 136 h 151"/>
                  <a:gd name="T36" fmla="*/ 106 w 146"/>
                  <a:gd name="T37" fmla="*/ 129 h 151"/>
                  <a:gd name="T38" fmla="*/ 111 w 146"/>
                  <a:gd name="T39" fmla="*/ 146 h 151"/>
                  <a:gd name="T40" fmla="*/ 120 w 146"/>
                  <a:gd name="T41" fmla="*/ 126 h 151"/>
                  <a:gd name="T42" fmla="*/ 110 w 146"/>
                  <a:gd name="T43" fmla="*/ 109 h 151"/>
                  <a:gd name="T44" fmla="*/ 120 w 146"/>
                  <a:gd name="T45" fmla="*/ 86 h 151"/>
                  <a:gd name="T46" fmla="*/ 129 w 146"/>
                  <a:gd name="T47" fmla="*/ 102 h 151"/>
                  <a:gd name="T48" fmla="*/ 130 w 146"/>
                  <a:gd name="T49" fmla="*/ 111 h 151"/>
                  <a:gd name="T50" fmla="*/ 134 w 146"/>
                  <a:gd name="T51" fmla="*/ 122 h 151"/>
                  <a:gd name="T52" fmla="*/ 132 w 146"/>
                  <a:gd name="T53" fmla="*/ 101 h 151"/>
                  <a:gd name="T54" fmla="*/ 138 w 146"/>
                  <a:gd name="T55" fmla="*/ 104 h 151"/>
                  <a:gd name="T56" fmla="*/ 142 w 146"/>
                  <a:gd name="T57" fmla="*/ 93 h 151"/>
                  <a:gd name="T58" fmla="*/ 142 w 146"/>
                  <a:gd name="T59" fmla="*/ 74 h 151"/>
                  <a:gd name="T60" fmla="*/ 137 w 146"/>
                  <a:gd name="T61" fmla="*/ 64 h 151"/>
                  <a:gd name="T62" fmla="*/ 134 w 146"/>
                  <a:gd name="T63" fmla="*/ 55 h 151"/>
                  <a:gd name="T64" fmla="*/ 126 w 146"/>
                  <a:gd name="T65" fmla="*/ 40 h 151"/>
                  <a:gd name="T66" fmla="*/ 132 w 146"/>
                  <a:gd name="T67" fmla="*/ 34 h 151"/>
                  <a:gd name="T68" fmla="*/ 128 w 146"/>
                  <a:gd name="T69" fmla="*/ 25 h 151"/>
                  <a:gd name="T70" fmla="*/ 126 w 146"/>
                  <a:gd name="T71" fmla="*/ 18 h 151"/>
                  <a:gd name="T72" fmla="*/ 119 w 146"/>
                  <a:gd name="T73" fmla="*/ 15 h 151"/>
                  <a:gd name="T74" fmla="*/ 114 w 146"/>
                  <a:gd name="T75" fmla="*/ 9 h 151"/>
                  <a:gd name="T76" fmla="*/ 103 w 146"/>
                  <a:gd name="T77" fmla="*/ 0 h 151"/>
                  <a:gd name="T78" fmla="*/ 107 w 146"/>
                  <a:gd name="T79" fmla="*/ 21 h 151"/>
                  <a:gd name="T80" fmla="*/ 107 w 146"/>
                  <a:gd name="T81" fmla="*/ 28 h 151"/>
                  <a:gd name="T82" fmla="*/ 98 w 146"/>
                  <a:gd name="T83" fmla="*/ 25 h 151"/>
                  <a:gd name="T84" fmla="*/ 90 w 146"/>
                  <a:gd name="T85" fmla="*/ 28 h 151"/>
                  <a:gd name="T86" fmla="*/ 83 w 146"/>
                  <a:gd name="T87" fmla="*/ 44 h 151"/>
                  <a:gd name="T88" fmla="*/ 74 w 146"/>
                  <a:gd name="T89" fmla="*/ 42 h 151"/>
                  <a:gd name="T90" fmla="*/ 70 w 146"/>
                  <a:gd name="T91" fmla="*/ 54 h 151"/>
                  <a:gd name="T92" fmla="*/ 60 w 146"/>
                  <a:gd name="T93" fmla="*/ 58 h 151"/>
                  <a:gd name="T94" fmla="*/ 53 w 146"/>
                  <a:gd name="T95" fmla="*/ 63 h 151"/>
                  <a:gd name="T96" fmla="*/ 56 w 146"/>
                  <a:gd name="T97" fmla="*/ 60 h 151"/>
                  <a:gd name="T98" fmla="*/ 59 w 146"/>
                  <a:gd name="T99" fmla="*/ 53 h 151"/>
                  <a:gd name="T100" fmla="*/ 49 w 146"/>
                  <a:gd name="T101" fmla="*/ 42 h 151"/>
                  <a:gd name="T102" fmla="*/ 44 w 146"/>
                  <a:gd name="T103" fmla="*/ 37 h 151"/>
                  <a:gd name="T104" fmla="*/ 33 w 146"/>
                  <a:gd name="T105" fmla="*/ 46 h 151"/>
                  <a:gd name="T106" fmla="*/ 27 w 146"/>
                  <a:gd name="T107" fmla="*/ 58 h 151"/>
                  <a:gd name="T108" fmla="*/ 8 w 146"/>
                  <a:gd name="T109" fmla="*/ 67 h 151"/>
                  <a:gd name="T110" fmla="*/ 7 w 146"/>
                  <a:gd name="T111" fmla="*/ 78 h 151"/>
                  <a:gd name="T112" fmla="*/ 2 w 146"/>
                  <a:gd name="T113" fmla="*/ 92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6" h="151">
                    <a:moveTo>
                      <a:pt x="2" y="92"/>
                    </a:moveTo>
                    <a:cubicBezTo>
                      <a:pt x="0" y="100"/>
                      <a:pt x="12" y="103"/>
                      <a:pt x="13" y="94"/>
                    </a:cubicBezTo>
                    <a:cubicBezTo>
                      <a:pt x="13" y="90"/>
                      <a:pt x="14" y="81"/>
                      <a:pt x="17" y="80"/>
                    </a:cubicBezTo>
                    <a:cubicBezTo>
                      <a:pt x="19" y="79"/>
                      <a:pt x="21" y="66"/>
                      <a:pt x="25" y="70"/>
                    </a:cubicBezTo>
                    <a:cubicBezTo>
                      <a:pt x="29" y="73"/>
                      <a:pt x="27" y="78"/>
                      <a:pt x="30" y="81"/>
                    </a:cubicBezTo>
                    <a:cubicBezTo>
                      <a:pt x="31" y="76"/>
                      <a:pt x="33" y="79"/>
                      <a:pt x="34" y="81"/>
                    </a:cubicBezTo>
                    <a:cubicBezTo>
                      <a:pt x="35" y="78"/>
                      <a:pt x="34" y="74"/>
                      <a:pt x="38" y="72"/>
                    </a:cubicBezTo>
                    <a:cubicBezTo>
                      <a:pt x="40" y="75"/>
                      <a:pt x="40" y="77"/>
                      <a:pt x="38" y="79"/>
                    </a:cubicBezTo>
                    <a:cubicBezTo>
                      <a:pt x="42" y="79"/>
                      <a:pt x="44" y="84"/>
                      <a:pt x="48" y="83"/>
                    </a:cubicBezTo>
                    <a:cubicBezTo>
                      <a:pt x="47" y="81"/>
                      <a:pt x="45" y="79"/>
                      <a:pt x="45" y="77"/>
                    </a:cubicBezTo>
                    <a:cubicBezTo>
                      <a:pt x="46" y="75"/>
                      <a:pt x="48" y="76"/>
                      <a:pt x="49" y="74"/>
                    </a:cubicBezTo>
                    <a:cubicBezTo>
                      <a:pt x="49" y="71"/>
                      <a:pt x="46" y="72"/>
                      <a:pt x="50" y="69"/>
                    </a:cubicBezTo>
                    <a:cubicBezTo>
                      <a:pt x="53" y="67"/>
                      <a:pt x="55" y="70"/>
                      <a:pt x="57" y="72"/>
                    </a:cubicBezTo>
                    <a:cubicBezTo>
                      <a:pt x="63" y="76"/>
                      <a:pt x="69" y="77"/>
                      <a:pt x="71" y="85"/>
                    </a:cubicBezTo>
                    <a:cubicBezTo>
                      <a:pt x="72" y="90"/>
                      <a:pt x="66" y="94"/>
                      <a:pt x="66" y="99"/>
                    </a:cubicBezTo>
                    <a:cubicBezTo>
                      <a:pt x="65" y="104"/>
                      <a:pt x="68" y="111"/>
                      <a:pt x="69" y="115"/>
                    </a:cubicBezTo>
                    <a:cubicBezTo>
                      <a:pt x="70" y="123"/>
                      <a:pt x="77" y="127"/>
                      <a:pt x="83" y="131"/>
                    </a:cubicBezTo>
                    <a:cubicBezTo>
                      <a:pt x="86" y="132"/>
                      <a:pt x="96" y="139"/>
                      <a:pt x="100" y="136"/>
                    </a:cubicBezTo>
                    <a:cubicBezTo>
                      <a:pt x="102" y="134"/>
                      <a:pt x="101" y="128"/>
                      <a:pt x="106" y="129"/>
                    </a:cubicBezTo>
                    <a:cubicBezTo>
                      <a:pt x="106" y="129"/>
                      <a:pt x="105" y="151"/>
                      <a:pt x="111" y="146"/>
                    </a:cubicBezTo>
                    <a:cubicBezTo>
                      <a:pt x="116" y="143"/>
                      <a:pt x="120" y="132"/>
                      <a:pt x="120" y="126"/>
                    </a:cubicBezTo>
                    <a:cubicBezTo>
                      <a:pt x="119" y="119"/>
                      <a:pt x="113" y="116"/>
                      <a:pt x="110" y="109"/>
                    </a:cubicBezTo>
                    <a:cubicBezTo>
                      <a:pt x="108" y="106"/>
                      <a:pt x="117" y="85"/>
                      <a:pt x="120" y="86"/>
                    </a:cubicBezTo>
                    <a:cubicBezTo>
                      <a:pt x="123" y="87"/>
                      <a:pt x="128" y="99"/>
                      <a:pt x="129" y="102"/>
                    </a:cubicBezTo>
                    <a:cubicBezTo>
                      <a:pt x="130" y="105"/>
                      <a:pt x="130" y="108"/>
                      <a:pt x="130" y="111"/>
                    </a:cubicBezTo>
                    <a:cubicBezTo>
                      <a:pt x="130" y="115"/>
                      <a:pt x="134" y="118"/>
                      <a:pt x="134" y="122"/>
                    </a:cubicBezTo>
                    <a:cubicBezTo>
                      <a:pt x="134" y="115"/>
                      <a:pt x="137" y="107"/>
                      <a:pt x="132" y="101"/>
                    </a:cubicBezTo>
                    <a:cubicBezTo>
                      <a:pt x="135" y="100"/>
                      <a:pt x="137" y="101"/>
                      <a:pt x="138" y="104"/>
                    </a:cubicBezTo>
                    <a:cubicBezTo>
                      <a:pt x="134" y="100"/>
                      <a:pt x="140" y="96"/>
                      <a:pt x="142" y="93"/>
                    </a:cubicBezTo>
                    <a:cubicBezTo>
                      <a:pt x="146" y="88"/>
                      <a:pt x="143" y="80"/>
                      <a:pt x="142" y="74"/>
                    </a:cubicBezTo>
                    <a:cubicBezTo>
                      <a:pt x="141" y="69"/>
                      <a:pt x="135" y="69"/>
                      <a:pt x="137" y="64"/>
                    </a:cubicBezTo>
                    <a:cubicBezTo>
                      <a:pt x="139" y="61"/>
                      <a:pt x="139" y="53"/>
                      <a:pt x="134" y="55"/>
                    </a:cubicBezTo>
                    <a:cubicBezTo>
                      <a:pt x="143" y="47"/>
                      <a:pt x="126" y="45"/>
                      <a:pt x="126" y="40"/>
                    </a:cubicBezTo>
                    <a:cubicBezTo>
                      <a:pt x="126" y="38"/>
                      <a:pt x="131" y="37"/>
                      <a:pt x="132" y="34"/>
                    </a:cubicBezTo>
                    <a:cubicBezTo>
                      <a:pt x="134" y="30"/>
                      <a:pt x="129" y="29"/>
                      <a:pt x="128" y="25"/>
                    </a:cubicBezTo>
                    <a:cubicBezTo>
                      <a:pt x="127" y="24"/>
                      <a:pt x="129" y="16"/>
                      <a:pt x="126" y="18"/>
                    </a:cubicBezTo>
                    <a:cubicBezTo>
                      <a:pt x="122" y="20"/>
                      <a:pt x="121" y="18"/>
                      <a:pt x="119" y="15"/>
                    </a:cubicBezTo>
                    <a:cubicBezTo>
                      <a:pt x="117" y="12"/>
                      <a:pt x="119" y="10"/>
                      <a:pt x="114" y="9"/>
                    </a:cubicBezTo>
                    <a:cubicBezTo>
                      <a:pt x="109" y="7"/>
                      <a:pt x="108" y="2"/>
                      <a:pt x="103" y="0"/>
                    </a:cubicBezTo>
                    <a:cubicBezTo>
                      <a:pt x="100" y="6"/>
                      <a:pt x="105" y="15"/>
                      <a:pt x="107" y="21"/>
                    </a:cubicBezTo>
                    <a:cubicBezTo>
                      <a:pt x="107" y="22"/>
                      <a:pt x="109" y="27"/>
                      <a:pt x="107" y="28"/>
                    </a:cubicBezTo>
                    <a:cubicBezTo>
                      <a:pt x="104" y="29"/>
                      <a:pt x="99" y="28"/>
                      <a:pt x="98" y="25"/>
                    </a:cubicBezTo>
                    <a:cubicBezTo>
                      <a:pt x="95" y="33"/>
                      <a:pt x="98" y="34"/>
                      <a:pt x="90" y="28"/>
                    </a:cubicBezTo>
                    <a:cubicBezTo>
                      <a:pt x="82" y="23"/>
                      <a:pt x="89" y="44"/>
                      <a:pt x="83" y="44"/>
                    </a:cubicBezTo>
                    <a:cubicBezTo>
                      <a:pt x="79" y="45"/>
                      <a:pt x="78" y="40"/>
                      <a:pt x="74" y="42"/>
                    </a:cubicBezTo>
                    <a:cubicBezTo>
                      <a:pt x="70" y="44"/>
                      <a:pt x="71" y="51"/>
                      <a:pt x="70" y="54"/>
                    </a:cubicBezTo>
                    <a:cubicBezTo>
                      <a:pt x="69" y="58"/>
                      <a:pt x="63" y="56"/>
                      <a:pt x="60" y="58"/>
                    </a:cubicBezTo>
                    <a:cubicBezTo>
                      <a:pt x="59" y="60"/>
                      <a:pt x="56" y="63"/>
                      <a:pt x="53" y="63"/>
                    </a:cubicBezTo>
                    <a:cubicBezTo>
                      <a:pt x="51" y="63"/>
                      <a:pt x="56" y="59"/>
                      <a:pt x="56" y="60"/>
                    </a:cubicBezTo>
                    <a:cubicBezTo>
                      <a:pt x="59" y="58"/>
                      <a:pt x="59" y="57"/>
                      <a:pt x="59" y="53"/>
                    </a:cubicBezTo>
                    <a:cubicBezTo>
                      <a:pt x="58" y="50"/>
                      <a:pt x="54" y="36"/>
                      <a:pt x="49" y="42"/>
                    </a:cubicBezTo>
                    <a:cubicBezTo>
                      <a:pt x="48" y="40"/>
                      <a:pt x="47" y="37"/>
                      <a:pt x="44" y="37"/>
                    </a:cubicBezTo>
                    <a:cubicBezTo>
                      <a:pt x="46" y="45"/>
                      <a:pt x="36" y="42"/>
                      <a:pt x="33" y="46"/>
                    </a:cubicBezTo>
                    <a:cubicBezTo>
                      <a:pt x="31" y="52"/>
                      <a:pt x="33" y="56"/>
                      <a:pt x="27" y="58"/>
                    </a:cubicBezTo>
                    <a:cubicBezTo>
                      <a:pt x="20" y="60"/>
                      <a:pt x="11" y="59"/>
                      <a:pt x="8" y="67"/>
                    </a:cubicBezTo>
                    <a:cubicBezTo>
                      <a:pt x="7" y="70"/>
                      <a:pt x="7" y="74"/>
                      <a:pt x="7" y="78"/>
                    </a:cubicBezTo>
                    <a:cubicBezTo>
                      <a:pt x="6" y="83"/>
                      <a:pt x="4" y="87"/>
                      <a:pt x="2" y="92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616">
                <a:extLst>
                  <a:ext uri="{FF2B5EF4-FFF2-40B4-BE49-F238E27FC236}">
                    <a16:creationId xmlns:a16="http://schemas.microsoft.com/office/drawing/2014/main" id="{8326D0FC-1FEA-4155-BDDF-CA2C85BE9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82174" y="4535467"/>
                <a:ext cx="315887" cy="324785"/>
              </a:xfrm>
              <a:custGeom>
                <a:avLst/>
                <a:gdLst>
                  <a:gd name="T0" fmla="*/ 2 w 146"/>
                  <a:gd name="T1" fmla="*/ 92 h 151"/>
                  <a:gd name="T2" fmla="*/ 13 w 146"/>
                  <a:gd name="T3" fmla="*/ 94 h 151"/>
                  <a:gd name="T4" fmla="*/ 17 w 146"/>
                  <a:gd name="T5" fmla="*/ 80 h 151"/>
                  <a:gd name="T6" fmla="*/ 25 w 146"/>
                  <a:gd name="T7" fmla="*/ 70 h 151"/>
                  <a:gd name="T8" fmla="*/ 30 w 146"/>
                  <a:gd name="T9" fmla="*/ 81 h 151"/>
                  <a:gd name="T10" fmla="*/ 34 w 146"/>
                  <a:gd name="T11" fmla="*/ 81 h 151"/>
                  <a:gd name="T12" fmla="*/ 38 w 146"/>
                  <a:gd name="T13" fmla="*/ 72 h 151"/>
                  <a:gd name="T14" fmla="*/ 38 w 146"/>
                  <a:gd name="T15" fmla="*/ 79 h 151"/>
                  <a:gd name="T16" fmla="*/ 48 w 146"/>
                  <a:gd name="T17" fmla="*/ 83 h 151"/>
                  <a:gd name="T18" fmla="*/ 45 w 146"/>
                  <a:gd name="T19" fmla="*/ 77 h 151"/>
                  <a:gd name="T20" fmla="*/ 49 w 146"/>
                  <a:gd name="T21" fmla="*/ 74 h 151"/>
                  <a:gd name="T22" fmla="*/ 50 w 146"/>
                  <a:gd name="T23" fmla="*/ 69 h 151"/>
                  <a:gd name="T24" fmla="*/ 57 w 146"/>
                  <a:gd name="T25" fmla="*/ 72 h 151"/>
                  <a:gd name="T26" fmla="*/ 71 w 146"/>
                  <a:gd name="T27" fmla="*/ 85 h 151"/>
                  <a:gd name="T28" fmla="*/ 66 w 146"/>
                  <a:gd name="T29" fmla="*/ 99 h 151"/>
                  <a:gd name="T30" fmla="*/ 69 w 146"/>
                  <a:gd name="T31" fmla="*/ 115 h 151"/>
                  <a:gd name="T32" fmla="*/ 83 w 146"/>
                  <a:gd name="T33" fmla="*/ 131 h 151"/>
                  <a:gd name="T34" fmla="*/ 100 w 146"/>
                  <a:gd name="T35" fmla="*/ 136 h 151"/>
                  <a:gd name="T36" fmla="*/ 106 w 146"/>
                  <a:gd name="T37" fmla="*/ 129 h 151"/>
                  <a:gd name="T38" fmla="*/ 111 w 146"/>
                  <a:gd name="T39" fmla="*/ 146 h 151"/>
                  <a:gd name="T40" fmla="*/ 120 w 146"/>
                  <a:gd name="T41" fmla="*/ 126 h 151"/>
                  <a:gd name="T42" fmla="*/ 110 w 146"/>
                  <a:gd name="T43" fmla="*/ 109 h 151"/>
                  <a:gd name="T44" fmla="*/ 120 w 146"/>
                  <a:gd name="T45" fmla="*/ 86 h 151"/>
                  <a:gd name="T46" fmla="*/ 129 w 146"/>
                  <a:gd name="T47" fmla="*/ 102 h 151"/>
                  <a:gd name="T48" fmla="*/ 130 w 146"/>
                  <a:gd name="T49" fmla="*/ 111 h 151"/>
                  <a:gd name="T50" fmla="*/ 134 w 146"/>
                  <a:gd name="T51" fmla="*/ 122 h 151"/>
                  <a:gd name="T52" fmla="*/ 132 w 146"/>
                  <a:gd name="T53" fmla="*/ 101 h 151"/>
                  <a:gd name="T54" fmla="*/ 138 w 146"/>
                  <a:gd name="T55" fmla="*/ 104 h 151"/>
                  <a:gd name="T56" fmla="*/ 142 w 146"/>
                  <a:gd name="T57" fmla="*/ 93 h 151"/>
                  <a:gd name="T58" fmla="*/ 142 w 146"/>
                  <a:gd name="T59" fmla="*/ 74 h 151"/>
                  <a:gd name="T60" fmla="*/ 137 w 146"/>
                  <a:gd name="T61" fmla="*/ 64 h 151"/>
                  <a:gd name="T62" fmla="*/ 134 w 146"/>
                  <a:gd name="T63" fmla="*/ 55 h 151"/>
                  <a:gd name="T64" fmla="*/ 126 w 146"/>
                  <a:gd name="T65" fmla="*/ 40 h 151"/>
                  <a:gd name="T66" fmla="*/ 132 w 146"/>
                  <a:gd name="T67" fmla="*/ 34 h 151"/>
                  <a:gd name="T68" fmla="*/ 128 w 146"/>
                  <a:gd name="T69" fmla="*/ 25 h 151"/>
                  <a:gd name="T70" fmla="*/ 126 w 146"/>
                  <a:gd name="T71" fmla="*/ 18 h 151"/>
                  <a:gd name="T72" fmla="*/ 119 w 146"/>
                  <a:gd name="T73" fmla="*/ 15 h 151"/>
                  <a:gd name="T74" fmla="*/ 114 w 146"/>
                  <a:gd name="T75" fmla="*/ 9 h 151"/>
                  <a:gd name="T76" fmla="*/ 103 w 146"/>
                  <a:gd name="T77" fmla="*/ 0 h 151"/>
                  <a:gd name="T78" fmla="*/ 107 w 146"/>
                  <a:gd name="T79" fmla="*/ 21 h 151"/>
                  <a:gd name="T80" fmla="*/ 107 w 146"/>
                  <a:gd name="T81" fmla="*/ 28 h 151"/>
                  <a:gd name="T82" fmla="*/ 98 w 146"/>
                  <a:gd name="T83" fmla="*/ 25 h 151"/>
                  <a:gd name="T84" fmla="*/ 90 w 146"/>
                  <a:gd name="T85" fmla="*/ 28 h 151"/>
                  <a:gd name="T86" fmla="*/ 83 w 146"/>
                  <a:gd name="T87" fmla="*/ 44 h 151"/>
                  <a:gd name="T88" fmla="*/ 74 w 146"/>
                  <a:gd name="T89" fmla="*/ 42 h 151"/>
                  <a:gd name="T90" fmla="*/ 70 w 146"/>
                  <a:gd name="T91" fmla="*/ 54 h 151"/>
                  <a:gd name="T92" fmla="*/ 60 w 146"/>
                  <a:gd name="T93" fmla="*/ 58 h 151"/>
                  <a:gd name="T94" fmla="*/ 53 w 146"/>
                  <a:gd name="T95" fmla="*/ 63 h 151"/>
                  <a:gd name="T96" fmla="*/ 56 w 146"/>
                  <a:gd name="T97" fmla="*/ 60 h 151"/>
                  <a:gd name="T98" fmla="*/ 59 w 146"/>
                  <a:gd name="T99" fmla="*/ 53 h 151"/>
                  <a:gd name="T100" fmla="*/ 49 w 146"/>
                  <a:gd name="T101" fmla="*/ 42 h 151"/>
                  <a:gd name="T102" fmla="*/ 44 w 146"/>
                  <a:gd name="T103" fmla="*/ 37 h 151"/>
                  <a:gd name="T104" fmla="*/ 33 w 146"/>
                  <a:gd name="T105" fmla="*/ 46 h 151"/>
                  <a:gd name="T106" fmla="*/ 27 w 146"/>
                  <a:gd name="T107" fmla="*/ 58 h 151"/>
                  <a:gd name="T108" fmla="*/ 8 w 146"/>
                  <a:gd name="T109" fmla="*/ 67 h 151"/>
                  <a:gd name="T110" fmla="*/ 7 w 146"/>
                  <a:gd name="T111" fmla="*/ 78 h 151"/>
                  <a:gd name="T112" fmla="*/ 2 w 146"/>
                  <a:gd name="T113" fmla="*/ 92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6" h="151">
                    <a:moveTo>
                      <a:pt x="2" y="92"/>
                    </a:moveTo>
                    <a:cubicBezTo>
                      <a:pt x="0" y="100"/>
                      <a:pt x="12" y="103"/>
                      <a:pt x="13" y="94"/>
                    </a:cubicBezTo>
                    <a:cubicBezTo>
                      <a:pt x="13" y="90"/>
                      <a:pt x="14" y="81"/>
                      <a:pt x="17" y="80"/>
                    </a:cubicBezTo>
                    <a:cubicBezTo>
                      <a:pt x="19" y="79"/>
                      <a:pt x="21" y="66"/>
                      <a:pt x="25" y="70"/>
                    </a:cubicBezTo>
                    <a:cubicBezTo>
                      <a:pt x="29" y="73"/>
                      <a:pt x="27" y="78"/>
                      <a:pt x="30" y="81"/>
                    </a:cubicBezTo>
                    <a:cubicBezTo>
                      <a:pt x="31" y="76"/>
                      <a:pt x="33" y="79"/>
                      <a:pt x="34" y="81"/>
                    </a:cubicBezTo>
                    <a:cubicBezTo>
                      <a:pt x="35" y="78"/>
                      <a:pt x="34" y="74"/>
                      <a:pt x="38" y="72"/>
                    </a:cubicBezTo>
                    <a:cubicBezTo>
                      <a:pt x="40" y="75"/>
                      <a:pt x="40" y="77"/>
                      <a:pt x="38" y="79"/>
                    </a:cubicBezTo>
                    <a:cubicBezTo>
                      <a:pt x="42" y="79"/>
                      <a:pt x="44" y="84"/>
                      <a:pt x="48" y="83"/>
                    </a:cubicBezTo>
                    <a:cubicBezTo>
                      <a:pt x="47" y="81"/>
                      <a:pt x="45" y="79"/>
                      <a:pt x="45" y="77"/>
                    </a:cubicBezTo>
                    <a:cubicBezTo>
                      <a:pt x="46" y="75"/>
                      <a:pt x="48" y="76"/>
                      <a:pt x="49" y="74"/>
                    </a:cubicBezTo>
                    <a:cubicBezTo>
                      <a:pt x="49" y="71"/>
                      <a:pt x="46" y="72"/>
                      <a:pt x="50" y="69"/>
                    </a:cubicBezTo>
                    <a:cubicBezTo>
                      <a:pt x="53" y="67"/>
                      <a:pt x="55" y="70"/>
                      <a:pt x="57" y="72"/>
                    </a:cubicBezTo>
                    <a:cubicBezTo>
                      <a:pt x="63" y="76"/>
                      <a:pt x="69" y="77"/>
                      <a:pt x="71" y="85"/>
                    </a:cubicBezTo>
                    <a:cubicBezTo>
                      <a:pt x="72" y="90"/>
                      <a:pt x="66" y="94"/>
                      <a:pt x="66" y="99"/>
                    </a:cubicBezTo>
                    <a:cubicBezTo>
                      <a:pt x="65" y="104"/>
                      <a:pt x="68" y="111"/>
                      <a:pt x="69" y="115"/>
                    </a:cubicBezTo>
                    <a:cubicBezTo>
                      <a:pt x="70" y="123"/>
                      <a:pt x="77" y="127"/>
                      <a:pt x="83" y="131"/>
                    </a:cubicBezTo>
                    <a:cubicBezTo>
                      <a:pt x="86" y="132"/>
                      <a:pt x="96" y="139"/>
                      <a:pt x="100" y="136"/>
                    </a:cubicBezTo>
                    <a:cubicBezTo>
                      <a:pt x="102" y="134"/>
                      <a:pt x="101" y="128"/>
                      <a:pt x="106" y="129"/>
                    </a:cubicBezTo>
                    <a:cubicBezTo>
                      <a:pt x="106" y="129"/>
                      <a:pt x="105" y="151"/>
                      <a:pt x="111" y="146"/>
                    </a:cubicBezTo>
                    <a:cubicBezTo>
                      <a:pt x="116" y="143"/>
                      <a:pt x="120" y="132"/>
                      <a:pt x="120" y="126"/>
                    </a:cubicBezTo>
                    <a:cubicBezTo>
                      <a:pt x="119" y="119"/>
                      <a:pt x="113" y="116"/>
                      <a:pt x="110" y="109"/>
                    </a:cubicBezTo>
                    <a:cubicBezTo>
                      <a:pt x="108" y="106"/>
                      <a:pt x="117" y="85"/>
                      <a:pt x="120" y="86"/>
                    </a:cubicBezTo>
                    <a:cubicBezTo>
                      <a:pt x="123" y="87"/>
                      <a:pt x="128" y="99"/>
                      <a:pt x="129" y="102"/>
                    </a:cubicBezTo>
                    <a:cubicBezTo>
                      <a:pt x="130" y="105"/>
                      <a:pt x="130" y="108"/>
                      <a:pt x="130" y="111"/>
                    </a:cubicBezTo>
                    <a:cubicBezTo>
                      <a:pt x="130" y="115"/>
                      <a:pt x="134" y="118"/>
                      <a:pt x="134" y="122"/>
                    </a:cubicBezTo>
                    <a:cubicBezTo>
                      <a:pt x="134" y="115"/>
                      <a:pt x="137" y="107"/>
                      <a:pt x="132" y="101"/>
                    </a:cubicBezTo>
                    <a:cubicBezTo>
                      <a:pt x="135" y="100"/>
                      <a:pt x="137" y="101"/>
                      <a:pt x="138" y="104"/>
                    </a:cubicBezTo>
                    <a:cubicBezTo>
                      <a:pt x="134" y="100"/>
                      <a:pt x="140" y="96"/>
                      <a:pt x="142" y="93"/>
                    </a:cubicBezTo>
                    <a:cubicBezTo>
                      <a:pt x="146" y="88"/>
                      <a:pt x="143" y="80"/>
                      <a:pt x="142" y="74"/>
                    </a:cubicBezTo>
                    <a:cubicBezTo>
                      <a:pt x="141" y="69"/>
                      <a:pt x="135" y="69"/>
                      <a:pt x="137" y="64"/>
                    </a:cubicBezTo>
                    <a:cubicBezTo>
                      <a:pt x="139" y="61"/>
                      <a:pt x="139" y="53"/>
                      <a:pt x="134" y="55"/>
                    </a:cubicBezTo>
                    <a:cubicBezTo>
                      <a:pt x="143" y="47"/>
                      <a:pt x="126" y="45"/>
                      <a:pt x="126" y="40"/>
                    </a:cubicBezTo>
                    <a:cubicBezTo>
                      <a:pt x="126" y="38"/>
                      <a:pt x="131" y="37"/>
                      <a:pt x="132" y="34"/>
                    </a:cubicBezTo>
                    <a:cubicBezTo>
                      <a:pt x="134" y="30"/>
                      <a:pt x="129" y="29"/>
                      <a:pt x="128" y="25"/>
                    </a:cubicBezTo>
                    <a:cubicBezTo>
                      <a:pt x="127" y="24"/>
                      <a:pt x="129" y="16"/>
                      <a:pt x="126" y="18"/>
                    </a:cubicBezTo>
                    <a:cubicBezTo>
                      <a:pt x="122" y="20"/>
                      <a:pt x="121" y="18"/>
                      <a:pt x="119" y="15"/>
                    </a:cubicBezTo>
                    <a:cubicBezTo>
                      <a:pt x="117" y="12"/>
                      <a:pt x="119" y="10"/>
                      <a:pt x="114" y="9"/>
                    </a:cubicBezTo>
                    <a:cubicBezTo>
                      <a:pt x="109" y="7"/>
                      <a:pt x="108" y="2"/>
                      <a:pt x="103" y="0"/>
                    </a:cubicBezTo>
                    <a:cubicBezTo>
                      <a:pt x="100" y="6"/>
                      <a:pt x="105" y="15"/>
                      <a:pt x="107" y="21"/>
                    </a:cubicBezTo>
                    <a:cubicBezTo>
                      <a:pt x="107" y="22"/>
                      <a:pt x="109" y="27"/>
                      <a:pt x="107" y="28"/>
                    </a:cubicBezTo>
                    <a:cubicBezTo>
                      <a:pt x="104" y="29"/>
                      <a:pt x="99" y="28"/>
                      <a:pt x="98" y="25"/>
                    </a:cubicBezTo>
                    <a:cubicBezTo>
                      <a:pt x="95" y="33"/>
                      <a:pt x="98" y="34"/>
                      <a:pt x="90" y="28"/>
                    </a:cubicBezTo>
                    <a:cubicBezTo>
                      <a:pt x="82" y="23"/>
                      <a:pt x="89" y="44"/>
                      <a:pt x="83" y="44"/>
                    </a:cubicBezTo>
                    <a:cubicBezTo>
                      <a:pt x="79" y="45"/>
                      <a:pt x="78" y="40"/>
                      <a:pt x="74" y="42"/>
                    </a:cubicBezTo>
                    <a:cubicBezTo>
                      <a:pt x="70" y="44"/>
                      <a:pt x="71" y="51"/>
                      <a:pt x="70" y="54"/>
                    </a:cubicBezTo>
                    <a:cubicBezTo>
                      <a:pt x="69" y="58"/>
                      <a:pt x="63" y="56"/>
                      <a:pt x="60" y="58"/>
                    </a:cubicBezTo>
                    <a:cubicBezTo>
                      <a:pt x="59" y="60"/>
                      <a:pt x="56" y="63"/>
                      <a:pt x="53" y="63"/>
                    </a:cubicBezTo>
                    <a:cubicBezTo>
                      <a:pt x="51" y="63"/>
                      <a:pt x="56" y="59"/>
                      <a:pt x="56" y="60"/>
                    </a:cubicBezTo>
                    <a:cubicBezTo>
                      <a:pt x="59" y="58"/>
                      <a:pt x="59" y="57"/>
                      <a:pt x="59" y="53"/>
                    </a:cubicBezTo>
                    <a:cubicBezTo>
                      <a:pt x="58" y="50"/>
                      <a:pt x="54" y="36"/>
                      <a:pt x="49" y="42"/>
                    </a:cubicBezTo>
                    <a:cubicBezTo>
                      <a:pt x="48" y="40"/>
                      <a:pt x="47" y="37"/>
                      <a:pt x="44" y="37"/>
                    </a:cubicBezTo>
                    <a:cubicBezTo>
                      <a:pt x="46" y="45"/>
                      <a:pt x="36" y="42"/>
                      <a:pt x="33" y="46"/>
                    </a:cubicBezTo>
                    <a:cubicBezTo>
                      <a:pt x="31" y="52"/>
                      <a:pt x="33" y="56"/>
                      <a:pt x="27" y="58"/>
                    </a:cubicBezTo>
                    <a:cubicBezTo>
                      <a:pt x="20" y="60"/>
                      <a:pt x="11" y="59"/>
                      <a:pt x="8" y="67"/>
                    </a:cubicBezTo>
                    <a:cubicBezTo>
                      <a:pt x="7" y="70"/>
                      <a:pt x="7" y="74"/>
                      <a:pt x="7" y="78"/>
                    </a:cubicBezTo>
                    <a:cubicBezTo>
                      <a:pt x="6" y="83"/>
                      <a:pt x="4" y="87"/>
                      <a:pt x="2" y="92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617">
                <a:extLst>
                  <a:ext uri="{FF2B5EF4-FFF2-40B4-BE49-F238E27FC236}">
                    <a16:creationId xmlns:a16="http://schemas.microsoft.com/office/drawing/2014/main" id="{9AA272FD-B178-47D8-A67B-4DC18387C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1073" y="4335256"/>
                <a:ext cx="17796" cy="13349"/>
              </a:xfrm>
              <a:custGeom>
                <a:avLst/>
                <a:gdLst>
                  <a:gd name="T0" fmla="*/ 2 w 9"/>
                  <a:gd name="T1" fmla="*/ 0 h 8"/>
                  <a:gd name="T2" fmla="*/ 0 w 9"/>
                  <a:gd name="T3" fmla="*/ 2 h 8"/>
                  <a:gd name="T4" fmla="*/ 7 w 9"/>
                  <a:gd name="T5" fmla="*/ 8 h 8"/>
                  <a:gd name="T6" fmla="*/ 2 w 9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8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2" y="4"/>
                      <a:pt x="5" y="6"/>
                      <a:pt x="7" y="8"/>
                    </a:cubicBezTo>
                    <a:cubicBezTo>
                      <a:pt x="9" y="4"/>
                      <a:pt x="7" y="0"/>
                      <a:pt x="2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618">
                <a:extLst>
                  <a:ext uri="{FF2B5EF4-FFF2-40B4-BE49-F238E27FC236}">
                    <a16:creationId xmlns:a16="http://schemas.microsoft.com/office/drawing/2014/main" id="{336C7C1E-969C-4C82-9BE4-51EC13392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1073" y="4335256"/>
                <a:ext cx="17796" cy="13349"/>
              </a:xfrm>
              <a:custGeom>
                <a:avLst/>
                <a:gdLst>
                  <a:gd name="T0" fmla="*/ 2 w 9"/>
                  <a:gd name="T1" fmla="*/ 0 h 8"/>
                  <a:gd name="T2" fmla="*/ 0 w 9"/>
                  <a:gd name="T3" fmla="*/ 2 h 8"/>
                  <a:gd name="T4" fmla="*/ 7 w 9"/>
                  <a:gd name="T5" fmla="*/ 8 h 8"/>
                  <a:gd name="T6" fmla="*/ 2 w 9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8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2" y="4"/>
                      <a:pt x="5" y="6"/>
                      <a:pt x="7" y="8"/>
                    </a:cubicBezTo>
                    <a:cubicBezTo>
                      <a:pt x="9" y="4"/>
                      <a:pt x="7" y="0"/>
                      <a:pt x="2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619">
                <a:extLst>
                  <a:ext uri="{FF2B5EF4-FFF2-40B4-BE49-F238E27FC236}">
                    <a16:creationId xmlns:a16="http://schemas.microsoft.com/office/drawing/2014/main" id="{D6682927-DA32-481A-87B7-3D7D0A206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4418" y="4446485"/>
                <a:ext cx="80084" cy="151269"/>
              </a:xfrm>
              <a:custGeom>
                <a:avLst/>
                <a:gdLst>
                  <a:gd name="T0" fmla="*/ 7 w 36"/>
                  <a:gd name="T1" fmla="*/ 54 h 69"/>
                  <a:gd name="T2" fmla="*/ 16 w 36"/>
                  <a:gd name="T3" fmla="*/ 58 h 69"/>
                  <a:gd name="T4" fmla="*/ 19 w 36"/>
                  <a:gd name="T5" fmla="*/ 66 h 69"/>
                  <a:gd name="T6" fmla="*/ 28 w 36"/>
                  <a:gd name="T7" fmla="*/ 63 h 69"/>
                  <a:gd name="T8" fmla="*/ 24 w 36"/>
                  <a:gd name="T9" fmla="*/ 50 h 69"/>
                  <a:gd name="T10" fmla="*/ 28 w 36"/>
                  <a:gd name="T11" fmla="*/ 21 h 69"/>
                  <a:gd name="T12" fmla="*/ 28 w 36"/>
                  <a:gd name="T13" fmla="*/ 2 h 69"/>
                  <a:gd name="T14" fmla="*/ 18 w 36"/>
                  <a:gd name="T15" fmla="*/ 1 h 69"/>
                  <a:gd name="T16" fmla="*/ 14 w 36"/>
                  <a:gd name="T17" fmla="*/ 12 h 69"/>
                  <a:gd name="T18" fmla="*/ 11 w 36"/>
                  <a:gd name="T19" fmla="*/ 19 h 69"/>
                  <a:gd name="T20" fmla="*/ 13 w 36"/>
                  <a:gd name="T21" fmla="*/ 30 h 69"/>
                  <a:gd name="T22" fmla="*/ 0 w 36"/>
                  <a:gd name="T23" fmla="*/ 39 h 69"/>
                  <a:gd name="T24" fmla="*/ 7 w 36"/>
                  <a:gd name="T25" fmla="*/ 5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69">
                    <a:moveTo>
                      <a:pt x="7" y="54"/>
                    </a:moveTo>
                    <a:cubicBezTo>
                      <a:pt x="10" y="56"/>
                      <a:pt x="14" y="56"/>
                      <a:pt x="16" y="58"/>
                    </a:cubicBezTo>
                    <a:cubicBezTo>
                      <a:pt x="18" y="61"/>
                      <a:pt x="17" y="64"/>
                      <a:pt x="19" y="66"/>
                    </a:cubicBezTo>
                    <a:cubicBezTo>
                      <a:pt x="23" y="69"/>
                      <a:pt x="27" y="66"/>
                      <a:pt x="28" y="63"/>
                    </a:cubicBezTo>
                    <a:cubicBezTo>
                      <a:pt x="31" y="58"/>
                      <a:pt x="26" y="54"/>
                      <a:pt x="24" y="50"/>
                    </a:cubicBezTo>
                    <a:cubicBezTo>
                      <a:pt x="22" y="41"/>
                      <a:pt x="25" y="29"/>
                      <a:pt x="28" y="21"/>
                    </a:cubicBezTo>
                    <a:cubicBezTo>
                      <a:pt x="30" y="14"/>
                      <a:pt x="36" y="6"/>
                      <a:pt x="28" y="2"/>
                    </a:cubicBezTo>
                    <a:cubicBezTo>
                      <a:pt x="25" y="0"/>
                      <a:pt x="21" y="0"/>
                      <a:pt x="18" y="1"/>
                    </a:cubicBezTo>
                    <a:cubicBezTo>
                      <a:pt x="13" y="3"/>
                      <a:pt x="15" y="8"/>
                      <a:pt x="14" y="12"/>
                    </a:cubicBezTo>
                    <a:cubicBezTo>
                      <a:pt x="13" y="15"/>
                      <a:pt x="10" y="16"/>
                      <a:pt x="11" y="19"/>
                    </a:cubicBezTo>
                    <a:cubicBezTo>
                      <a:pt x="12" y="23"/>
                      <a:pt x="14" y="27"/>
                      <a:pt x="13" y="30"/>
                    </a:cubicBezTo>
                    <a:cubicBezTo>
                      <a:pt x="10" y="36"/>
                      <a:pt x="0" y="32"/>
                      <a:pt x="0" y="39"/>
                    </a:cubicBezTo>
                    <a:cubicBezTo>
                      <a:pt x="0" y="44"/>
                      <a:pt x="4" y="50"/>
                      <a:pt x="7" y="5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620">
                <a:extLst>
                  <a:ext uri="{FF2B5EF4-FFF2-40B4-BE49-F238E27FC236}">
                    <a16:creationId xmlns:a16="http://schemas.microsoft.com/office/drawing/2014/main" id="{E4DF2E5E-A678-4254-918F-69180EA05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4418" y="4446485"/>
                <a:ext cx="80084" cy="151269"/>
              </a:xfrm>
              <a:custGeom>
                <a:avLst/>
                <a:gdLst>
                  <a:gd name="T0" fmla="*/ 7 w 36"/>
                  <a:gd name="T1" fmla="*/ 54 h 69"/>
                  <a:gd name="T2" fmla="*/ 16 w 36"/>
                  <a:gd name="T3" fmla="*/ 58 h 69"/>
                  <a:gd name="T4" fmla="*/ 19 w 36"/>
                  <a:gd name="T5" fmla="*/ 66 h 69"/>
                  <a:gd name="T6" fmla="*/ 28 w 36"/>
                  <a:gd name="T7" fmla="*/ 63 h 69"/>
                  <a:gd name="T8" fmla="*/ 24 w 36"/>
                  <a:gd name="T9" fmla="*/ 50 h 69"/>
                  <a:gd name="T10" fmla="*/ 28 w 36"/>
                  <a:gd name="T11" fmla="*/ 21 h 69"/>
                  <a:gd name="T12" fmla="*/ 28 w 36"/>
                  <a:gd name="T13" fmla="*/ 2 h 69"/>
                  <a:gd name="T14" fmla="*/ 18 w 36"/>
                  <a:gd name="T15" fmla="*/ 1 h 69"/>
                  <a:gd name="T16" fmla="*/ 14 w 36"/>
                  <a:gd name="T17" fmla="*/ 12 h 69"/>
                  <a:gd name="T18" fmla="*/ 11 w 36"/>
                  <a:gd name="T19" fmla="*/ 19 h 69"/>
                  <a:gd name="T20" fmla="*/ 13 w 36"/>
                  <a:gd name="T21" fmla="*/ 30 h 69"/>
                  <a:gd name="T22" fmla="*/ 0 w 36"/>
                  <a:gd name="T23" fmla="*/ 39 h 69"/>
                  <a:gd name="T24" fmla="*/ 7 w 36"/>
                  <a:gd name="T25" fmla="*/ 5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69">
                    <a:moveTo>
                      <a:pt x="7" y="54"/>
                    </a:moveTo>
                    <a:cubicBezTo>
                      <a:pt x="10" y="56"/>
                      <a:pt x="14" y="56"/>
                      <a:pt x="16" y="58"/>
                    </a:cubicBezTo>
                    <a:cubicBezTo>
                      <a:pt x="18" y="61"/>
                      <a:pt x="17" y="64"/>
                      <a:pt x="19" y="66"/>
                    </a:cubicBezTo>
                    <a:cubicBezTo>
                      <a:pt x="23" y="69"/>
                      <a:pt x="27" y="66"/>
                      <a:pt x="28" y="63"/>
                    </a:cubicBezTo>
                    <a:cubicBezTo>
                      <a:pt x="31" y="58"/>
                      <a:pt x="26" y="54"/>
                      <a:pt x="24" y="50"/>
                    </a:cubicBezTo>
                    <a:cubicBezTo>
                      <a:pt x="22" y="41"/>
                      <a:pt x="25" y="29"/>
                      <a:pt x="28" y="21"/>
                    </a:cubicBezTo>
                    <a:cubicBezTo>
                      <a:pt x="30" y="14"/>
                      <a:pt x="36" y="6"/>
                      <a:pt x="28" y="2"/>
                    </a:cubicBezTo>
                    <a:cubicBezTo>
                      <a:pt x="25" y="0"/>
                      <a:pt x="21" y="0"/>
                      <a:pt x="18" y="1"/>
                    </a:cubicBezTo>
                    <a:cubicBezTo>
                      <a:pt x="13" y="3"/>
                      <a:pt x="15" y="8"/>
                      <a:pt x="14" y="12"/>
                    </a:cubicBezTo>
                    <a:cubicBezTo>
                      <a:pt x="13" y="15"/>
                      <a:pt x="10" y="16"/>
                      <a:pt x="11" y="19"/>
                    </a:cubicBezTo>
                    <a:cubicBezTo>
                      <a:pt x="12" y="23"/>
                      <a:pt x="14" y="27"/>
                      <a:pt x="13" y="30"/>
                    </a:cubicBezTo>
                    <a:cubicBezTo>
                      <a:pt x="10" y="36"/>
                      <a:pt x="0" y="32"/>
                      <a:pt x="0" y="39"/>
                    </a:cubicBezTo>
                    <a:cubicBezTo>
                      <a:pt x="0" y="44"/>
                      <a:pt x="4" y="50"/>
                      <a:pt x="7" y="5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621">
                <a:extLst>
                  <a:ext uri="{FF2B5EF4-FFF2-40B4-BE49-F238E27FC236}">
                    <a16:creationId xmlns:a16="http://schemas.microsoft.com/office/drawing/2014/main" id="{65FF3115-F76D-4FAC-A231-C98EAE97C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4418" y="4464281"/>
                <a:ext cx="26695" cy="26695"/>
              </a:xfrm>
              <a:custGeom>
                <a:avLst/>
                <a:gdLst>
                  <a:gd name="T0" fmla="*/ 2 w 11"/>
                  <a:gd name="T1" fmla="*/ 11 h 11"/>
                  <a:gd name="T2" fmla="*/ 5 w 11"/>
                  <a:gd name="T3" fmla="*/ 1 h 11"/>
                  <a:gd name="T4" fmla="*/ 2 w 11"/>
                  <a:gd name="T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2" y="11"/>
                    </a:moveTo>
                    <a:cubicBezTo>
                      <a:pt x="4" y="10"/>
                      <a:pt x="11" y="2"/>
                      <a:pt x="5" y="1"/>
                    </a:cubicBezTo>
                    <a:cubicBezTo>
                      <a:pt x="1" y="0"/>
                      <a:pt x="0" y="9"/>
                      <a:pt x="2" y="11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622">
                <a:extLst>
                  <a:ext uri="{FF2B5EF4-FFF2-40B4-BE49-F238E27FC236}">
                    <a16:creationId xmlns:a16="http://schemas.microsoft.com/office/drawing/2014/main" id="{A6AF7395-69D9-4B50-9110-BE1C78E7E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4418" y="4464281"/>
                <a:ext cx="26695" cy="26695"/>
              </a:xfrm>
              <a:custGeom>
                <a:avLst/>
                <a:gdLst>
                  <a:gd name="T0" fmla="*/ 2 w 11"/>
                  <a:gd name="T1" fmla="*/ 11 h 11"/>
                  <a:gd name="T2" fmla="*/ 5 w 11"/>
                  <a:gd name="T3" fmla="*/ 1 h 11"/>
                  <a:gd name="T4" fmla="*/ 2 w 11"/>
                  <a:gd name="T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2" y="11"/>
                    </a:moveTo>
                    <a:cubicBezTo>
                      <a:pt x="4" y="10"/>
                      <a:pt x="11" y="2"/>
                      <a:pt x="5" y="1"/>
                    </a:cubicBezTo>
                    <a:cubicBezTo>
                      <a:pt x="1" y="0"/>
                      <a:pt x="0" y="9"/>
                      <a:pt x="2" y="11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623">
                <a:extLst>
                  <a:ext uri="{FF2B5EF4-FFF2-40B4-BE49-F238E27FC236}">
                    <a16:creationId xmlns:a16="http://schemas.microsoft.com/office/drawing/2014/main" id="{92983639-2EDD-432C-AFAA-C34DEBAB6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3317" y="4286317"/>
                <a:ext cx="35593" cy="31145"/>
              </a:xfrm>
              <a:custGeom>
                <a:avLst/>
                <a:gdLst>
                  <a:gd name="T0" fmla="*/ 16 w 16"/>
                  <a:gd name="T1" fmla="*/ 15 h 15"/>
                  <a:gd name="T2" fmla="*/ 3 w 16"/>
                  <a:gd name="T3" fmla="*/ 0 h 15"/>
                  <a:gd name="T4" fmla="*/ 16 w 16"/>
                  <a:gd name="T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5">
                    <a:moveTo>
                      <a:pt x="16" y="15"/>
                    </a:moveTo>
                    <a:cubicBezTo>
                      <a:pt x="13" y="10"/>
                      <a:pt x="9" y="2"/>
                      <a:pt x="3" y="0"/>
                    </a:cubicBezTo>
                    <a:cubicBezTo>
                      <a:pt x="0" y="5"/>
                      <a:pt x="14" y="12"/>
                      <a:pt x="16" y="1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624">
                <a:extLst>
                  <a:ext uri="{FF2B5EF4-FFF2-40B4-BE49-F238E27FC236}">
                    <a16:creationId xmlns:a16="http://schemas.microsoft.com/office/drawing/2014/main" id="{B7F08E1E-279E-429C-8202-F82E40E56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3317" y="4286317"/>
                <a:ext cx="35593" cy="31145"/>
              </a:xfrm>
              <a:custGeom>
                <a:avLst/>
                <a:gdLst>
                  <a:gd name="T0" fmla="*/ 16 w 16"/>
                  <a:gd name="T1" fmla="*/ 15 h 15"/>
                  <a:gd name="T2" fmla="*/ 3 w 16"/>
                  <a:gd name="T3" fmla="*/ 0 h 15"/>
                  <a:gd name="T4" fmla="*/ 16 w 16"/>
                  <a:gd name="T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5">
                    <a:moveTo>
                      <a:pt x="16" y="15"/>
                    </a:moveTo>
                    <a:cubicBezTo>
                      <a:pt x="13" y="10"/>
                      <a:pt x="9" y="2"/>
                      <a:pt x="3" y="0"/>
                    </a:cubicBezTo>
                    <a:cubicBezTo>
                      <a:pt x="0" y="5"/>
                      <a:pt x="14" y="12"/>
                      <a:pt x="16" y="1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625">
                <a:extLst>
                  <a:ext uri="{FF2B5EF4-FFF2-40B4-BE49-F238E27FC236}">
                    <a16:creationId xmlns:a16="http://schemas.microsoft.com/office/drawing/2014/main" id="{1FCB9C6A-A17B-4C8C-8813-D90C779CEB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0011" y="4326358"/>
                <a:ext cx="66738" cy="62287"/>
              </a:xfrm>
              <a:custGeom>
                <a:avLst/>
                <a:gdLst>
                  <a:gd name="T0" fmla="*/ 1 w 32"/>
                  <a:gd name="T1" fmla="*/ 20 h 28"/>
                  <a:gd name="T2" fmla="*/ 1 w 32"/>
                  <a:gd name="T3" fmla="*/ 23 h 28"/>
                  <a:gd name="T4" fmla="*/ 13 w 32"/>
                  <a:gd name="T5" fmla="*/ 15 h 28"/>
                  <a:gd name="T6" fmla="*/ 19 w 32"/>
                  <a:gd name="T7" fmla="*/ 22 h 28"/>
                  <a:gd name="T8" fmla="*/ 28 w 32"/>
                  <a:gd name="T9" fmla="*/ 28 h 28"/>
                  <a:gd name="T10" fmla="*/ 17 w 32"/>
                  <a:gd name="T11" fmla="*/ 10 h 28"/>
                  <a:gd name="T12" fmla="*/ 10 w 32"/>
                  <a:gd name="T13" fmla="*/ 4 h 28"/>
                  <a:gd name="T14" fmla="*/ 0 w 32"/>
                  <a:gd name="T15" fmla="*/ 0 h 28"/>
                  <a:gd name="T16" fmla="*/ 2 w 32"/>
                  <a:gd name="T17" fmla="*/ 11 h 28"/>
                  <a:gd name="T18" fmla="*/ 1 w 32"/>
                  <a:gd name="T19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28">
                    <a:moveTo>
                      <a:pt x="1" y="20"/>
                    </a:moveTo>
                    <a:cubicBezTo>
                      <a:pt x="1" y="21"/>
                      <a:pt x="1" y="22"/>
                      <a:pt x="1" y="23"/>
                    </a:cubicBezTo>
                    <a:cubicBezTo>
                      <a:pt x="5" y="20"/>
                      <a:pt x="8" y="9"/>
                      <a:pt x="13" y="15"/>
                    </a:cubicBezTo>
                    <a:cubicBezTo>
                      <a:pt x="15" y="17"/>
                      <a:pt x="17" y="19"/>
                      <a:pt x="19" y="22"/>
                    </a:cubicBezTo>
                    <a:cubicBezTo>
                      <a:pt x="21" y="25"/>
                      <a:pt x="25" y="25"/>
                      <a:pt x="28" y="28"/>
                    </a:cubicBezTo>
                    <a:cubicBezTo>
                      <a:pt x="32" y="20"/>
                      <a:pt x="21" y="15"/>
                      <a:pt x="17" y="10"/>
                    </a:cubicBezTo>
                    <a:cubicBezTo>
                      <a:pt x="15" y="8"/>
                      <a:pt x="12" y="6"/>
                      <a:pt x="10" y="4"/>
                    </a:cubicBezTo>
                    <a:cubicBezTo>
                      <a:pt x="9" y="3"/>
                      <a:pt x="2" y="0"/>
                      <a:pt x="0" y="0"/>
                    </a:cubicBezTo>
                    <a:cubicBezTo>
                      <a:pt x="2" y="2"/>
                      <a:pt x="1" y="10"/>
                      <a:pt x="2" y="11"/>
                    </a:cubicBezTo>
                    <a:cubicBezTo>
                      <a:pt x="5" y="15"/>
                      <a:pt x="1" y="15"/>
                      <a:pt x="1" y="2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626">
                <a:extLst>
                  <a:ext uri="{FF2B5EF4-FFF2-40B4-BE49-F238E27FC236}">
                    <a16:creationId xmlns:a16="http://schemas.microsoft.com/office/drawing/2014/main" id="{BA17481E-FEB3-453C-8498-B8029FD26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0011" y="4326358"/>
                <a:ext cx="66738" cy="62287"/>
              </a:xfrm>
              <a:custGeom>
                <a:avLst/>
                <a:gdLst>
                  <a:gd name="T0" fmla="*/ 1 w 32"/>
                  <a:gd name="T1" fmla="*/ 20 h 28"/>
                  <a:gd name="T2" fmla="*/ 1 w 32"/>
                  <a:gd name="T3" fmla="*/ 23 h 28"/>
                  <a:gd name="T4" fmla="*/ 13 w 32"/>
                  <a:gd name="T5" fmla="*/ 15 h 28"/>
                  <a:gd name="T6" fmla="*/ 19 w 32"/>
                  <a:gd name="T7" fmla="*/ 22 h 28"/>
                  <a:gd name="T8" fmla="*/ 28 w 32"/>
                  <a:gd name="T9" fmla="*/ 28 h 28"/>
                  <a:gd name="T10" fmla="*/ 17 w 32"/>
                  <a:gd name="T11" fmla="*/ 10 h 28"/>
                  <a:gd name="T12" fmla="*/ 10 w 32"/>
                  <a:gd name="T13" fmla="*/ 4 h 28"/>
                  <a:gd name="T14" fmla="*/ 0 w 32"/>
                  <a:gd name="T15" fmla="*/ 0 h 28"/>
                  <a:gd name="T16" fmla="*/ 2 w 32"/>
                  <a:gd name="T17" fmla="*/ 11 h 28"/>
                  <a:gd name="T18" fmla="*/ 1 w 32"/>
                  <a:gd name="T19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28">
                    <a:moveTo>
                      <a:pt x="1" y="20"/>
                    </a:moveTo>
                    <a:cubicBezTo>
                      <a:pt x="1" y="21"/>
                      <a:pt x="1" y="22"/>
                      <a:pt x="1" y="23"/>
                    </a:cubicBezTo>
                    <a:cubicBezTo>
                      <a:pt x="5" y="20"/>
                      <a:pt x="8" y="9"/>
                      <a:pt x="13" y="15"/>
                    </a:cubicBezTo>
                    <a:cubicBezTo>
                      <a:pt x="15" y="17"/>
                      <a:pt x="17" y="19"/>
                      <a:pt x="19" y="22"/>
                    </a:cubicBezTo>
                    <a:cubicBezTo>
                      <a:pt x="21" y="25"/>
                      <a:pt x="25" y="25"/>
                      <a:pt x="28" y="28"/>
                    </a:cubicBezTo>
                    <a:cubicBezTo>
                      <a:pt x="32" y="20"/>
                      <a:pt x="21" y="15"/>
                      <a:pt x="17" y="10"/>
                    </a:cubicBezTo>
                    <a:cubicBezTo>
                      <a:pt x="15" y="8"/>
                      <a:pt x="12" y="6"/>
                      <a:pt x="10" y="4"/>
                    </a:cubicBezTo>
                    <a:cubicBezTo>
                      <a:pt x="9" y="3"/>
                      <a:pt x="2" y="0"/>
                      <a:pt x="0" y="0"/>
                    </a:cubicBezTo>
                    <a:cubicBezTo>
                      <a:pt x="2" y="2"/>
                      <a:pt x="1" y="10"/>
                      <a:pt x="2" y="11"/>
                    </a:cubicBezTo>
                    <a:cubicBezTo>
                      <a:pt x="5" y="15"/>
                      <a:pt x="1" y="15"/>
                      <a:pt x="1" y="2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627">
                <a:extLst>
                  <a:ext uri="{FF2B5EF4-FFF2-40B4-BE49-F238E27FC236}">
                    <a16:creationId xmlns:a16="http://schemas.microsoft.com/office/drawing/2014/main" id="{B49669AF-CD61-417C-8D1C-7FB579EF9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6706" y="4321910"/>
                <a:ext cx="13349" cy="22247"/>
              </a:xfrm>
              <a:custGeom>
                <a:avLst/>
                <a:gdLst>
                  <a:gd name="T0" fmla="*/ 2 w 6"/>
                  <a:gd name="T1" fmla="*/ 6 h 11"/>
                  <a:gd name="T2" fmla="*/ 6 w 6"/>
                  <a:gd name="T3" fmla="*/ 11 h 11"/>
                  <a:gd name="T4" fmla="*/ 1 w 6"/>
                  <a:gd name="T5" fmla="*/ 0 h 11"/>
                  <a:gd name="T6" fmla="*/ 2 w 6"/>
                  <a:gd name="T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1">
                    <a:moveTo>
                      <a:pt x="2" y="6"/>
                    </a:moveTo>
                    <a:cubicBezTo>
                      <a:pt x="3" y="8"/>
                      <a:pt x="4" y="9"/>
                      <a:pt x="6" y="11"/>
                    </a:cubicBezTo>
                    <a:cubicBezTo>
                      <a:pt x="6" y="7"/>
                      <a:pt x="5" y="2"/>
                      <a:pt x="1" y="0"/>
                    </a:cubicBezTo>
                    <a:cubicBezTo>
                      <a:pt x="0" y="2"/>
                      <a:pt x="0" y="4"/>
                      <a:pt x="2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628">
                <a:extLst>
                  <a:ext uri="{FF2B5EF4-FFF2-40B4-BE49-F238E27FC236}">
                    <a16:creationId xmlns:a16="http://schemas.microsoft.com/office/drawing/2014/main" id="{92C9909C-E0B4-4D61-ADF2-4395A8694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6706" y="4321910"/>
                <a:ext cx="13349" cy="22247"/>
              </a:xfrm>
              <a:custGeom>
                <a:avLst/>
                <a:gdLst>
                  <a:gd name="T0" fmla="*/ 2 w 6"/>
                  <a:gd name="T1" fmla="*/ 6 h 11"/>
                  <a:gd name="T2" fmla="*/ 6 w 6"/>
                  <a:gd name="T3" fmla="*/ 11 h 11"/>
                  <a:gd name="T4" fmla="*/ 1 w 6"/>
                  <a:gd name="T5" fmla="*/ 0 h 11"/>
                  <a:gd name="T6" fmla="*/ 2 w 6"/>
                  <a:gd name="T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1">
                    <a:moveTo>
                      <a:pt x="2" y="6"/>
                    </a:moveTo>
                    <a:cubicBezTo>
                      <a:pt x="3" y="8"/>
                      <a:pt x="4" y="9"/>
                      <a:pt x="6" y="11"/>
                    </a:cubicBezTo>
                    <a:cubicBezTo>
                      <a:pt x="6" y="7"/>
                      <a:pt x="5" y="2"/>
                      <a:pt x="1" y="0"/>
                    </a:cubicBezTo>
                    <a:cubicBezTo>
                      <a:pt x="0" y="2"/>
                      <a:pt x="0" y="4"/>
                      <a:pt x="2" y="6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629">
                <a:extLst>
                  <a:ext uri="{FF2B5EF4-FFF2-40B4-BE49-F238E27FC236}">
                    <a16:creationId xmlns:a16="http://schemas.microsoft.com/office/drawing/2014/main" id="{E729AC44-EF4C-455D-A0B3-4DBF174FE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6706" y="4428689"/>
                <a:ext cx="40043" cy="133473"/>
              </a:xfrm>
              <a:custGeom>
                <a:avLst/>
                <a:gdLst>
                  <a:gd name="T0" fmla="*/ 2 w 19"/>
                  <a:gd name="T1" fmla="*/ 42 h 62"/>
                  <a:gd name="T2" fmla="*/ 0 w 19"/>
                  <a:gd name="T3" fmla="*/ 60 h 62"/>
                  <a:gd name="T4" fmla="*/ 9 w 19"/>
                  <a:gd name="T5" fmla="*/ 39 h 62"/>
                  <a:gd name="T6" fmla="*/ 19 w 19"/>
                  <a:gd name="T7" fmla="*/ 23 h 62"/>
                  <a:gd name="T8" fmla="*/ 17 w 19"/>
                  <a:gd name="T9" fmla="*/ 0 h 62"/>
                  <a:gd name="T10" fmla="*/ 11 w 19"/>
                  <a:gd name="T11" fmla="*/ 16 h 62"/>
                  <a:gd name="T12" fmla="*/ 2 w 19"/>
                  <a:gd name="T13" fmla="*/ 4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2">
                    <a:moveTo>
                      <a:pt x="2" y="42"/>
                    </a:moveTo>
                    <a:cubicBezTo>
                      <a:pt x="2" y="48"/>
                      <a:pt x="0" y="54"/>
                      <a:pt x="0" y="60"/>
                    </a:cubicBezTo>
                    <a:cubicBezTo>
                      <a:pt x="8" y="62"/>
                      <a:pt x="6" y="43"/>
                      <a:pt x="9" y="39"/>
                    </a:cubicBezTo>
                    <a:cubicBezTo>
                      <a:pt x="13" y="34"/>
                      <a:pt x="18" y="30"/>
                      <a:pt x="19" y="23"/>
                    </a:cubicBezTo>
                    <a:cubicBezTo>
                      <a:pt x="19" y="15"/>
                      <a:pt x="17" y="8"/>
                      <a:pt x="17" y="0"/>
                    </a:cubicBezTo>
                    <a:cubicBezTo>
                      <a:pt x="13" y="0"/>
                      <a:pt x="12" y="13"/>
                      <a:pt x="11" y="16"/>
                    </a:cubicBezTo>
                    <a:cubicBezTo>
                      <a:pt x="9" y="25"/>
                      <a:pt x="3" y="33"/>
                      <a:pt x="2" y="42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630">
                <a:extLst>
                  <a:ext uri="{FF2B5EF4-FFF2-40B4-BE49-F238E27FC236}">
                    <a16:creationId xmlns:a16="http://schemas.microsoft.com/office/drawing/2014/main" id="{B190D312-338C-4230-9DA9-91EA40969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6706" y="4428689"/>
                <a:ext cx="40043" cy="133473"/>
              </a:xfrm>
              <a:custGeom>
                <a:avLst/>
                <a:gdLst>
                  <a:gd name="T0" fmla="*/ 2 w 19"/>
                  <a:gd name="T1" fmla="*/ 42 h 62"/>
                  <a:gd name="T2" fmla="*/ 0 w 19"/>
                  <a:gd name="T3" fmla="*/ 60 h 62"/>
                  <a:gd name="T4" fmla="*/ 9 w 19"/>
                  <a:gd name="T5" fmla="*/ 39 h 62"/>
                  <a:gd name="T6" fmla="*/ 19 w 19"/>
                  <a:gd name="T7" fmla="*/ 23 h 62"/>
                  <a:gd name="T8" fmla="*/ 17 w 19"/>
                  <a:gd name="T9" fmla="*/ 0 h 62"/>
                  <a:gd name="T10" fmla="*/ 11 w 19"/>
                  <a:gd name="T11" fmla="*/ 16 h 62"/>
                  <a:gd name="T12" fmla="*/ 2 w 19"/>
                  <a:gd name="T13" fmla="*/ 4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2">
                    <a:moveTo>
                      <a:pt x="2" y="42"/>
                    </a:moveTo>
                    <a:cubicBezTo>
                      <a:pt x="2" y="48"/>
                      <a:pt x="0" y="54"/>
                      <a:pt x="0" y="60"/>
                    </a:cubicBezTo>
                    <a:cubicBezTo>
                      <a:pt x="8" y="62"/>
                      <a:pt x="6" y="43"/>
                      <a:pt x="9" y="39"/>
                    </a:cubicBezTo>
                    <a:cubicBezTo>
                      <a:pt x="13" y="34"/>
                      <a:pt x="18" y="30"/>
                      <a:pt x="19" y="23"/>
                    </a:cubicBezTo>
                    <a:cubicBezTo>
                      <a:pt x="19" y="15"/>
                      <a:pt x="17" y="8"/>
                      <a:pt x="17" y="0"/>
                    </a:cubicBezTo>
                    <a:cubicBezTo>
                      <a:pt x="13" y="0"/>
                      <a:pt x="12" y="13"/>
                      <a:pt x="11" y="16"/>
                    </a:cubicBezTo>
                    <a:cubicBezTo>
                      <a:pt x="9" y="25"/>
                      <a:pt x="3" y="33"/>
                      <a:pt x="2" y="42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631">
                <a:extLst>
                  <a:ext uri="{FF2B5EF4-FFF2-40B4-BE49-F238E27FC236}">
                    <a16:creationId xmlns:a16="http://schemas.microsoft.com/office/drawing/2014/main" id="{9C651D85-C600-475B-9A6B-9585EB4D8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0054" y="4571060"/>
                <a:ext cx="17796" cy="17796"/>
              </a:xfrm>
              <a:custGeom>
                <a:avLst/>
                <a:gdLst>
                  <a:gd name="T0" fmla="*/ 3 w 8"/>
                  <a:gd name="T1" fmla="*/ 8 h 8"/>
                  <a:gd name="T2" fmla="*/ 4 w 8"/>
                  <a:gd name="T3" fmla="*/ 0 h 8"/>
                  <a:gd name="T4" fmla="*/ 3 w 8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3" y="8"/>
                    </a:moveTo>
                    <a:cubicBezTo>
                      <a:pt x="8" y="7"/>
                      <a:pt x="6" y="3"/>
                      <a:pt x="4" y="0"/>
                    </a:cubicBezTo>
                    <a:cubicBezTo>
                      <a:pt x="1" y="2"/>
                      <a:pt x="0" y="6"/>
                      <a:pt x="3" y="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632">
                <a:extLst>
                  <a:ext uri="{FF2B5EF4-FFF2-40B4-BE49-F238E27FC236}">
                    <a16:creationId xmlns:a16="http://schemas.microsoft.com/office/drawing/2014/main" id="{44907334-B982-45E3-B982-02EDD733F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0054" y="4571060"/>
                <a:ext cx="17796" cy="17796"/>
              </a:xfrm>
              <a:custGeom>
                <a:avLst/>
                <a:gdLst>
                  <a:gd name="T0" fmla="*/ 3 w 8"/>
                  <a:gd name="T1" fmla="*/ 8 h 8"/>
                  <a:gd name="T2" fmla="*/ 4 w 8"/>
                  <a:gd name="T3" fmla="*/ 0 h 8"/>
                  <a:gd name="T4" fmla="*/ 3 w 8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3" y="8"/>
                    </a:moveTo>
                    <a:cubicBezTo>
                      <a:pt x="8" y="7"/>
                      <a:pt x="6" y="3"/>
                      <a:pt x="4" y="0"/>
                    </a:cubicBezTo>
                    <a:cubicBezTo>
                      <a:pt x="1" y="2"/>
                      <a:pt x="0" y="6"/>
                      <a:pt x="3" y="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633">
                <a:extLst>
                  <a:ext uri="{FF2B5EF4-FFF2-40B4-BE49-F238E27FC236}">
                    <a16:creationId xmlns:a16="http://schemas.microsoft.com/office/drawing/2014/main" id="{436D18B0-E752-4AFE-9C9F-1C03ACA06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4502" y="4215132"/>
                <a:ext cx="26695" cy="40043"/>
              </a:xfrm>
              <a:custGeom>
                <a:avLst/>
                <a:gdLst>
                  <a:gd name="T0" fmla="*/ 6 w 14"/>
                  <a:gd name="T1" fmla="*/ 18 h 18"/>
                  <a:gd name="T2" fmla="*/ 3 w 14"/>
                  <a:gd name="T3" fmla="*/ 0 h 18"/>
                  <a:gd name="T4" fmla="*/ 6 w 14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8">
                    <a:moveTo>
                      <a:pt x="6" y="18"/>
                    </a:moveTo>
                    <a:cubicBezTo>
                      <a:pt x="14" y="13"/>
                      <a:pt x="13" y="2"/>
                      <a:pt x="3" y="0"/>
                    </a:cubicBezTo>
                    <a:cubicBezTo>
                      <a:pt x="0" y="6"/>
                      <a:pt x="2" y="14"/>
                      <a:pt x="6" y="1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634">
                <a:extLst>
                  <a:ext uri="{FF2B5EF4-FFF2-40B4-BE49-F238E27FC236}">
                    <a16:creationId xmlns:a16="http://schemas.microsoft.com/office/drawing/2014/main" id="{E113E4A6-F4C7-4D43-992B-464D43314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4502" y="4215132"/>
                <a:ext cx="26695" cy="40043"/>
              </a:xfrm>
              <a:custGeom>
                <a:avLst/>
                <a:gdLst>
                  <a:gd name="T0" fmla="*/ 6 w 14"/>
                  <a:gd name="T1" fmla="*/ 18 h 18"/>
                  <a:gd name="T2" fmla="*/ 3 w 14"/>
                  <a:gd name="T3" fmla="*/ 0 h 18"/>
                  <a:gd name="T4" fmla="*/ 6 w 14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8">
                    <a:moveTo>
                      <a:pt x="6" y="18"/>
                    </a:moveTo>
                    <a:cubicBezTo>
                      <a:pt x="14" y="13"/>
                      <a:pt x="13" y="2"/>
                      <a:pt x="3" y="0"/>
                    </a:cubicBezTo>
                    <a:cubicBezTo>
                      <a:pt x="0" y="6"/>
                      <a:pt x="2" y="14"/>
                      <a:pt x="6" y="1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635">
                <a:extLst>
                  <a:ext uri="{FF2B5EF4-FFF2-40B4-BE49-F238E27FC236}">
                    <a16:creationId xmlns:a16="http://schemas.microsoft.com/office/drawing/2014/main" id="{B943191A-D58F-45A2-8D71-E9A286B0C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8953" y="4504322"/>
                <a:ext cx="62287" cy="62287"/>
              </a:xfrm>
              <a:custGeom>
                <a:avLst/>
                <a:gdLst>
                  <a:gd name="T0" fmla="*/ 5 w 27"/>
                  <a:gd name="T1" fmla="*/ 18 h 29"/>
                  <a:gd name="T2" fmla="*/ 27 w 27"/>
                  <a:gd name="T3" fmla="*/ 17 h 29"/>
                  <a:gd name="T4" fmla="*/ 15 w 27"/>
                  <a:gd name="T5" fmla="*/ 3 h 29"/>
                  <a:gd name="T6" fmla="*/ 5 w 27"/>
                  <a:gd name="T7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9">
                    <a:moveTo>
                      <a:pt x="5" y="18"/>
                    </a:moveTo>
                    <a:cubicBezTo>
                      <a:pt x="4" y="29"/>
                      <a:pt x="24" y="16"/>
                      <a:pt x="27" y="17"/>
                    </a:cubicBezTo>
                    <a:cubicBezTo>
                      <a:pt x="25" y="12"/>
                      <a:pt x="25" y="0"/>
                      <a:pt x="15" y="3"/>
                    </a:cubicBezTo>
                    <a:cubicBezTo>
                      <a:pt x="11" y="4"/>
                      <a:pt x="0" y="15"/>
                      <a:pt x="5" y="1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636">
                <a:extLst>
                  <a:ext uri="{FF2B5EF4-FFF2-40B4-BE49-F238E27FC236}">
                    <a16:creationId xmlns:a16="http://schemas.microsoft.com/office/drawing/2014/main" id="{72C24398-044E-4966-80B8-2DFE54BBC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8953" y="4504322"/>
                <a:ext cx="62287" cy="62287"/>
              </a:xfrm>
              <a:custGeom>
                <a:avLst/>
                <a:gdLst>
                  <a:gd name="T0" fmla="*/ 5 w 27"/>
                  <a:gd name="T1" fmla="*/ 18 h 29"/>
                  <a:gd name="T2" fmla="*/ 27 w 27"/>
                  <a:gd name="T3" fmla="*/ 17 h 29"/>
                  <a:gd name="T4" fmla="*/ 15 w 27"/>
                  <a:gd name="T5" fmla="*/ 3 h 29"/>
                  <a:gd name="T6" fmla="*/ 5 w 27"/>
                  <a:gd name="T7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29">
                    <a:moveTo>
                      <a:pt x="5" y="18"/>
                    </a:moveTo>
                    <a:cubicBezTo>
                      <a:pt x="4" y="29"/>
                      <a:pt x="24" y="16"/>
                      <a:pt x="27" y="17"/>
                    </a:cubicBezTo>
                    <a:cubicBezTo>
                      <a:pt x="25" y="12"/>
                      <a:pt x="25" y="0"/>
                      <a:pt x="15" y="3"/>
                    </a:cubicBezTo>
                    <a:cubicBezTo>
                      <a:pt x="11" y="4"/>
                      <a:pt x="0" y="15"/>
                      <a:pt x="5" y="18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637">
                <a:extLst>
                  <a:ext uri="{FF2B5EF4-FFF2-40B4-BE49-F238E27FC236}">
                    <a16:creationId xmlns:a16="http://schemas.microsoft.com/office/drawing/2014/main" id="{13A60F6A-58F0-491E-A5EA-389B0FFFE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11197" y="4326358"/>
                <a:ext cx="106778" cy="191313"/>
              </a:xfrm>
              <a:custGeom>
                <a:avLst/>
                <a:gdLst>
                  <a:gd name="T0" fmla="*/ 0 w 50"/>
                  <a:gd name="T1" fmla="*/ 4 h 89"/>
                  <a:gd name="T2" fmla="*/ 10 w 50"/>
                  <a:gd name="T3" fmla="*/ 19 h 89"/>
                  <a:gd name="T4" fmla="*/ 25 w 50"/>
                  <a:gd name="T5" fmla="*/ 29 h 89"/>
                  <a:gd name="T6" fmla="*/ 20 w 50"/>
                  <a:gd name="T7" fmla="*/ 37 h 89"/>
                  <a:gd name="T8" fmla="*/ 25 w 50"/>
                  <a:gd name="T9" fmla="*/ 42 h 89"/>
                  <a:gd name="T10" fmla="*/ 17 w 50"/>
                  <a:gd name="T11" fmla="*/ 44 h 89"/>
                  <a:gd name="T12" fmla="*/ 6 w 50"/>
                  <a:gd name="T13" fmla="*/ 38 h 89"/>
                  <a:gd name="T14" fmla="*/ 13 w 50"/>
                  <a:gd name="T15" fmla="*/ 60 h 89"/>
                  <a:gd name="T16" fmla="*/ 21 w 50"/>
                  <a:gd name="T17" fmla="*/ 66 h 89"/>
                  <a:gd name="T18" fmla="*/ 31 w 50"/>
                  <a:gd name="T19" fmla="*/ 89 h 89"/>
                  <a:gd name="T20" fmla="*/ 28 w 50"/>
                  <a:gd name="T21" fmla="*/ 80 h 89"/>
                  <a:gd name="T22" fmla="*/ 37 w 50"/>
                  <a:gd name="T23" fmla="*/ 79 h 89"/>
                  <a:gd name="T24" fmla="*/ 32 w 50"/>
                  <a:gd name="T25" fmla="*/ 67 h 89"/>
                  <a:gd name="T26" fmla="*/ 28 w 50"/>
                  <a:gd name="T27" fmla="*/ 58 h 89"/>
                  <a:gd name="T28" fmla="*/ 25 w 50"/>
                  <a:gd name="T29" fmla="*/ 46 h 89"/>
                  <a:gd name="T30" fmla="*/ 35 w 50"/>
                  <a:gd name="T31" fmla="*/ 52 h 89"/>
                  <a:gd name="T32" fmla="*/ 50 w 50"/>
                  <a:gd name="T33" fmla="*/ 54 h 89"/>
                  <a:gd name="T34" fmla="*/ 43 w 50"/>
                  <a:gd name="T35" fmla="*/ 47 h 89"/>
                  <a:gd name="T36" fmla="*/ 38 w 50"/>
                  <a:gd name="T37" fmla="*/ 29 h 89"/>
                  <a:gd name="T38" fmla="*/ 37 w 50"/>
                  <a:gd name="T39" fmla="*/ 17 h 89"/>
                  <a:gd name="T40" fmla="*/ 36 w 50"/>
                  <a:gd name="T41" fmla="*/ 13 h 89"/>
                  <a:gd name="T42" fmla="*/ 31 w 50"/>
                  <a:gd name="T43" fmla="*/ 9 h 89"/>
                  <a:gd name="T44" fmla="*/ 23 w 50"/>
                  <a:gd name="T45" fmla="*/ 3 h 89"/>
                  <a:gd name="T46" fmla="*/ 14 w 50"/>
                  <a:gd name="T47" fmla="*/ 3 h 89"/>
                  <a:gd name="T48" fmla="*/ 0 w 50"/>
                  <a:gd name="T49" fmla="*/ 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89">
                    <a:moveTo>
                      <a:pt x="0" y="4"/>
                    </a:moveTo>
                    <a:cubicBezTo>
                      <a:pt x="2" y="10"/>
                      <a:pt x="5" y="15"/>
                      <a:pt x="10" y="19"/>
                    </a:cubicBezTo>
                    <a:cubicBezTo>
                      <a:pt x="13" y="21"/>
                      <a:pt x="21" y="31"/>
                      <a:pt x="25" y="29"/>
                    </a:cubicBezTo>
                    <a:cubicBezTo>
                      <a:pt x="24" y="32"/>
                      <a:pt x="24" y="36"/>
                      <a:pt x="20" y="37"/>
                    </a:cubicBezTo>
                    <a:cubicBezTo>
                      <a:pt x="22" y="38"/>
                      <a:pt x="24" y="40"/>
                      <a:pt x="25" y="42"/>
                    </a:cubicBezTo>
                    <a:cubicBezTo>
                      <a:pt x="22" y="39"/>
                      <a:pt x="20" y="43"/>
                      <a:pt x="17" y="44"/>
                    </a:cubicBezTo>
                    <a:cubicBezTo>
                      <a:pt x="13" y="47"/>
                      <a:pt x="7" y="40"/>
                      <a:pt x="6" y="38"/>
                    </a:cubicBezTo>
                    <a:cubicBezTo>
                      <a:pt x="3" y="41"/>
                      <a:pt x="8" y="58"/>
                      <a:pt x="13" y="60"/>
                    </a:cubicBezTo>
                    <a:cubicBezTo>
                      <a:pt x="12" y="52"/>
                      <a:pt x="21" y="62"/>
                      <a:pt x="21" y="66"/>
                    </a:cubicBezTo>
                    <a:cubicBezTo>
                      <a:pt x="22" y="76"/>
                      <a:pt x="20" y="84"/>
                      <a:pt x="31" y="89"/>
                    </a:cubicBezTo>
                    <a:cubicBezTo>
                      <a:pt x="30" y="86"/>
                      <a:pt x="29" y="83"/>
                      <a:pt x="28" y="80"/>
                    </a:cubicBezTo>
                    <a:cubicBezTo>
                      <a:pt x="30" y="82"/>
                      <a:pt x="36" y="82"/>
                      <a:pt x="37" y="79"/>
                    </a:cubicBezTo>
                    <a:cubicBezTo>
                      <a:pt x="37" y="77"/>
                      <a:pt x="33" y="69"/>
                      <a:pt x="32" y="67"/>
                    </a:cubicBezTo>
                    <a:cubicBezTo>
                      <a:pt x="29" y="63"/>
                      <a:pt x="28" y="63"/>
                      <a:pt x="28" y="58"/>
                    </a:cubicBezTo>
                    <a:cubicBezTo>
                      <a:pt x="28" y="54"/>
                      <a:pt x="28" y="48"/>
                      <a:pt x="25" y="46"/>
                    </a:cubicBezTo>
                    <a:cubicBezTo>
                      <a:pt x="28" y="45"/>
                      <a:pt x="34" y="52"/>
                      <a:pt x="35" y="52"/>
                    </a:cubicBezTo>
                    <a:cubicBezTo>
                      <a:pt x="37" y="49"/>
                      <a:pt x="47" y="53"/>
                      <a:pt x="50" y="54"/>
                    </a:cubicBezTo>
                    <a:cubicBezTo>
                      <a:pt x="48" y="52"/>
                      <a:pt x="46" y="48"/>
                      <a:pt x="43" y="47"/>
                    </a:cubicBezTo>
                    <a:cubicBezTo>
                      <a:pt x="47" y="44"/>
                      <a:pt x="38" y="33"/>
                      <a:pt x="38" y="29"/>
                    </a:cubicBezTo>
                    <a:cubicBezTo>
                      <a:pt x="37" y="25"/>
                      <a:pt x="39" y="21"/>
                      <a:pt x="37" y="17"/>
                    </a:cubicBezTo>
                    <a:cubicBezTo>
                      <a:pt x="35" y="15"/>
                      <a:pt x="41" y="16"/>
                      <a:pt x="36" y="13"/>
                    </a:cubicBezTo>
                    <a:cubicBezTo>
                      <a:pt x="34" y="11"/>
                      <a:pt x="31" y="12"/>
                      <a:pt x="31" y="9"/>
                    </a:cubicBezTo>
                    <a:cubicBezTo>
                      <a:pt x="31" y="4"/>
                      <a:pt x="27" y="3"/>
                      <a:pt x="23" y="3"/>
                    </a:cubicBezTo>
                    <a:cubicBezTo>
                      <a:pt x="19" y="2"/>
                      <a:pt x="18" y="2"/>
                      <a:pt x="14" y="3"/>
                    </a:cubicBezTo>
                    <a:cubicBezTo>
                      <a:pt x="9" y="4"/>
                      <a:pt x="4" y="0"/>
                      <a:pt x="0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638">
                <a:extLst>
                  <a:ext uri="{FF2B5EF4-FFF2-40B4-BE49-F238E27FC236}">
                    <a16:creationId xmlns:a16="http://schemas.microsoft.com/office/drawing/2014/main" id="{F49A1DC4-A93A-40F2-B178-825A44BAC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11197" y="4326358"/>
                <a:ext cx="106778" cy="191313"/>
              </a:xfrm>
              <a:custGeom>
                <a:avLst/>
                <a:gdLst>
                  <a:gd name="T0" fmla="*/ 0 w 50"/>
                  <a:gd name="T1" fmla="*/ 4 h 89"/>
                  <a:gd name="T2" fmla="*/ 10 w 50"/>
                  <a:gd name="T3" fmla="*/ 19 h 89"/>
                  <a:gd name="T4" fmla="*/ 25 w 50"/>
                  <a:gd name="T5" fmla="*/ 29 h 89"/>
                  <a:gd name="T6" fmla="*/ 20 w 50"/>
                  <a:gd name="T7" fmla="*/ 37 h 89"/>
                  <a:gd name="T8" fmla="*/ 25 w 50"/>
                  <a:gd name="T9" fmla="*/ 42 h 89"/>
                  <a:gd name="T10" fmla="*/ 17 w 50"/>
                  <a:gd name="T11" fmla="*/ 44 h 89"/>
                  <a:gd name="T12" fmla="*/ 6 w 50"/>
                  <a:gd name="T13" fmla="*/ 38 h 89"/>
                  <a:gd name="T14" fmla="*/ 13 w 50"/>
                  <a:gd name="T15" fmla="*/ 60 h 89"/>
                  <a:gd name="T16" fmla="*/ 21 w 50"/>
                  <a:gd name="T17" fmla="*/ 66 h 89"/>
                  <a:gd name="T18" fmla="*/ 31 w 50"/>
                  <a:gd name="T19" fmla="*/ 89 h 89"/>
                  <a:gd name="T20" fmla="*/ 28 w 50"/>
                  <a:gd name="T21" fmla="*/ 80 h 89"/>
                  <a:gd name="T22" fmla="*/ 37 w 50"/>
                  <a:gd name="T23" fmla="*/ 79 h 89"/>
                  <a:gd name="T24" fmla="*/ 32 w 50"/>
                  <a:gd name="T25" fmla="*/ 67 h 89"/>
                  <a:gd name="T26" fmla="*/ 28 w 50"/>
                  <a:gd name="T27" fmla="*/ 58 h 89"/>
                  <a:gd name="T28" fmla="*/ 25 w 50"/>
                  <a:gd name="T29" fmla="*/ 46 h 89"/>
                  <a:gd name="T30" fmla="*/ 35 w 50"/>
                  <a:gd name="T31" fmla="*/ 52 h 89"/>
                  <a:gd name="T32" fmla="*/ 50 w 50"/>
                  <a:gd name="T33" fmla="*/ 54 h 89"/>
                  <a:gd name="T34" fmla="*/ 43 w 50"/>
                  <a:gd name="T35" fmla="*/ 47 h 89"/>
                  <a:gd name="T36" fmla="*/ 38 w 50"/>
                  <a:gd name="T37" fmla="*/ 29 h 89"/>
                  <a:gd name="T38" fmla="*/ 37 w 50"/>
                  <a:gd name="T39" fmla="*/ 17 h 89"/>
                  <a:gd name="T40" fmla="*/ 36 w 50"/>
                  <a:gd name="T41" fmla="*/ 13 h 89"/>
                  <a:gd name="T42" fmla="*/ 31 w 50"/>
                  <a:gd name="T43" fmla="*/ 9 h 89"/>
                  <a:gd name="T44" fmla="*/ 23 w 50"/>
                  <a:gd name="T45" fmla="*/ 3 h 89"/>
                  <a:gd name="T46" fmla="*/ 14 w 50"/>
                  <a:gd name="T47" fmla="*/ 3 h 89"/>
                  <a:gd name="T48" fmla="*/ 0 w 50"/>
                  <a:gd name="T49" fmla="*/ 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" h="89">
                    <a:moveTo>
                      <a:pt x="0" y="4"/>
                    </a:moveTo>
                    <a:cubicBezTo>
                      <a:pt x="2" y="10"/>
                      <a:pt x="5" y="15"/>
                      <a:pt x="10" y="19"/>
                    </a:cubicBezTo>
                    <a:cubicBezTo>
                      <a:pt x="13" y="21"/>
                      <a:pt x="21" y="31"/>
                      <a:pt x="25" y="29"/>
                    </a:cubicBezTo>
                    <a:cubicBezTo>
                      <a:pt x="24" y="32"/>
                      <a:pt x="24" y="36"/>
                      <a:pt x="20" y="37"/>
                    </a:cubicBezTo>
                    <a:cubicBezTo>
                      <a:pt x="22" y="38"/>
                      <a:pt x="24" y="40"/>
                      <a:pt x="25" y="42"/>
                    </a:cubicBezTo>
                    <a:cubicBezTo>
                      <a:pt x="22" y="39"/>
                      <a:pt x="20" y="43"/>
                      <a:pt x="17" y="44"/>
                    </a:cubicBezTo>
                    <a:cubicBezTo>
                      <a:pt x="13" y="47"/>
                      <a:pt x="7" y="40"/>
                      <a:pt x="6" y="38"/>
                    </a:cubicBezTo>
                    <a:cubicBezTo>
                      <a:pt x="3" y="41"/>
                      <a:pt x="8" y="58"/>
                      <a:pt x="13" y="60"/>
                    </a:cubicBezTo>
                    <a:cubicBezTo>
                      <a:pt x="12" y="52"/>
                      <a:pt x="21" y="62"/>
                      <a:pt x="21" y="66"/>
                    </a:cubicBezTo>
                    <a:cubicBezTo>
                      <a:pt x="22" y="76"/>
                      <a:pt x="20" y="84"/>
                      <a:pt x="31" y="89"/>
                    </a:cubicBezTo>
                    <a:cubicBezTo>
                      <a:pt x="30" y="86"/>
                      <a:pt x="29" y="83"/>
                      <a:pt x="28" y="80"/>
                    </a:cubicBezTo>
                    <a:cubicBezTo>
                      <a:pt x="30" y="82"/>
                      <a:pt x="36" y="82"/>
                      <a:pt x="37" y="79"/>
                    </a:cubicBezTo>
                    <a:cubicBezTo>
                      <a:pt x="37" y="77"/>
                      <a:pt x="33" y="69"/>
                      <a:pt x="32" y="67"/>
                    </a:cubicBezTo>
                    <a:cubicBezTo>
                      <a:pt x="29" y="63"/>
                      <a:pt x="28" y="63"/>
                      <a:pt x="28" y="58"/>
                    </a:cubicBezTo>
                    <a:cubicBezTo>
                      <a:pt x="28" y="54"/>
                      <a:pt x="28" y="48"/>
                      <a:pt x="25" y="46"/>
                    </a:cubicBezTo>
                    <a:cubicBezTo>
                      <a:pt x="28" y="45"/>
                      <a:pt x="34" y="52"/>
                      <a:pt x="35" y="52"/>
                    </a:cubicBezTo>
                    <a:cubicBezTo>
                      <a:pt x="37" y="49"/>
                      <a:pt x="47" y="53"/>
                      <a:pt x="50" y="54"/>
                    </a:cubicBezTo>
                    <a:cubicBezTo>
                      <a:pt x="48" y="52"/>
                      <a:pt x="46" y="48"/>
                      <a:pt x="43" y="47"/>
                    </a:cubicBezTo>
                    <a:cubicBezTo>
                      <a:pt x="47" y="44"/>
                      <a:pt x="38" y="33"/>
                      <a:pt x="38" y="29"/>
                    </a:cubicBezTo>
                    <a:cubicBezTo>
                      <a:pt x="37" y="25"/>
                      <a:pt x="39" y="21"/>
                      <a:pt x="37" y="17"/>
                    </a:cubicBezTo>
                    <a:cubicBezTo>
                      <a:pt x="35" y="15"/>
                      <a:pt x="41" y="16"/>
                      <a:pt x="36" y="13"/>
                    </a:cubicBezTo>
                    <a:cubicBezTo>
                      <a:pt x="34" y="11"/>
                      <a:pt x="31" y="12"/>
                      <a:pt x="31" y="9"/>
                    </a:cubicBezTo>
                    <a:cubicBezTo>
                      <a:pt x="31" y="4"/>
                      <a:pt x="27" y="3"/>
                      <a:pt x="23" y="3"/>
                    </a:cubicBezTo>
                    <a:cubicBezTo>
                      <a:pt x="19" y="2"/>
                      <a:pt x="18" y="2"/>
                      <a:pt x="14" y="3"/>
                    </a:cubicBezTo>
                    <a:cubicBezTo>
                      <a:pt x="9" y="4"/>
                      <a:pt x="4" y="0"/>
                      <a:pt x="0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639">
                <a:extLst>
                  <a:ext uri="{FF2B5EF4-FFF2-40B4-BE49-F238E27FC236}">
                    <a16:creationId xmlns:a16="http://schemas.microsoft.com/office/drawing/2014/main" id="{1422BCD8-F1FE-458E-8FFF-02813716C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55688" y="4575507"/>
                <a:ext cx="13349" cy="13349"/>
              </a:xfrm>
              <a:custGeom>
                <a:avLst/>
                <a:gdLst>
                  <a:gd name="T0" fmla="*/ 5 w 6"/>
                  <a:gd name="T1" fmla="*/ 7 h 7"/>
                  <a:gd name="T2" fmla="*/ 0 w 6"/>
                  <a:gd name="T3" fmla="*/ 3 h 7"/>
                  <a:gd name="T4" fmla="*/ 5 w 6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5" y="7"/>
                    </a:moveTo>
                    <a:cubicBezTo>
                      <a:pt x="6" y="4"/>
                      <a:pt x="3" y="0"/>
                      <a:pt x="0" y="3"/>
                    </a:cubicBezTo>
                    <a:cubicBezTo>
                      <a:pt x="1" y="5"/>
                      <a:pt x="2" y="7"/>
                      <a:pt x="5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640">
                <a:extLst>
                  <a:ext uri="{FF2B5EF4-FFF2-40B4-BE49-F238E27FC236}">
                    <a16:creationId xmlns:a16="http://schemas.microsoft.com/office/drawing/2014/main" id="{8D0CEBA6-E592-4324-941A-01CAE9899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55688" y="4575507"/>
                <a:ext cx="13349" cy="13349"/>
              </a:xfrm>
              <a:custGeom>
                <a:avLst/>
                <a:gdLst>
                  <a:gd name="T0" fmla="*/ 5 w 6"/>
                  <a:gd name="T1" fmla="*/ 7 h 7"/>
                  <a:gd name="T2" fmla="*/ 0 w 6"/>
                  <a:gd name="T3" fmla="*/ 3 h 7"/>
                  <a:gd name="T4" fmla="*/ 5 w 6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5" y="7"/>
                    </a:moveTo>
                    <a:cubicBezTo>
                      <a:pt x="6" y="4"/>
                      <a:pt x="3" y="0"/>
                      <a:pt x="0" y="3"/>
                    </a:cubicBezTo>
                    <a:cubicBezTo>
                      <a:pt x="1" y="5"/>
                      <a:pt x="2" y="7"/>
                      <a:pt x="5" y="7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641">
                <a:extLst>
                  <a:ext uri="{FF2B5EF4-FFF2-40B4-BE49-F238E27FC236}">
                    <a16:creationId xmlns:a16="http://schemas.microsoft.com/office/drawing/2014/main" id="{07D905D0-7D81-42EE-A4CD-10A4DD384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2382" y="4513220"/>
                <a:ext cx="13349" cy="13349"/>
              </a:xfrm>
              <a:custGeom>
                <a:avLst/>
                <a:gdLst>
                  <a:gd name="T0" fmla="*/ 3 w 6"/>
                  <a:gd name="T1" fmla="*/ 4 h 7"/>
                  <a:gd name="T2" fmla="*/ 6 w 6"/>
                  <a:gd name="T3" fmla="*/ 7 h 7"/>
                  <a:gd name="T4" fmla="*/ 0 w 6"/>
                  <a:gd name="T5" fmla="*/ 1 h 7"/>
                  <a:gd name="T6" fmla="*/ 3 w 6"/>
                  <a:gd name="T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4"/>
                    </a:moveTo>
                    <a:cubicBezTo>
                      <a:pt x="4" y="5"/>
                      <a:pt x="5" y="6"/>
                      <a:pt x="6" y="7"/>
                    </a:cubicBezTo>
                    <a:cubicBezTo>
                      <a:pt x="6" y="4"/>
                      <a:pt x="4" y="0"/>
                      <a:pt x="0" y="1"/>
                    </a:cubicBezTo>
                    <a:cubicBezTo>
                      <a:pt x="1" y="2"/>
                      <a:pt x="2" y="3"/>
                      <a:pt x="3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642">
                <a:extLst>
                  <a:ext uri="{FF2B5EF4-FFF2-40B4-BE49-F238E27FC236}">
                    <a16:creationId xmlns:a16="http://schemas.microsoft.com/office/drawing/2014/main" id="{957A5E13-E78E-4FBE-8A03-D81EF92A6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2382" y="4513220"/>
                <a:ext cx="13349" cy="13349"/>
              </a:xfrm>
              <a:custGeom>
                <a:avLst/>
                <a:gdLst>
                  <a:gd name="T0" fmla="*/ 3 w 6"/>
                  <a:gd name="T1" fmla="*/ 4 h 7"/>
                  <a:gd name="T2" fmla="*/ 6 w 6"/>
                  <a:gd name="T3" fmla="*/ 7 h 7"/>
                  <a:gd name="T4" fmla="*/ 0 w 6"/>
                  <a:gd name="T5" fmla="*/ 1 h 7"/>
                  <a:gd name="T6" fmla="*/ 3 w 6"/>
                  <a:gd name="T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4"/>
                    </a:moveTo>
                    <a:cubicBezTo>
                      <a:pt x="4" y="5"/>
                      <a:pt x="5" y="6"/>
                      <a:pt x="6" y="7"/>
                    </a:cubicBezTo>
                    <a:cubicBezTo>
                      <a:pt x="6" y="4"/>
                      <a:pt x="4" y="0"/>
                      <a:pt x="0" y="1"/>
                    </a:cubicBezTo>
                    <a:cubicBezTo>
                      <a:pt x="1" y="2"/>
                      <a:pt x="2" y="3"/>
                      <a:pt x="3" y="4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643">
                <a:extLst>
                  <a:ext uri="{FF2B5EF4-FFF2-40B4-BE49-F238E27FC236}">
                    <a16:creationId xmlns:a16="http://schemas.microsoft.com/office/drawing/2014/main" id="{6072BCDF-6D86-4007-8BD1-61A03A1E9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4629" y="4486525"/>
                <a:ext cx="17796" cy="48941"/>
              </a:xfrm>
              <a:custGeom>
                <a:avLst/>
                <a:gdLst>
                  <a:gd name="T0" fmla="*/ 4 w 9"/>
                  <a:gd name="T1" fmla="*/ 15 h 22"/>
                  <a:gd name="T2" fmla="*/ 5 w 9"/>
                  <a:gd name="T3" fmla="*/ 21 h 22"/>
                  <a:gd name="T4" fmla="*/ 8 w 9"/>
                  <a:gd name="T5" fmla="*/ 13 h 22"/>
                  <a:gd name="T6" fmla="*/ 5 w 9"/>
                  <a:gd name="T7" fmla="*/ 6 h 22"/>
                  <a:gd name="T8" fmla="*/ 6 w 9"/>
                  <a:gd name="T9" fmla="*/ 0 h 22"/>
                  <a:gd name="T10" fmla="*/ 1 w 9"/>
                  <a:gd name="T11" fmla="*/ 11 h 22"/>
                  <a:gd name="T12" fmla="*/ 4 w 9"/>
                  <a:gd name="T1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2">
                    <a:moveTo>
                      <a:pt x="4" y="15"/>
                    </a:moveTo>
                    <a:cubicBezTo>
                      <a:pt x="7" y="17"/>
                      <a:pt x="7" y="19"/>
                      <a:pt x="5" y="21"/>
                    </a:cubicBezTo>
                    <a:cubicBezTo>
                      <a:pt x="9" y="22"/>
                      <a:pt x="8" y="16"/>
                      <a:pt x="8" y="13"/>
                    </a:cubicBezTo>
                    <a:cubicBezTo>
                      <a:pt x="7" y="11"/>
                      <a:pt x="6" y="9"/>
                      <a:pt x="5" y="6"/>
                    </a:cubicBezTo>
                    <a:cubicBezTo>
                      <a:pt x="5" y="4"/>
                      <a:pt x="7" y="2"/>
                      <a:pt x="6" y="0"/>
                    </a:cubicBezTo>
                    <a:cubicBezTo>
                      <a:pt x="0" y="2"/>
                      <a:pt x="5" y="7"/>
                      <a:pt x="1" y="11"/>
                    </a:cubicBezTo>
                    <a:cubicBezTo>
                      <a:pt x="4" y="11"/>
                      <a:pt x="5" y="13"/>
                      <a:pt x="4" y="1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644">
                <a:extLst>
                  <a:ext uri="{FF2B5EF4-FFF2-40B4-BE49-F238E27FC236}">
                    <a16:creationId xmlns:a16="http://schemas.microsoft.com/office/drawing/2014/main" id="{05AE1DF9-A8C3-4DB9-9A3D-61AFCB51B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4629" y="4486525"/>
                <a:ext cx="17796" cy="48941"/>
              </a:xfrm>
              <a:custGeom>
                <a:avLst/>
                <a:gdLst>
                  <a:gd name="T0" fmla="*/ 4 w 9"/>
                  <a:gd name="T1" fmla="*/ 15 h 22"/>
                  <a:gd name="T2" fmla="*/ 5 w 9"/>
                  <a:gd name="T3" fmla="*/ 21 h 22"/>
                  <a:gd name="T4" fmla="*/ 8 w 9"/>
                  <a:gd name="T5" fmla="*/ 13 h 22"/>
                  <a:gd name="T6" fmla="*/ 5 w 9"/>
                  <a:gd name="T7" fmla="*/ 6 h 22"/>
                  <a:gd name="T8" fmla="*/ 6 w 9"/>
                  <a:gd name="T9" fmla="*/ 0 h 22"/>
                  <a:gd name="T10" fmla="*/ 1 w 9"/>
                  <a:gd name="T11" fmla="*/ 11 h 22"/>
                  <a:gd name="T12" fmla="*/ 4 w 9"/>
                  <a:gd name="T1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2">
                    <a:moveTo>
                      <a:pt x="4" y="15"/>
                    </a:moveTo>
                    <a:cubicBezTo>
                      <a:pt x="7" y="17"/>
                      <a:pt x="7" y="19"/>
                      <a:pt x="5" y="21"/>
                    </a:cubicBezTo>
                    <a:cubicBezTo>
                      <a:pt x="9" y="22"/>
                      <a:pt x="8" y="16"/>
                      <a:pt x="8" y="13"/>
                    </a:cubicBezTo>
                    <a:cubicBezTo>
                      <a:pt x="7" y="11"/>
                      <a:pt x="6" y="9"/>
                      <a:pt x="5" y="6"/>
                    </a:cubicBezTo>
                    <a:cubicBezTo>
                      <a:pt x="5" y="4"/>
                      <a:pt x="7" y="2"/>
                      <a:pt x="6" y="0"/>
                    </a:cubicBezTo>
                    <a:cubicBezTo>
                      <a:pt x="0" y="2"/>
                      <a:pt x="5" y="7"/>
                      <a:pt x="1" y="11"/>
                    </a:cubicBezTo>
                    <a:cubicBezTo>
                      <a:pt x="4" y="11"/>
                      <a:pt x="5" y="13"/>
                      <a:pt x="4" y="15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645">
                <a:extLst>
                  <a:ext uri="{FF2B5EF4-FFF2-40B4-BE49-F238E27FC236}">
                    <a16:creationId xmlns:a16="http://schemas.microsoft.com/office/drawing/2014/main" id="{3634B937-0F59-47BC-AFE3-331D08C12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0222" y="4517670"/>
                <a:ext cx="17796" cy="22247"/>
              </a:xfrm>
              <a:custGeom>
                <a:avLst/>
                <a:gdLst>
                  <a:gd name="T0" fmla="*/ 3 w 9"/>
                  <a:gd name="T1" fmla="*/ 0 h 10"/>
                  <a:gd name="T2" fmla="*/ 5 w 9"/>
                  <a:gd name="T3" fmla="*/ 9 h 10"/>
                  <a:gd name="T4" fmla="*/ 3 w 9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0"/>
                    </a:moveTo>
                    <a:cubicBezTo>
                      <a:pt x="1" y="2"/>
                      <a:pt x="0" y="10"/>
                      <a:pt x="5" y="9"/>
                    </a:cubicBezTo>
                    <a:cubicBezTo>
                      <a:pt x="9" y="8"/>
                      <a:pt x="6" y="1"/>
                      <a:pt x="3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646">
                <a:extLst>
                  <a:ext uri="{FF2B5EF4-FFF2-40B4-BE49-F238E27FC236}">
                    <a16:creationId xmlns:a16="http://schemas.microsoft.com/office/drawing/2014/main" id="{36CDF4C4-E57D-406F-8E1D-1635AC871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0222" y="4517670"/>
                <a:ext cx="17796" cy="22247"/>
              </a:xfrm>
              <a:custGeom>
                <a:avLst/>
                <a:gdLst>
                  <a:gd name="T0" fmla="*/ 3 w 9"/>
                  <a:gd name="T1" fmla="*/ 0 h 10"/>
                  <a:gd name="T2" fmla="*/ 5 w 9"/>
                  <a:gd name="T3" fmla="*/ 9 h 10"/>
                  <a:gd name="T4" fmla="*/ 3 w 9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3" y="0"/>
                    </a:moveTo>
                    <a:cubicBezTo>
                      <a:pt x="1" y="2"/>
                      <a:pt x="0" y="10"/>
                      <a:pt x="5" y="9"/>
                    </a:cubicBezTo>
                    <a:cubicBezTo>
                      <a:pt x="9" y="8"/>
                      <a:pt x="6" y="1"/>
                      <a:pt x="3" y="0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649">
                <a:extLst>
                  <a:ext uri="{FF2B5EF4-FFF2-40B4-BE49-F238E27FC236}">
                    <a16:creationId xmlns:a16="http://schemas.microsoft.com/office/drawing/2014/main" id="{ED4D070E-1748-4A18-B2A3-B2642E957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4545" y="4468729"/>
                <a:ext cx="8898" cy="8898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0 h 3"/>
                  <a:gd name="T4" fmla="*/ 0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3" y="0"/>
                      <a:pt x="3" y="1"/>
                      <a:pt x="0" y="3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650">
                <a:extLst>
                  <a:ext uri="{FF2B5EF4-FFF2-40B4-BE49-F238E27FC236}">
                    <a16:creationId xmlns:a16="http://schemas.microsoft.com/office/drawing/2014/main" id="{B5C9B29B-25BD-4870-BB92-75B1AC795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4545" y="4468729"/>
                <a:ext cx="8898" cy="8898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0 h 3"/>
                  <a:gd name="T4" fmla="*/ 0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3" y="0"/>
                      <a:pt x="3" y="1"/>
                      <a:pt x="0" y="3"/>
                    </a:cubicBezTo>
                  </a:path>
                </a:pathLst>
              </a:custGeom>
              <a:grpFill/>
              <a:ln w="15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05" name="Freeform 651">
              <a:extLst>
                <a:ext uri="{FF2B5EF4-FFF2-40B4-BE49-F238E27FC236}">
                  <a16:creationId xmlns:a16="http://schemas.microsoft.com/office/drawing/2014/main" id="{0A2DE042-7F71-4538-9ECD-A4C36CC1A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563" y="2190791"/>
              <a:ext cx="516095" cy="351480"/>
            </a:xfrm>
            <a:custGeom>
              <a:avLst/>
              <a:gdLst>
                <a:gd name="T0" fmla="*/ 9 w 237"/>
                <a:gd name="T1" fmla="*/ 49 h 162"/>
                <a:gd name="T2" fmla="*/ 33 w 237"/>
                <a:gd name="T3" fmla="*/ 43 h 162"/>
                <a:gd name="T4" fmla="*/ 38 w 237"/>
                <a:gd name="T5" fmla="*/ 38 h 162"/>
                <a:gd name="T6" fmla="*/ 39 w 237"/>
                <a:gd name="T7" fmla="*/ 33 h 162"/>
                <a:gd name="T8" fmla="*/ 48 w 237"/>
                <a:gd name="T9" fmla="*/ 28 h 162"/>
                <a:gd name="T10" fmla="*/ 45 w 237"/>
                <a:gd name="T11" fmla="*/ 9 h 162"/>
                <a:gd name="T12" fmla="*/ 73 w 237"/>
                <a:gd name="T13" fmla="*/ 0 h 162"/>
                <a:gd name="T14" fmla="*/ 79 w 237"/>
                <a:gd name="T15" fmla="*/ 17 h 162"/>
                <a:gd name="T16" fmla="*/ 86 w 237"/>
                <a:gd name="T17" fmla="*/ 28 h 162"/>
                <a:gd name="T18" fmla="*/ 83 w 237"/>
                <a:gd name="T19" fmla="*/ 38 h 162"/>
                <a:gd name="T20" fmla="*/ 55 w 237"/>
                <a:gd name="T21" fmla="*/ 38 h 162"/>
                <a:gd name="T22" fmla="*/ 64 w 237"/>
                <a:gd name="T23" fmla="*/ 50 h 162"/>
                <a:gd name="T24" fmla="*/ 79 w 237"/>
                <a:gd name="T25" fmla="*/ 52 h 162"/>
                <a:gd name="T26" fmla="*/ 95 w 237"/>
                <a:gd name="T27" fmla="*/ 56 h 162"/>
                <a:gd name="T28" fmla="*/ 116 w 237"/>
                <a:gd name="T29" fmla="*/ 53 h 162"/>
                <a:gd name="T30" fmla="*/ 123 w 237"/>
                <a:gd name="T31" fmla="*/ 57 h 162"/>
                <a:gd name="T32" fmla="*/ 164 w 237"/>
                <a:gd name="T33" fmla="*/ 57 h 162"/>
                <a:gd name="T34" fmla="*/ 179 w 237"/>
                <a:gd name="T35" fmla="*/ 63 h 162"/>
                <a:gd name="T36" fmla="*/ 188 w 237"/>
                <a:gd name="T37" fmla="*/ 83 h 162"/>
                <a:gd name="T38" fmla="*/ 207 w 237"/>
                <a:gd name="T39" fmla="*/ 83 h 162"/>
                <a:gd name="T40" fmla="*/ 228 w 237"/>
                <a:gd name="T41" fmla="*/ 111 h 162"/>
                <a:gd name="T42" fmla="*/ 235 w 237"/>
                <a:gd name="T43" fmla="*/ 123 h 162"/>
                <a:gd name="T44" fmla="*/ 227 w 237"/>
                <a:gd name="T45" fmla="*/ 127 h 162"/>
                <a:gd name="T46" fmla="*/ 196 w 237"/>
                <a:gd name="T47" fmla="*/ 130 h 162"/>
                <a:gd name="T48" fmla="*/ 170 w 237"/>
                <a:gd name="T49" fmla="*/ 135 h 162"/>
                <a:gd name="T50" fmla="*/ 131 w 237"/>
                <a:gd name="T51" fmla="*/ 112 h 162"/>
                <a:gd name="T52" fmla="*/ 122 w 237"/>
                <a:gd name="T53" fmla="*/ 97 h 162"/>
                <a:gd name="T54" fmla="*/ 92 w 237"/>
                <a:gd name="T55" fmla="*/ 106 h 162"/>
                <a:gd name="T56" fmla="*/ 87 w 237"/>
                <a:gd name="T57" fmla="*/ 119 h 162"/>
                <a:gd name="T58" fmla="*/ 74 w 237"/>
                <a:gd name="T59" fmla="*/ 129 h 162"/>
                <a:gd name="T60" fmla="*/ 50 w 237"/>
                <a:gd name="T61" fmla="*/ 133 h 162"/>
                <a:gd name="T62" fmla="*/ 34 w 237"/>
                <a:gd name="T63" fmla="*/ 139 h 162"/>
                <a:gd name="T64" fmla="*/ 32 w 237"/>
                <a:gd name="T65" fmla="*/ 93 h 162"/>
                <a:gd name="T66" fmla="*/ 11 w 237"/>
                <a:gd name="T67" fmla="*/ 6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7" h="162">
                  <a:moveTo>
                    <a:pt x="0" y="60"/>
                  </a:moveTo>
                  <a:cubicBezTo>
                    <a:pt x="3" y="56"/>
                    <a:pt x="0" y="49"/>
                    <a:pt x="9" y="49"/>
                  </a:cubicBezTo>
                  <a:cubicBezTo>
                    <a:pt x="15" y="49"/>
                    <a:pt x="21" y="52"/>
                    <a:pt x="28" y="51"/>
                  </a:cubicBezTo>
                  <a:cubicBezTo>
                    <a:pt x="32" y="50"/>
                    <a:pt x="33" y="47"/>
                    <a:pt x="33" y="43"/>
                  </a:cubicBezTo>
                  <a:cubicBezTo>
                    <a:pt x="32" y="42"/>
                    <a:pt x="32" y="40"/>
                    <a:pt x="34" y="39"/>
                  </a:cubicBezTo>
                  <a:cubicBezTo>
                    <a:pt x="38" y="38"/>
                    <a:pt x="34" y="34"/>
                    <a:pt x="38" y="38"/>
                  </a:cubicBezTo>
                  <a:cubicBezTo>
                    <a:pt x="36" y="37"/>
                    <a:pt x="35" y="35"/>
                    <a:pt x="34" y="33"/>
                  </a:cubicBezTo>
                  <a:cubicBezTo>
                    <a:pt x="36" y="33"/>
                    <a:pt x="37" y="33"/>
                    <a:pt x="39" y="33"/>
                  </a:cubicBezTo>
                  <a:cubicBezTo>
                    <a:pt x="36" y="29"/>
                    <a:pt x="32" y="33"/>
                    <a:pt x="28" y="30"/>
                  </a:cubicBezTo>
                  <a:cubicBezTo>
                    <a:pt x="34" y="24"/>
                    <a:pt x="42" y="31"/>
                    <a:pt x="48" y="28"/>
                  </a:cubicBezTo>
                  <a:cubicBezTo>
                    <a:pt x="45" y="26"/>
                    <a:pt x="48" y="24"/>
                    <a:pt x="46" y="21"/>
                  </a:cubicBezTo>
                  <a:cubicBezTo>
                    <a:pt x="44" y="18"/>
                    <a:pt x="41" y="11"/>
                    <a:pt x="45" y="9"/>
                  </a:cubicBezTo>
                  <a:cubicBezTo>
                    <a:pt x="50" y="7"/>
                    <a:pt x="53" y="13"/>
                    <a:pt x="57" y="12"/>
                  </a:cubicBezTo>
                  <a:cubicBezTo>
                    <a:pt x="63" y="11"/>
                    <a:pt x="70" y="5"/>
                    <a:pt x="73" y="0"/>
                  </a:cubicBezTo>
                  <a:cubicBezTo>
                    <a:pt x="76" y="2"/>
                    <a:pt x="78" y="6"/>
                    <a:pt x="81" y="9"/>
                  </a:cubicBezTo>
                  <a:cubicBezTo>
                    <a:pt x="85" y="12"/>
                    <a:pt x="83" y="14"/>
                    <a:pt x="79" y="17"/>
                  </a:cubicBezTo>
                  <a:cubicBezTo>
                    <a:pt x="74" y="21"/>
                    <a:pt x="75" y="20"/>
                    <a:pt x="80" y="23"/>
                  </a:cubicBezTo>
                  <a:cubicBezTo>
                    <a:pt x="82" y="25"/>
                    <a:pt x="83" y="28"/>
                    <a:pt x="86" y="28"/>
                  </a:cubicBezTo>
                  <a:cubicBezTo>
                    <a:pt x="89" y="29"/>
                    <a:pt x="91" y="27"/>
                    <a:pt x="94" y="27"/>
                  </a:cubicBezTo>
                  <a:cubicBezTo>
                    <a:pt x="92" y="30"/>
                    <a:pt x="86" y="37"/>
                    <a:pt x="83" y="38"/>
                  </a:cubicBezTo>
                  <a:cubicBezTo>
                    <a:pt x="87" y="34"/>
                    <a:pt x="72" y="28"/>
                    <a:pt x="68" y="28"/>
                  </a:cubicBezTo>
                  <a:cubicBezTo>
                    <a:pt x="60" y="27"/>
                    <a:pt x="55" y="31"/>
                    <a:pt x="55" y="38"/>
                  </a:cubicBezTo>
                  <a:cubicBezTo>
                    <a:pt x="48" y="32"/>
                    <a:pt x="52" y="48"/>
                    <a:pt x="53" y="50"/>
                  </a:cubicBezTo>
                  <a:cubicBezTo>
                    <a:pt x="56" y="54"/>
                    <a:pt x="61" y="50"/>
                    <a:pt x="64" y="50"/>
                  </a:cubicBezTo>
                  <a:cubicBezTo>
                    <a:pt x="69" y="49"/>
                    <a:pt x="73" y="52"/>
                    <a:pt x="79" y="49"/>
                  </a:cubicBezTo>
                  <a:cubicBezTo>
                    <a:pt x="79" y="50"/>
                    <a:pt x="79" y="51"/>
                    <a:pt x="79" y="52"/>
                  </a:cubicBezTo>
                  <a:cubicBezTo>
                    <a:pt x="82" y="51"/>
                    <a:pt x="85" y="49"/>
                    <a:pt x="88" y="50"/>
                  </a:cubicBezTo>
                  <a:cubicBezTo>
                    <a:pt x="92" y="51"/>
                    <a:pt x="92" y="55"/>
                    <a:pt x="95" y="56"/>
                  </a:cubicBezTo>
                  <a:cubicBezTo>
                    <a:pt x="99" y="58"/>
                    <a:pt x="108" y="52"/>
                    <a:pt x="112" y="50"/>
                  </a:cubicBezTo>
                  <a:cubicBezTo>
                    <a:pt x="116" y="47"/>
                    <a:pt x="115" y="52"/>
                    <a:pt x="116" y="53"/>
                  </a:cubicBezTo>
                  <a:cubicBezTo>
                    <a:pt x="118" y="54"/>
                    <a:pt x="120" y="54"/>
                    <a:pt x="122" y="54"/>
                  </a:cubicBezTo>
                  <a:cubicBezTo>
                    <a:pt x="122" y="55"/>
                    <a:pt x="123" y="56"/>
                    <a:pt x="123" y="57"/>
                  </a:cubicBezTo>
                  <a:cubicBezTo>
                    <a:pt x="129" y="61"/>
                    <a:pt x="134" y="56"/>
                    <a:pt x="139" y="63"/>
                  </a:cubicBezTo>
                  <a:cubicBezTo>
                    <a:pt x="140" y="53"/>
                    <a:pt x="157" y="57"/>
                    <a:pt x="164" y="57"/>
                  </a:cubicBezTo>
                  <a:cubicBezTo>
                    <a:pt x="167" y="57"/>
                    <a:pt x="173" y="52"/>
                    <a:pt x="176" y="55"/>
                  </a:cubicBezTo>
                  <a:cubicBezTo>
                    <a:pt x="178" y="57"/>
                    <a:pt x="178" y="60"/>
                    <a:pt x="179" y="63"/>
                  </a:cubicBezTo>
                  <a:cubicBezTo>
                    <a:pt x="180" y="66"/>
                    <a:pt x="184" y="69"/>
                    <a:pt x="187" y="72"/>
                  </a:cubicBezTo>
                  <a:cubicBezTo>
                    <a:pt x="180" y="72"/>
                    <a:pt x="187" y="81"/>
                    <a:pt x="188" y="83"/>
                  </a:cubicBezTo>
                  <a:cubicBezTo>
                    <a:pt x="191" y="85"/>
                    <a:pt x="194" y="86"/>
                    <a:pt x="196" y="83"/>
                  </a:cubicBezTo>
                  <a:cubicBezTo>
                    <a:pt x="199" y="80"/>
                    <a:pt x="203" y="82"/>
                    <a:pt x="207" y="83"/>
                  </a:cubicBezTo>
                  <a:cubicBezTo>
                    <a:pt x="215" y="85"/>
                    <a:pt x="220" y="86"/>
                    <a:pt x="220" y="95"/>
                  </a:cubicBezTo>
                  <a:cubicBezTo>
                    <a:pt x="220" y="98"/>
                    <a:pt x="226" y="109"/>
                    <a:pt x="228" y="111"/>
                  </a:cubicBezTo>
                  <a:cubicBezTo>
                    <a:pt x="230" y="112"/>
                    <a:pt x="229" y="116"/>
                    <a:pt x="230" y="118"/>
                  </a:cubicBezTo>
                  <a:cubicBezTo>
                    <a:pt x="231" y="121"/>
                    <a:pt x="233" y="121"/>
                    <a:pt x="235" y="123"/>
                  </a:cubicBezTo>
                  <a:cubicBezTo>
                    <a:pt x="237" y="125"/>
                    <a:pt x="234" y="129"/>
                    <a:pt x="232" y="130"/>
                  </a:cubicBezTo>
                  <a:cubicBezTo>
                    <a:pt x="231" y="130"/>
                    <a:pt x="228" y="127"/>
                    <a:pt x="227" y="127"/>
                  </a:cubicBezTo>
                  <a:cubicBezTo>
                    <a:pt x="224" y="126"/>
                    <a:pt x="215" y="123"/>
                    <a:pt x="213" y="125"/>
                  </a:cubicBezTo>
                  <a:cubicBezTo>
                    <a:pt x="209" y="128"/>
                    <a:pt x="200" y="132"/>
                    <a:pt x="196" y="130"/>
                  </a:cubicBezTo>
                  <a:cubicBezTo>
                    <a:pt x="203" y="122"/>
                    <a:pt x="185" y="123"/>
                    <a:pt x="180" y="126"/>
                  </a:cubicBezTo>
                  <a:cubicBezTo>
                    <a:pt x="176" y="130"/>
                    <a:pt x="172" y="130"/>
                    <a:pt x="170" y="135"/>
                  </a:cubicBezTo>
                  <a:cubicBezTo>
                    <a:pt x="168" y="140"/>
                    <a:pt x="160" y="138"/>
                    <a:pt x="156" y="142"/>
                  </a:cubicBezTo>
                  <a:cubicBezTo>
                    <a:pt x="138" y="162"/>
                    <a:pt x="128" y="127"/>
                    <a:pt x="131" y="112"/>
                  </a:cubicBezTo>
                  <a:cubicBezTo>
                    <a:pt x="133" y="102"/>
                    <a:pt x="126" y="111"/>
                    <a:pt x="122" y="107"/>
                  </a:cubicBezTo>
                  <a:cubicBezTo>
                    <a:pt x="120" y="106"/>
                    <a:pt x="123" y="99"/>
                    <a:pt x="122" y="97"/>
                  </a:cubicBezTo>
                  <a:cubicBezTo>
                    <a:pt x="121" y="94"/>
                    <a:pt x="113" y="90"/>
                    <a:pt x="110" y="89"/>
                  </a:cubicBezTo>
                  <a:cubicBezTo>
                    <a:pt x="101" y="86"/>
                    <a:pt x="97" y="100"/>
                    <a:pt x="92" y="106"/>
                  </a:cubicBezTo>
                  <a:cubicBezTo>
                    <a:pt x="89" y="108"/>
                    <a:pt x="94" y="111"/>
                    <a:pt x="95" y="113"/>
                  </a:cubicBezTo>
                  <a:cubicBezTo>
                    <a:pt x="98" y="119"/>
                    <a:pt x="92" y="122"/>
                    <a:pt x="87" y="119"/>
                  </a:cubicBezTo>
                  <a:cubicBezTo>
                    <a:pt x="84" y="117"/>
                    <a:pt x="78" y="119"/>
                    <a:pt x="75" y="120"/>
                  </a:cubicBezTo>
                  <a:cubicBezTo>
                    <a:pt x="70" y="123"/>
                    <a:pt x="73" y="126"/>
                    <a:pt x="74" y="129"/>
                  </a:cubicBezTo>
                  <a:cubicBezTo>
                    <a:pt x="79" y="140"/>
                    <a:pt x="65" y="132"/>
                    <a:pt x="62" y="130"/>
                  </a:cubicBezTo>
                  <a:cubicBezTo>
                    <a:pt x="58" y="126"/>
                    <a:pt x="55" y="130"/>
                    <a:pt x="50" y="133"/>
                  </a:cubicBezTo>
                  <a:cubicBezTo>
                    <a:pt x="47" y="135"/>
                    <a:pt x="42" y="134"/>
                    <a:pt x="43" y="139"/>
                  </a:cubicBezTo>
                  <a:cubicBezTo>
                    <a:pt x="38" y="138"/>
                    <a:pt x="39" y="144"/>
                    <a:pt x="34" y="139"/>
                  </a:cubicBezTo>
                  <a:cubicBezTo>
                    <a:pt x="29" y="135"/>
                    <a:pt x="25" y="125"/>
                    <a:pt x="29" y="118"/>
                  </a:cubicBezTo>
                  <a:cubicBezTo>
                    <a:pt x="34" y="109"/>
                    <a:pt x="43" y="100"/>
                    <a:pt x="32" y="93"/>
                  </a:cubicBezTo>
                  <a:cubicBezTo>
                    <a:pt x="24" y="87"/>
                    <a:pt x="31" y="70"/>
                    <a:pt x="20" y="70"/>
                  </a:cubicBezTo>
                  <a:cubicBezTo>
                    <a:pt x="17" y="70"/>
                    <a:pt x="12" y="71"/>
                    <a:pt x="11" y="67"/>
                  </a:cubicBezTo>
                  <a:cubicBezTo>
                    <a:pt x="9" y="62"/>
                    <a:pt x="3" y="65"/>
                    <a:pt x="0" y="6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Freeform 652">
              <a:extLst>
                <a:ext uri="{FF2B5EF4-FFF2-40B4-BE49-F238E27FC236}">
                  <a16:creationId xmlns:a16="http://schemas.microsoft.com/office/drawing/2014/main" id="{3B02F851-EA36-43A4-B195-D8F0BCFE5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563" y="2190791"/>
              <a:ext cx="516095" cy="351480"/>
            </a:xfrm>
            <a:custGeom>
              <a:avLst/>
              <a:gdLst>
                <a:gd name="T0" fmla="*/ 9 w 237"/>
                <a:gd name="T1" fmla="*/ 49 h 162"/>
                <a:gd name="T2" fmla="*/ 33 w 237"/>
                <a:gd name="T3" fmla="*/ 43 h 162"/>
                <a:gd name="T4" fmla="*/ 38 w 237"/>
                <a:gd name="T5" fmla="*/ 38 h 162"/>
                <a:gd name="T6" fmla="*/ 39 w 237"/>
                <a:gd name="T7" fmla="*/ 33 h 162"/>
                <a:gd name="T8" fmla="*/ 48 w 237"/>
                <a:gd name="T9" fmla="*/ 28 h 162"/>
                <a:gd name="T10" fmla="*/ 45 w 237"/>
                <a:gd name="T11" fmla="*/ 9 h 162"/>
                <a:gd name="T12" fmla="*/ 73 w 237"/>
                <a:gd name="T13" fmla="*/ 0 h 162"/>
                <a:gd name="T14" fmla="*/ 79 w 237"/>
                <a:gd name="T15" fmla="*/ 17 h 162"/>
                <a:gd name="T16" fmla="*/ 86 w 237"/>
                <a:gd name="T17" fmla="*/ 28 h 162"/>
                <a:gd name="T18" fmla="*/ 83 w 237"/>
                <a:gd name="T19" fmla="*/ 38 h 162"/>
                <a:gd name="T20" fmla="*/ 55 w 237"/>
                <a:gd name="T21" fmla="*/ 38 h 162"/>
                <a:gd name="T22" fmla="*/ 64 w 237"/>
                <a:gd name="T23" fmla="*/ 50 h 162"/>
                <a:gd name="T24" fmla="*/ 79 w 237"/>
                <a:gd name="T25" fmla="*/ 52 h 162"/>
                <a:gd name="T26" fmla="*/ 95 w 237"/>
                <a:gd name="T27" fmla="*/ 56 h 162"/>
                <a:gd name="T28" fmla="*/ 116 w 237"/>
                <a:gd name="T29" fmla="*/ 53 h 162"/>
                <a:gd name="T30" fmla="*/ 123 w 237"/>
                <a:gd name="T31" fmla="*/ 57 h 162"/>
                <a:gd name="T32" fmla="*/ 164 w 237"/>
                <a:gd name="T33" fmla="*/ 57 h 162"/>
                <a:gd name="T34" fmla="*/ 179 w 237"/>
                <a:gd name="T35" fmla="*/ 63 h 162"/>
                <a:gd name="T36" fmla="*/ 188 w 237"/>
                <a:gd name="T37" fmla="*/ 83 h 162"/>
                <a:gd name="T38" fmla="*/ 207 w 237"/>
                <a:gd name="T39" fmla="*/ 83 h 162"/>
                <a:gd name="T40" fmla="*/ 228 w 237"/>
                <a:gd name="T41" fmla="*/ 111 h 162"/>
                <a:gd name="T42" fmla="*/ 235 w 237"/>
                <a:gd name="T43" fmla="*/ 123 h 162"/>
                <a:gd name="T44" fmla="*/ 227 w 237"/>
                <a:gd name="T45" fmla="*/ 127 h 162"/>
                <a:gd name="T46" fmla="*/ 196 w 237"/>
                <a:gd name="T47" fmla="*/ 130 h 162"/>
                <a:gd name="T48" fmla="*/ 170 w 237"/>
                <a:gd name="T49" fmla="*/ 135 h 162"/>
                <a:gd name="T50" fmla="*/ 131 w 237"/>
                <a:gd name="T51" fmla="*/ 112 h 162"/>
                <a:gd name="T52" fmla="*/ 122 w 237"/>
                <a:gd name="T53" fmla="*/ 97 h 162"/>
                <a:gd name="T54" fmla="*/ 92 w 237"/>
                <a:gd name="T55" fmla="*/ 106 h 162"/>
                <a:gd name="T56" fmla="*/ 87 w 237"/>
                <a:gd name="T57" fmla="*/ 119 h 162"/>
                <a:gd name="T58" fmla="*/ 74 w 237"/>
                <a:gd name="T59" fmla="*/ 129 h 162"/>
                <a:gd name="T60" fmla="*/ 50 w 237"/>
                <a:gd name="T61" fmla="*/ 133 h 162"/>
                <a:gd name="T62" fmla="*/ 34 w 237"/>
                <a:gd name="T63" fmla="*/ 139 h 162"/>
                <a:gd name="T64" fmla="*/ 32 w 237"/>
                <a:gd name="T65" fmla="*/ 93 h 162"/>
                <a:gd name="T66" fmla="*/ 11 w 237"/>
                <a:gd name="T67" fmla="*/ 6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7" h="162">
                  <a:moveTo>
                    <a:pt x="0" y="60"/>
                  </a:moveTo>
                  <a:cubicBezTo>
                    <a:pt x="3" y="56"/>
                    <a:pt x="0" y="49"/>
                    <a:pt x="9" y="49"/>
                  </a:cubicBezTo>
                  <a:cubicBezTo>
                    <a:pt x="15" y="49"/>
                    <a:pt x="21" y="52"/>
                    <a:pt x="28" y="51"/>
                  </a:cubicBezTo>
                  <a:cubicBezTo>
                    <a:pt x="32" y="50"/>
                    <a:pt x="33" y="47"/>
                    <a:pt x="33" y="43"/>
                  </a:cubicBezTo>
                  <a:cubicBezTo>
                    <a:pt x="32" y="42"/>
                    <a:pt x="32" y="40"/>
                    <a:pt x="34" y="39"/>
                  </a:cubicBezTo>
                  <a:cubicBezTo>
                    <a:pt x="38" y="38"/>
                    <a:pt x="34" y="34"/>
                    <a:pt x="38" y="38"/>
                  </a:cubicBezTo>
                  <a:cubicBezTo>
                    <a:pt x="36" y="37"/>
                    <a:pt x="35" y="35"/>
                    <a:pt x="34" y="33"/>
                  </a:cubicBezTo>
                  <a:cubicBezTo>
                    <a:pt x="36" y="33"/>
                    <a:pt x="37" y="33"/>
                    <a:pt x="39" y="33"/>
                  </a:cubicBezTo>
                  <a:cubicBezTo>
                    <a:pt x="36" y="29"/>
                    <a:pt x="32" y="33"/>
                    <a:pt x="28" y="30"/>
                  </a:cubicBezTo>
                  <a:cubicBezTo>
                    <a:pt x="34" y="24"/>
                    <a:pt x="42" y="31"/>
                    <a:pt x="48" y="28"/>
                  </a:cubicBezTo>
                  <a:cubicBezTo>
                    <a:pt x="45" y="26"/>
                    <a:pt x="48" y="24"/>
                    <a:pt x="46" y="21"/>
                  </a:cubicBezTo>
                  <a:cubicBezTo>
                    <a:pt x="44" y="18"/>
                    <a:pt x="41" y="11"/>
                    <a:pt x="45" y="9"/>
                  </a:cubicBezTo>
                  <a:cubicBezTo>
                    <a:pt x="50" y="7"/>
                    <a:pt x="53" y="13"/>
                    <a:pt x="57" y="12"/>
                  </a:cubicBezTo>
                  <a:cubicBezTo>
                    <a:pt x="63" y="11"/>
                    <a:pt x="70" y="5"/>
                    <a:pt x="73" y="0"/>
                  </a:cubicBezTo>
                  <a:cubicBezTo>
                    <a:pt x="76" y="2"/>
                    <a:pt x="78" y="6"/>
                    <a:pt x="81" y="9"/>
                  </a:cubicBezTo>
                  <a:cubicBezTo>
                    <a:pt x="85" y="12"/>
                    <a:pt x="83" y="14"/>
                    <a:pt x="79" y="17"/>
                  </a:cubicBezTo>
                  <a:cubicBezTo>
                    <a:pt x="74" y="21"/>
                    <a:pt x="75" y="20"/>
                    <a:pt x="80" y="23"/>
                  </a:cubicBezTo>
                  <a:cubicBezTo>
                    <a:pt x="82" y="25"/>
                    <a:pt x="83" y="28"/>
                    <a:pt x="86" y="28"/>
                  </a:cubicBezTo>
                  <a:cubicBezTo>
                    <a:pt x="89" y="29"/>
                    <a:pt x="91" y="27"/>
                    <a:pt x="94" y="27"/>
                  </a:cubicBezTo>
                  <a:cubicBezTo>
                    <a:pt x="92" y="30"/>
                    <a:pt x="86" y="37"/>
                    <a:pt x="83" y="38"/>
                  </a:cubicBezTo>
                  <a:cubicBezTo>
                    <a:pt x="87" y="34"/>
                    <a:pt x="72" y="28"/>
                    <a:pt x="68" y="28"/>
                  </a:cubicBezTo>
                  <a:cubicBezTo>
                    <a:pt x="60" y="27"/>
                    <a:pt x="55" y="31"/>
                    <a:pt x="55" y="38"/>
                  </a:cubicBezTo>
                  <a:cubicBezTo>
                    <a:pt x="48" y="32"/>
                    <a:pt x="52" y="48"/>
                    <a:pt x="53" y="50"/>
                  </a:cubicBezTo>
                  <a:cubicBezTo>
                    <a:pt x="56" y="54"/>
                    <a:pt x="61" y="50"/>
                    <a:pt x="64" y="50"/>
                  </a:cubicBezTo>
                  <a:cubicBezTo>
                    <a:pt x="69" y="49"/>
                    <a:pt x="73" y="52"/>
                    <a:pt x="79" y="49"/>
                  </a:cubicBezTo>
                  <a:cubicBezTo>
                    <a:pt x="79" y="50"/>
                    <a:pt x="79" y="51"/>
                    <a:pt x="79" y="52"/>
                  </a:cubicBezTo>
                  <a:cubicBezTo>
                    <a:pt x="82" y="51"/>
                    <a:pt x="85" y="49"/>
                    <a:pt x="88" y="50"/>
                  </a:cubicBezTo>
                  <a:cubicBezTo>
                    <a:pt x="92" y="51"/>
                    <a:pt x="92" y="55"/>
                    <a:pt x="95" y="56"/>
                  </a:cubicBezTo>
                  <a:cubicBezTo>
                    <a:pt x="99" y="58"/>
                    <a:pt x="108" y="52"/>
                    <a:pt x="112" y="50"/>
                  </a:cubicBezTo>
                  <a:cubicBezTo>
                    <a:pt x="116" y="47"/>
                    <a:pt x="115" y="52"/>
                    <a:pt x="116" y="53"/>
                  </a:cubicBezTo>
                  <a:cubicBezTo>
                    <a:pt x="118" y="54"/>
                    <a:pt x="120" y="54"/>
                    <a:pt x="122" y="54"/>
                  </a:cubicBezTo>
                  <a:cubicBezTo>
                    <a:pt x="122" y="55"/>
                    <a:pt x="123" y="56"/>
                    <a:pt x="123" y="57"/>
                  </a:cubicBezTo>
                  <a:cubicBezTo>
                    <a:pt x="129" y="61"/>
                    <a:pt x="134" y="56"/>
                    <a:pt x="139" y="63"/>
                  </a:cubicBezTo>
                  <a:cubicBezTo>
                    <a:pt x="140" y="53"/>
                    <a:pt x="157" y="57"/>
                    <a:pt x="164" y="57"/>
                  </a:cubicBezTo>
                  <a:cubicBezTo>
                    <a:pt x="167" y="57"/>
                    <a:pt x="173" y="52"/>
                    <a:pt x="176" y="55"/>
                  </a:cubicBezTo>
                  <a:cubicBezTo>
                    <a:pt x="178" y="57"/>
                    <a:pt x="178" y="60"/>
                    <a:pt x="179" y="63"/>
                  </a:cubicBezTo>
                  <a:cubicBezTo>
                    <a:pt x="180" y="66"/>
                    <a:pt x="184" y="69"/>
                    <a:pt x="187" y="72"/>
                  </a:cubicBezTo>
                  <a:cubicBezTo>
                    <a:pt x="180" y="72"/>
                    <a:pt x="187" y="81"/>
                    <a:pt x="188" y="83"/>
                  </a:cubicBezTo>
                  <a:cubicBezTo>
                    <a:pt x="191" y="85"/>
                    <a:pt x="194" y="86"/>
                    <a:pt x="196" y="83"/>
                  </a:cubicBezTo>
                  <a:cubicBezTo>
                    <a:pt x="199" y="80"/>
                    <a:pt x="203" y="82"/>
                    <a:pt x="207" y="83"/>
                  </a:cubicBezTo>
                  <a:cubicBezTo>
                    <a:pt x="215" y="85"/>
                    <a:pt x="220" y="86"/>
                    <a:pt x="220" y="95"/>
                  </a:cubicBezTo>
                  <a:cubicBezTo>
                    <a:pt x="220" y="98"/>
                    <a:pt x="226" y="109"/>
                    <a:pt x="228" y="111"/>
                  </a:cubicBezTo>
                  <a:cubicBezTo>
                    <a:pt x="230" y="112"/>
                    <a:pt x="229" y="116"/>
                    <a:pt x="230" y="118"/>
                  </a:cubicBezTo>
                  <a:cubicBezTo>
                    <a:pt x="231" y="121"/>
                    <a:pt x="233" y="121"/>
                    <a:pt x="235" y="123"/>
                  </a:cubicBezTo>
                  <a:cubicBezTo>
                    <a:pt x="237" y="125"/>
                    <a:pt x="234" y="129"/>
                    <a:pt x="232" y="130"/>
                  </a:cubicBezTo>
                  <a:cubicBezTo>
                    <a:pt x="231" y="130"/>
                    <a:pt x="228" y="127"/>
                    <a:pt x="227" y="127"/>
                  </a:cubicBezTo>
                  <a:cubicBezTo>
                    <a:pt x="224" y="126"/>
                    <a:pt x="215" y="123"/>
                    <a:pt x="213" y="125"/>
                  </a:cubicBezTo>
                  <a:cubicBezTo>
                    <a:pt x="209" y="128"/>
                    <a:pt x="200" y="132"/>
                    <a:pt x="196" y="130"/>
                  </a:cubicBezTo>
                  <a:cubicBezTo>
                    <a:pt x="203" y="122"/>
                    <a:pt x="185" y="123"/>
                    <a:pt x="180" y="126"/>
                  </a:cubicBezTo>
                  <a:cubicBezTo>
                    <a:pt x="176" y="130"/>
                    <a:pt x="172" y="130"/>
                    <a:pt x="170" y="135"/>
                  </a:cubicBezTo>
                  <a:cubicBezTo>
                    <a:pt x="168" y="140"/>
                    <a:pt x="160" y="138"/>
                    <a:pt x="156" y="142"/>
                  </a:cubicBezTo>
                  <a:cubicBezTo>
                    <a:pt x="138" y="162"/>
                    <a:pt x="128" y="127"/>
                    <a:pt x="131" y="112"/>
                  </a:cubicBezTo>
                  <a:cubicBezTo>
                    <a:pt x="133" y="102"/>
                    <a:pt x="126" y="111"/>
                    <a:pt x="122" y="107"/>
                  </a:cubicBezTo>
                  <a:cubicBezTo>
                    <a:pt x="120" y="106"/>
                    <a:pt x="123" y="99"/>
                    <a:pt x="122" y="97"/>
                  </a:cubicBezTo>
                  <a:cubicBezTo>
                    <a:pt x="121" y="94"/>
                    <a:pt x="113" y="90"/>
                    <a:pt x="110" y="89"/>
                  </a:cubicBezTo>
                  <a:cubicBezTo>
                    <a:pt x="101" y="86"/>
                    <a:pt x="97" y="100"/>
                    <a:pt x="92" y="106"/>
                  </a:cubicBezTo>
                  <a:cubicBezTo>
                    <a:pt x="89" y="108"/>
                    <a:pt x="94" y="111"/>
                    <a:pt x="95" y="113"/>
                  </a:cubicBezTo>
                  <a:cubicBezTo>
                    <a:pt x="98" y="119"/>
                    <a:pt x="92" y="122"/>
                    <a:pt x="87" y="119"/>
                  </a:cubicBezTo>
                  <a:cubicBezTo>
                    <a:pt x="84" y="117"/>
                    <a:pt x="78" y="119"/>
                    <a:pt x="75" y="120"/>
                  </a:cubicBezTo>
                  <a:cubicBezTo>
                    <a:pt x="70" y="123"/>
                    <a:pt x="73" y="126"/>
                    <a:pt x="74" y="129"/>
                  </a:cubicBezTo>
                  <a:cubicBezTo>
                    <a:pt x="79" y="140"/>
                    <a:pt x="65" y="132"/>
                    <a:pt x="62" y="130"/>
                  </a:cubicBezTo>
                  <a:cubicBezTo>
                    <a:pt x="58" y="126"/>
                    <a:pt x="55" y="130"/>
                    <a:pt x="50" y="133"/>
                  </a:cubicBezTo>
                  <a:cubicBezTo>
                    <a:pt x="47" y="135"/>
                    <a:pt x="42" y="134"/>
                    <a:pt x="43" y="139"/>
                  </a:cubicBezTo>
                  <a:cubicBezTo>
                    <a:pt x="38" y="138"/>
                    <a:pt x="39" y="144"/>
                    <a:pt x="34" y="139"/>
                  </a:cubicBezTo>
                  <a:cubicBezTo>
                    <a:pt x="29" y="135"/>
                    <a:pt x="25" y="125"/>
                    <a:pt x="29" y="118"/>
                  </a:cubicBezTo>
                  <a:cubicBezTo>
                    <a:pt x="34" y="109"/>
                    <a:pt x="43" y="100"/>
                    <a:pt x="32" y="93"/>
                  </a:cubicBezTo>
                  <a:cubicBezTo>
                    <a:pt x="24" y="87"/>
                    <a:pt x="31" y="70"/>
                    <a:pt x="20" y="70"/>
                  </a:cubicBezTo>
                  <a:cubicBezTo>
                    <a:pt x="17" y="70"/>
                    <a:pt x="12" y="71"/>
                    <a:pt x="11" y="67"/>
                  </a:cubicBezTo>
                  <a:cubicBezTo>
                    <a:pt x="9" y="62"/>
                    <a:pt x="3" y="65"/>
                    <a:pt x="0" y="6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Freeform 653">
              <a:extLst>
                <a:ext uri="{FF2B5EF4-FFF2-40B4-BE49-F238E27FC236}">
                  <a16:creationId xmlns:a16="http://schemas.microsoft.com/office/drawing/2014/main" id="{2A9CBFB2-C2B8-4601-AF76-C8A7A567F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4294" y="2751378"/>
              <a:ext cx="71186" cy="35593"/>
            </a:xfrm>
            <a:custGeom>
              <a:avLst/>
              <a:gdLst>
                <a:gd name="T0" fmla="*/ 22 w 33"/>
                <a:gd name="T1" fmla="*/ 0 h 17"/>
                <a:gd name="T2" fmla="*/ 8 w 33"/>
                <a:gd name="T3" fmla="*/ 11 h 17"/>
                <a:gd name="T4" fmla="*/ 22 w 33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22" y="0"/>
                  </a:moveTo>
                  <a:cubicBezTo>
                    <a:pt x="18" y="0"/>
                    <a:pt x="0" y="5"/>
                    <a:pt x="8" y="11"/>
                  </a:cubicBezTo>
                  <a:cubicBezTo>
                    <a:pt x="16" y="17"/>
                    <a:pt x="33" y="3"/>
                    <a:pt x="2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Freeform 654">
              <a:extLst>
                <a:ext uri="{FF2B5EF4-FFF2-40B4-BE49-F238E27FC236}">
                  <a16:creationId xmlns:a16="http://schemas.microsoft.com/office/drawing/2014/main" id="{9990C0F8-9615-4831-A9E3-156E278B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4294" y="2751378"/>
              <a:ext cx="71186" cy="35593"/>
            </a:xfrm>
            <a:custGeom>
              <a:avLst/>
              <a:gdLst>
                <a:gd name="T0" fmla="*/ 22 w 33"/>
                <a:gd name="T1" fmla="*/ 0 h 17"/>
                <a:gd name="T2" fmla="*/ 8 w 33"/>
                <a:gd name="T3" fmla="*/ 11 h 17"/>
                <a:gd name="T4" fmla="*/ 22 w 33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22" y="0"/>
                  </a:moveTo>
                  <a:cubicBezTo>
                    <a:pt x="18" y="0"/>
                    <a:pt x="0" y="5"/>
                    <a:pt x="8" y="11"/>
                  </a:cubicBezTo>
                  <a:cubicBezTo>
                    <a:pt x="16" y="17"/>
                    <a:pt x="33" y="3"/>
                    <a:pt x="22" y="0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Freeform 655">
              <a:extLst>
                <a:ext uri="{FF2B5EF4-FFF2-40B4-BE49-F238E27FC236}">
                  <a16:creationId xmlns:a16="http://schemas.microsoft.com/office/drawing/2014/main" id="{FFED9922-5209-4395-BEDF-4088D54B6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6344" y="4166190"/>
              <a:ext cx="355928" cy="324785"/>
            </a:xfrm>
            <a:custGeom>
              <a:avLst/>
              <a:gdLst>
                <a:gd name="T0" fmla="*/ 1 w 163"/>
                <a:gd name="T1" fmla="*/ 49 h 149"/>
                <a:gd name="T2" fmla="*/ 0 w 163"/>
                <a:gd name="T3" fmla="*/ 40 h 149"/>
                <a:gd name="T4" fmla="*/ 17 w 163"/>
                <a:gd name="T5" fmla="*/ 20 h 149"/>
                <a:gd name="T6" fmla="*/ 42 w 163"/>
                <a:gd name="T7" fmla="*/ 12 h 149"/>
                <a:gd name="T8" fmla="*/ 54 w 163"/>
                <a:gd name="T9" fmla="*/ 11 h 149"/>
                <a:gd name="T10" fmla="*/ 67 w 163"/>
                <a:gd name="T11" fmla="*/ 11 h 149"/>
                <a:gd name="T12" fmla="*/ 84 w 163"/>
                <a:gd name="T13" fmla="*/ 13 h 149"/>
                <a:gd name="T14" fmla="*/ 104 w 163"/>
                <a:gd name="T15" fmla="*/ 24 h 149"/>
                <a:gd name="T16" fmla="*/ 114 w 163"/>
                <a:gd name="T17" fmla="*/ 22 h 149"/>
                <a:gd name="T18" fmla="*/ 111 w 163"/>
                <a:gd name="T19" fmla="*/ 12 h 149"/>
                <a:gd name="T20" fmla="*/ 115 w 163"/>
                <a:gd name="T21" fmla="*/ 10 h 149"/>
                <a:gd name="T22" fmla="*/ 119 w 163"/>
                <a:gd name="T23" fmla="*/ 9 h 149"/>
                <a:gd name="T24" fmla="*/ 123 w 163"/>
                <a:gd name="T25" fmla="*/ 5 h 149"/>
                <a:gd name="T26" fmla="*/ 130 w 163"/>
                <a:gd name="T27" fmla="*/ 10 h 149"/>
                <a:gd name="T28" fmla="*/ 154 w 163"/>
                <a:gd name="T29" fmla="*/ 0 h 149"/>
                <a:gd name="T30" fmla="*/ 154 w 163"/>
                <a:gd name="T31" fmla="*/ 7 h 149"/>
                <a:gd name="T32" fmla="*/ 150 w 163"/>
                <a:gd name="T33" fmla="*/ 14 h 149"/>
                <a:gd name="T34" fmla="*/ 151 w 163"/>
                <a:gd name="T35" fmla="*/ 22 h 149"/>
                <a:gd name="T36" fmla="*/ 155 w 163"/>
                <a:gd name="T37" fmla="*/ 32 h 149"/>
                <a:gd name="T38" fmla="*/ 160 w 163"/>
                <a:gd name="T39" fmla="*/ 51 h 149"/>
                <a:gd name="T40" fmla="*/ 159 w 163"/>
                <a:gd name="T41" fmla="*/ 62 h 149"/>
                <a:gd name="T42" fmla="*/ 162 w 163"/>
                <a:gd name="T43" fmla="*/ 72 h 149"/>
                <a:gd name="T44" fmla="*/ 160 w 163"/>
                <a:gd name="T45" fmla="*/ 82 h 149"/>
                <a:gd name="T46" fmla="*/ 154 w 163"/>
                <a:gd name="T47" fmla="*/ 83 h 149"/>
                <a:gd name="T48" fmla="*/ 144 w 163"/>
                <a:gd name="T49" fmla="*/ 91 h 149"/>
                <a:gd name="T50" fmla="*/ 129 w 163"/>
                <a:gd name="T51" fmla="*/ 95 h 149"/>
                <a:gd name="T52" fmla="*/ 131 w 163"/>
                <a:gd name="T53" fmla="*/ 106 h 149"/>
                <a:gd name="T54" fmla="*/ 117 w 163"/>
                <a:gd name="T55" fmla="*/ 103 h 149"/>
                <a:gd name="T56" fmla="*/ 112 w 163"/>
                <a:gd name="T57" fmla="*/ 110 h 149"/>
                <a:gd name="T58" fmla="*/ 116 w 163"/>
                <a:gd name="T59" fmla="*/ 120 h 149"/>
                <a:gd name="T60" fmla="*/ 126 w 163"/>
                <a:gd name="T61" fmla="*/ 130 h 149"/>
                <a:gd name="T62" fmla="*/ 125 w 163"/>
                <a:gd name="T63" fmla="*/ 136 h 149"/>
                <a:gd name="T64" fmla="*/ 117 w 163"/>
                <a:gd name="T65" fmla="*/ 134 h 149"/>
                <a:gd name="T66" fmla="*/ 111 w 163"/>
                <a:gd name="T67" fmla="*/ 129 h 149"/>
                <a:gd name="T68" fmla="*/ 92 w 163"/>
                <a:gd name="T69" fmla="*/ 130 h 149"/>
                <a:gd name="T70" fmla="*/ 88 w 163"/>
                <a:gd name="T71" fmla="*/ 141 h 149"/>
                <a:gd name="T72" fmla="*/ 77 w 163"/>
                <a:gd name="T73" fmla="*/ 145 h 149"/>
                <a:gd name="T74" fmla="*/ 69 w 163"/>
                <a:gd name="T75" fmla="*/ 147 h 149"/>
                <a:gd name="T76" fmla="*/ 55 w 163"/>
                <a:gd name="T77" fmla="*/ 140 h 149"/>
                <a:gd name="T78" fmla="*/ 47 w 163"/>
                <a:gd name="T79" fmla="*/ 144 h 149"/>
                <a:gd name="T80" fmla="*/ 49 w 163"/>
                <a:gd name="T81" fmla="*/ 137 h 149"/>
                <a:gd name="T82" fmla="*/ 46 w 163"/>
                <a:gd name="T83" fmla="*/ 124 h 149"/>
                <a:gd name="T84" fmla="*/ 40 w 163"/>
                <a:gd name="T85" fmla="*/ 133 h 149"/>
                <a:gd name="T86" fmla="*/ 33 w 163"/>
                <a:gd name="T87" fmla="*/ 133 h 149"/>
                <a:gd name="T88" fmla="*/ 30 w 163"/>
                <a:gd name="T89" fmla="*/ 121 h 149"/>
                <a:gd name="T90" fmla="*/ 29 w 163"/>
                <a:gd name="T91" fmla="*/ 112 h 149"/>
                <a:gd name="T92" fmla="*/ 28 w 163"/>
                <a:gd name="T93" fmla="*/ 104 h 149"/>
                <a:gd name="T94" fmla="*/ 23 w 163"/>
                <a:gd name="T95" fmla="*/ 106 h 149"/>
                <a:gd name="T96" fmla="*/ 18 w 163"/>
                <a:gd name="T97" fmla="*/ 93 h 149"/>
                <a:gd name="T98" fmla="*/ 16 w 163"/>
                <a:gd name="T99" fmla="*/ 77 h 149"/>
                <a:gd name="T100" fmla="*/ 1 w 163"/>
                <a:gd name="T101" fmla="*/ 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3" h="149">
                  <a:moveTo>
                    <a:pt x="1" y="49"/>
                  </a:moveTo>
                  <a:cubicBezTo>
                    <a:pt x="1" y="46"/>
                    <a:pt x="1" y="43"/>
                    <a:pt x="0" y="40"/>
                  </a:cubicBezTo>
                  <a:cubicBezTo>
                    <a:pt x="10" y="40"/>
                    <a:pt x="14" y="27"/>
                    <a:pt x="17" y="20"/>
                  </a:cubicBezTo>
                  <a:cubicBezTo>
                    <a:pt x="20" y="12"/>
                    <a:pt x="35" y="7"/>
                    <a:pt x="42" y="12"/>
                  </a:cubicBezTo>
                  <a:cubicBezTo>
                    <a:pt x="45" y="14"/>
                    <a:pt x="51" y="13"/>
                    <a:pt x="54" y="11"/>
                  </a:cubicBezTo>
                  <a:cubicBezTo>
                    <a:pt x="59" y="10"/>
                    <a:pt x="62" y="13"/>
                    <a:pt x="67" y="11"/>
                  </a:cubicBezTo>
                  <a:cubicBezTo>
                    <a:pt x="76" y="7"/>
                    <a:pt x="81" y="20"/>
                    <a:pt x="84" y="13"/>
                  </a:cubicBezTo>
                  <a:cubicBezTo>
                    <a:pt x="85" y="25"/>
                    <a:pt x="99" y="16"/>
                    <a:pt x="104" y="24"/>
                  </a:cubicBezTo>
                  <a:cubicBezTo>
                    <a:pt x="107" y="28"/>
                    <a:pt x="115" y="28"/>
                    <a:pt x="114" y="22"/>
                  </a:cubicBezTo>
                  <a:cubicBezTo>
                    <a:pt x="113" y="19"/>
                    <a:pt x="106" y="15"/>
                    <a:pt x="111" y="12"/>
                  </a:cubicBezTo>
                  <a:cubicBezTo>
                    <a:pt x="112" y="11"/>
                    <a:pt x="114" y="13"/>
                    <a:pt x="115" y="10"/>
                  </a:cubicBezTo>
                  <a:cubicBezTo>
                    <a:pt x="115" y="8"/>
                    <a:pt x="117" y="9"/>
                    <a:pt x="119" y="9"/>
                  </a:cubicBezTo>
                  <a:cubicBezTo>
                    <a:pt x="121" y="8"/>
                    <a:pt x="121" y="5"/>
                    <a:pt x="123" y="5"/>
                  </a:cubicBezTo>
                  <a:cubicBezTo>
                    <a:pt x="126" y="5"/>
                    <a:pt x="128" y="8"/>
                    <a:pt x="130" y="10"/>
                  </a:cubicBezTo>
                  <a:cubicBezTo>
                    <a:pt x="139" y="16"/>
                    <a:pt x="150" y="7"/>
                    <a:pt x="154" y="0"/>
                  </a:cubicBezTo>
                  <a:cubicBezTo>
                    <a:pt x="154" y="2"/>
                    <a:pt x="154" y="5"/>
                    <a:pt x="154" y="7"/>
                  </a:cubicBezTo>
                  <a:cubicBezTo>
                    <a:pt x="153" y="9"/>
                    <a:pt x="149" y="11"/>
                    <a:pt x="150" y="14"/>
                  </a:cubicBezTo>
                  <a:cubicBezTo>
                    <a:pt x="151" y="16"/>
                    <a:pt x="150" y="19"/>
                    <a:pt x="151" y="22"/>
                  </a:cubicBezTo>
                  <a:cubicBezTo>
                    <a:pt x="152" y="25"/>
                    <a:pt x="154" y="29"/>
                    <a:pt x="155" y="32"/>
                  </a:cubicBezTo>
                  <a:cubicBezTo>
                    <a:pt x="158" y="39"/>
                    <a:pt x="162" y="42"/>
                    <a:pt x="160" y="51"/>
                  </a:cubicBezTo>
                  <a:cubicBezTo>
                    <a:pt x="159" y="55"/>
                    <a:pt x="157" y="58"/>
                    <a:pt x="159" y="62"/>
                  </a:cubicBezTo>
                  <a:cubicBezTo>
                    <a:pt x="160" y="65"/>
                    <a:pt x="162" y="68"/>
                    <a:pt x="162" y="72"/>
                  </a:cubicBezTo>
                  <a:cubicBezTo>
                    <a:pt x="163" y="75"/>
                    <a:pt x="161" y="80"/>
                    <a:pt x="160" y="82"/>
                  </a:cubicBezTo>
                  <a:cubicBezTo>
                    <a:pt x="158" y="86"/>
                    <a:pt x="157" y="81"/>
                    <a:pt x="154" y="83"/>
                  </a:cubicBezTo>
                  <a:cubicBezTo>
                    <a:pt x="150" y="85"/>
                    <a:pt x="148" y="89"/>
                    <a:pt x="144" y="91"/>
                  </a:cubicBezTo>
                  <a:cubicBezTo>
                    <a:pt x="139" y="94"/>
                    <a:pt x="135" y="94"/>
                    <a:pt x="129" y="95"/>
                  </a:cubicBezTo>
                  <a:cubicBezTo>
                    <a:pt x="132" y="98"/>
                    <a:pt x="129" y="102"/>
                    <a:pt x="131" y="106"/>
                  </a:cubicBezTo>
                  <a:cubicBezTo>
                    <a:pt x="128" y="105"/>
                    <a:pt x="119" y="99"/>
                    <a:pt x="117" y="103"/>
                  </a:cubicBezTo>
                  <a:cubicBezTo>
                    <a:pt x="115" y="106"/>
                    <a:pt x="112" y="106"/>
                    <a:pt x="112" y="110"/>
                  </a:cubicBezTo>
                  <a:cubicBezTo>
                    <a:pt x="113" y="113"/>
                    <a:pt x="114" y="117"/>
                    <a:pt x="116" y="120"/>
                  </a:cubicBezTo>
                  <a:cubicBezTo>
                    <a:pt x="118" y="124"/>
                    <a:pt x="125" y="124"/>
                    <a:pt x="126" y="130"/>
                  </a:cubicBezTo>
                  <a:cubicBezTo>
                    <a:pt x="122" y="130"/>
                    <a:pt x="125" y="133"/>
                    <a:pt x="125" y="136"/>
                  </a:cubicBezTo>
                  <a:cubicBezTo>
                    <a:pt x="122" y="135"/>
                    <a:pt x="119" y="135"/>
                    <a:pt x="117" y="134"/>
                  </a:cubicBezTo>
                  <a:cubicBezTo>
                    <a:pt x="115" y="132"/>
                    <a:pt x="114" y="128"/>
                    <a:pt x="111" y="129"/>
                  </a:cubicBezTo>
                  <a:cubicBezTo>
                    <a:pt x="105" y="130"/>
                    <a:pt x="97" y="135"/>
                    <a:pt x="92" y="130"/>
                  </a:cubicBezTo>
                  <a:cubicBezTo>
                    <a:pt x="89" y="133"/>
                    <a:pt x="92" y="138"/>
                    <a:pt x="88" y="141"/>
                  </a:cubicBezTo>
                  <a:cubicBezTo>
                    <a:pt x="85" y="145"/>
                    <a:pt x="81" y="143"/>
                    <a:pt x="77" y="145"/>
                  </a:cubicBezTo>
                  <a:cubicBezTo>
                    <a:pt x="73" y="146"/>
                    <a:pt x="73" y="149"/>
                    <a:pt x="69" y="147"/>
                  </a:cubicBezTo>
                  <a:cubicBezTo>
                    <a:pt x="65" y="145"/>
                    <a:pt x="57" y="144"/>
                    <a:pt x="55" y="140"/>
                  </a:cubicBezTo>
                  <a:cubicBezTo>
                    <a:pt x="56" y="144"/>
                    <a:pt x="50" y="147"/>
                    <a:pt x="47" y="144"/>
                  </a:cubicBezTo>
                  <a:cubicBezTo>
                    <a:pt x="43" y="141"/>
                    <a:pt x="47" y="140"/>
                    <a:pt x="49" y="137"/>
                  </a:cubicBezTo>
                  <a:cubicBezTo>
                    <a:pt x="52" y="134"/>
                    <a:pt x="48" y="126"/>
                    <a:pt x="46" y="124"/>
                  </a:cubicBezTo>
                  <a:cubicBezTo>
                    <a:pt x="41" y="121"/>
                    <a:pt x="41" y="130"/>
                    <a:pt x="40" y="133"/>
                  </a:cubicBezTo>
                  <a:cubicBezTo>
                    <a:pt x="37" y="130"/>
                    <a:pt x="35" y="134"/>
                    <a:pt x="33" y="133"/>
                  </a:cubicBezTo>
                  <a:cubicBezTo>
                    <a:pt x="29" y="131"/>
                    <a:pt x="31" y="124"/>
                    <a:pt x="30" y="121"/>
                  </a:cubicBezTo>
                  <a:cubicBezTo>
                    <a:pt x="29" y="118"/>
                    <a:pt x="32" y="114"/>
                    <a:pt x="29" y="112"/>
                  </a:cubicBezTo>
                  <a:cubicBezTo>
                    <a:pt x="27" y="110"/>
                    <a:pt x="22" y="105"/>
                    <a:pt x="28" y="104"/>
                  </a:cubicBezTo>
                  <a:cubicBezTo>
                    <a:pt x="25" y="103"/>
                    <a:pt x="24" y="104"/>
                    <a:pt x="23" y="106"/>
                  </a:cubicBezTo>
                  <a:cubicBezTo>
                    <a:pt x="24" y="102"/>
                    <a:pt x="20" y="97"/>
                    <a:pt x="18" y="93"/>
                  </a:cubicBezTo>
                  <a:cubicBezTo>
                    <a:pt x="16" y="88"/>
                    <a:pt x="19" y="82"/>
                    <a:pt x="16" y="77"/>
                  </a:cubicBezTo>
                  <a:cubicBezTo>
                    <a:pt x="10" y="68"/>
                    <a:pt x="5" y="60"/>
                    <a:pt x="1" y="4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Freeform 656">
              <a:extLst>
                <a:ext uri="{FF2B5EF4-FFF2-40B4-BE49-F238E27FC236}">
                  <a16:creationId xmlns:a16="http://schemas.microsoft.com/office/drawing/2014/main" id="{CAE926A9-B971-42AC-A44D-87011BA2C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6344" y="4166190"/>
              <a:ext cx="355928" cy="324785"/>
            </a:xfrm>
            <a:custGeom>
              <a:avLst/>
              <a:gdLst>
                <a:gd name="T0" fmla="*/ 1 w 163"/>
                <a:gd name="T1" fmla="*/ 49 h 149"/>
                <a:gd name="T2" fmla="*/ 0 w 163"/>
                <a:gd name="T3" fmla="*/ 40 h 149"/>
                <a:gd name="T4" fmla="*/ 17 w 163"/>
                <a:gd name="T5" fmla="*/ 20 h 149"/>
                <a:gd name="T6" fmla="*/ 42 w 163"/>
                <a:gd name="T7" fmla="*/ 12 h 149"/>
                <a:gd name="T8" fmla="*/ 54 w 163"/>
                <a:gd name="T9" fmla="*/ 11 h 149"/>
                <a:gd name="T10" fmla="*/ 67 w 163"/>
                <a:gd name="T11" fmla="*/ 11 h 149"/>
                <a:gd name="T12" fmla="*/ 84 w 163"/>
                <a:gd name="T13" fmla="*/ 13 h 149"/>
                <a:gd name="T14" fmla="*/ 104 w 163"/>
                <a:gd name="T15" fmla="*/ 24 h 149"/>
                <a:gd name="T16" fmla="*/ 114 w 163"/>
                <a:gd name="T17" fmla="*/ 22 h 149"/>
                <a:gd name="T18" fmla="*/ 111 w 163"/>
                <a:gd name="T19" fmla="*/ 12 h 149"/>
                <a:gd name="T20" fmla="*/ 115 w 163"/>
                <a:gd name="T21" fmla="*/ 10 h 149"/>
                <a:gd name="T22" fmla="*/ 119 w 163"/>
                <a:gd name="T23" fmla="*/ 9 h 149"/>
                <a:gd name="T24" fmla="*/ 123 w 163"/>
                <a:gd name="T25" fmla="*/ 5 h 149"/>
                <a:gd name="T26" fmla="*/ 130 w 163"/>
                <a:gd name="T27" fmla="*/ 10 h 149"/>
                <a:gd name="T28" fmla="*/ 154 w 163"/>
                <a:gd name="T29" fmla="*/ 0 h 149"/>
                <a:gd name="T30" fmla="*/ 154 w 163"/>
                <a:gd name="T31" fmla="*/ 7 h 149"/>
                <a:gd name="T32" fmla="*/ 150 w 163"/>
                <a:gd name="T33" fmla="*/ 14 h 149"/>
                <a:gd name="T34" fmla="*/ 151 w 163"/>
                <a:gd name="T35" fmla="*/ 22 h 149"/>
                <a:gd name="T36" fmla="*/ 155 w 163"/>
                <a:gd name="T37" fmla="*/ 32 h 149"/>
                <a:gd name="T38" fmla="*/ 160 w 163"/>
                <a:gd name="T39" fmla="*/ 51 h 149"/>
                <a:gd name="T40" fmla="*/ 159 w 163"/>
                <a:gd name="T41" fmla="*/ 62 h 149"/>
                <a:gd name="T42" fmla="*/ 162 w 163"/>
                <a:gd name="T43" fmla="*/ 72 h 149"/>
                <a:gd name="T44" fmla="*/ 160 w 163"/>
                <a:gd name="T45" fmla="*/ 82 h 149"/>
                <a:gd name="T46" fmla="*/ 154 w 163"/>
                <a:gd name="T47" fmla="*/ 83 h 149"/>
                <a:gd name="T48" fmla="*/ 144 w 163"/>
                <a:gd name="T49" fmla="*/ 91 h 149"/>
                <a:gd name="T50" fmla="*/ 129 w 163"/>
                <a:gd name="T51" fmla="*/ 95 h 149"/>
                <a:gd name="T52" fmla="*/ 131 w 163"/>
                <a:gd name="T53" fmla="*/ 106 h 149"/>
                <a:gd name="T54" fmla="*/ 117 w 163"/>
                <a:gd name="T55" fmla="*/ 103 h 149"/>
                <a:gd name="T56" fmla="*/ 112 w 163"/>
                <a:gd name="T57" fmla="*/ 110 h 149"/>
                <a:gd name="T58" fmla="*/ 116 w 163"/>
                <a:gd name="T59" fmla="*/ 120 h 149"/>
                <a:gd name="T60" fmla="*/ 126 w 163"/>
                <a:gd name="T61" fmla="*/ 130 h 149"/>
                <a:gd name="T62" fmla="*/ 125 w 163"/>
                <a:gd name="T63" fmla="*/ 136 h 149"/>
                <a:gd name="T64" fmla="*/ 117 w 163"/>
                <a:gd name="T65" fmla="*/ 134 h 149"/>
                <a:gd name="T66" fmla="*/ 111 w 163"/>
                <a:gd name="T67" fmla="*/ 129 h 149"/>
                <a:gd name="T68" fmla="*/ 92 w 163"/>
                <a:gd name="T69" fmla="*/ 130 h 149"/>
                <a:gd name="T70" fmla="*/ 88 w 163"/>
                <a:gd name="T71" fmla="*/ 141 h 149"/>
                <a:gd name="T72" fmla="*/ 77 w 163"/>
                <a:gd name="T73" fmla="*/ 145 h 149"/>
                <a:gd name="T74" fmla="*/ 69 w 163"/>
                <a:gd name="T75" fmla="*/ 147 h 149"/>
                <a:gd name="T76" fmla="*/ 55 w 163"/>
                <a:gd name="T77" fmla="*/ 140 h 149"/>
                <a:gd name="T78" fmla="*/ 47 w 163"/>
                <a:gd name="T79" fmla="*/ 144 h 149"/>
                <a:gd name="T80" fmla="*/ 49 w 163"/>
                <a:gd name="T81" fmla="*/ 137 h 149"/>
                <a:gd name="T82" fmla="*/ 46 w 163"/>
                <a:gd name="T83" fmla="*/ 124 h 149"/>
                <a:gd name="T84" fmla="*/ 40 w 163"/>
                <a:gd name="T85" fmla="*/ 133 h 149"/>
                <a:gd name="T86" fmla="*/ 33 w 163"/>
                <a:gd name="T87" fmla="*/ 133 h 149"/>
                <a:gd name="T88" fmla="*/ 30 w 163"/>
                <a:gd name="T89" fmla="*/ 121 h 149"/>
                <a:gd name="T90" fmla="*/ 29 w 163"/>
                <a:gd name="T91" fmla="*/ 112 h 149"/>
                <a:gd name="T92" fmla="*/ 28 w 163"/>
                <a:gd name="T93" fmla="*/ 104 h 149"/>
                <a:gd name="T94" fmla="*/ 23 w 163"/>
                <a:gd name="T95" fmla="*/ 106 h 149"/>
                <a:gd name="T96" fmla="*/ 18 w 163"/>
                <a:gd name="T97" fmla="*/ 93 h 149"/>
                <a:gd name="T98" fmla="*/ 16 w 163"/>
                <a:gd name="T99" fmla="*/ 77 h 149"/>
                <a:gd name="T100" fmla="*/ 1 w 163"/>
                <a:gd name="T101" fmla="*/ 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3" h="149">
                  <a:moveTo>
                    <a:pt x="1" y="49"/>
                  </a:moveTo>
                  <a:cubicBezTo>
                    <a:pt x="1" y="46"/>
                    <a:pt x="1" y="43"/>
                    <a:pt x="0" y="40"/>
                  </a:cubicBezTo>
                  <a:cubicBezTo>
                    <a:pt x="10" y="40"/>
                    <a:pt x="14" y="27"/>
                    <a:pt x="17" y="20"/>
                  </a:cubicBezTo>
                  <a:cubicBezTo>
                    <a:pt x="20" y="12"/>
                    <a:pt x="35" y="7"/>
                    <a:pt x="42" y="12"/>
                  </a:cubicBezTo>
                  <a:cubicBezTo>
                    <a:pt x="45" y="14"/>
                    <a:pt x="51" y="13"/>
                    <a:pt x="54" y="11"/>
                  </a:cubicBezTo>
                  <a:cubicBezTo>
                    <a:pt x="59" y="10"/>
                    <a:pt x="62" y="13"/>
                    <a:pt x="67" y="11"/>
                  </a:cubicBezTo>
                  <a:cubicBezTo>
                    <a:pt x="76" y="7"/>
                    <a:pt x="81" y="20"/>
                    <a:pt x="84" y="13"/>
                  </a:cubicBezTo>
                  <a:cubicBezTo>
                    <a:pt x="85" y="25"/>
                    <a:pt x="99" y="16"/>
                    <a:pt x="104" y="24"/>
                  </a:cubicBezTo>
                  <a:cubicBezTo>
                    <a:pt x="107" y="28"/>
                    <a:pt x="115" y="28"/>
                    <a:pt x="114" y="22"/>
                  </a:cubicBezTo>
                  <a:cubicBezTo>
                    <a:pt x="113" y="19"/>
                    <a:pt x="106" y="15"/>
                    <a:pt x="111" y="12"/>
                  </a:cubicBezTo>
                  <a:cubicBezTo>
                    <a:pt x="112" y="11"/>
                    <a:pt x="114" y="13"/>
                    <a:pt x="115" y="10"/>
                  </a:cubicBezTo>
                  <a:cubicBezTo>
                    <a:pt x="115" y="8"/>
                    <a:pt x="117" y="9"/>
                    <a:pt x="119" y="9"/>
                  </a:cubicBezTo>
                  <a:cubicBezTo>
                    <a:pt x="121" y="8"/>
                    <a:pt x="121" y="5"/>
                    <a:pt x="123" y="5"/>
                  </a:cubicBezTo>
                  <a:cubicBezTo>
                    <a:pt x="126" y="5"/>
                    <a:pt x="128" y="8"/>
                    <a:pt x="130" y="10"/>
                  </a:cubicBezTo>
                  <a:cubicBezTo>
                    <a:pt x="139" y="16"/>
                    <a:pt x="150" y="7"/>
                    <a:pt x="154" y="0"/>
                  </a:cubicBezTo>
                  <a:cubicBezTo>
                    <a:pt x="154" y="2"/>
                    <a:pt x="154" y="5"/>
                    <a:pt x="154" y="7"/>
                  </a:cubicBezTo>
                  <a:cubicBezTo>
                    <a:pt x="153" y="9"/>
                    <a:pt x="149" y="11"/>
                    <a:pt x="150" y="14"/>
                  </a:cubicBezTo>
                  <a:cubicBezTo>
                    <a:pt x="151" y="16"/>
                    <a:pt x="150" y="19"/>
                    <a:pt x="151" y="22"/>
                  </a:cubicBezTo>
                  <a:cubicBezTo>
                    <a:pt x="152" y="25"/>
                    <a:pt x="154" y="29"/>
                    <a:pt x="155" y="32"/>
                  </a:cubicBezTo>
                  <a:cubicBezTo>
                    <a:pt x="158" y="39"/>
                    <a:pt x="162" y="42"/>
                    <a:pt x="160" y="51"/>
                  </a:cubicBezTo>
                  <a:cubicBezTo>
                    <a:pt x="159" y="55"/>
                    <a:pt x="157" y="58"/>
                    <a:pt x="159" y="62"/>
                  </a:cubicBezTo>
                  <a:cubicBezTo>
                    <a:pt x="160" y="65"/>
                    <a:pt x="162" y="68"/>
                    <a:pt x="162" y="72"/>
                  </a:cubicBezTo>
                  <a:cubicBezTo>
                    <a:pt x="163" y="75"/>
                    <a:pt x="161" y="80"/>
                    <a:pt x="160" y="82"/>
                  </a:cubicBezTo>
                  <a:cubicBezTo>
                    <a:pt x="158" y="86"/>
                    <a:pt x="157" y="81"/>
                    <a:pt x="154" y="83"/>
                  </a:cubicBezTo>
                  <a:cubicBezTo>
                    <a:pt x="150" y="85"/>
                    <a:pt x="148" y="89"/>
                    <a:pt x="144" y="91"/>
                  </a:cubicBezTo>
                  <a:cubicBezTo>
                    <a:pt x="139" y="94"/>
                    <a:pt x="135" y="94"/>
                    <a:pt x="129" y="95"/>
                  </a:cubicBezTo>
                  <a:cubicBezTo>
                    <a:pt x="132" y="98"/>
                    <a:pt x="129" y="102"/>
                    <a:pt x="131" y="106"/>
                  </a:cubicBezTo>
                  <a:cubicBezTo>
                    <a:pt x="128" y="105"/>
                    <a:pt x="119" y="99"/>
                    <a:pt x="117" y="103"/>
                  </a:cubicBezTo>
                  <a:cubicBezTo>
                    <a:pt x="115" y="106"/>
                    <a:pt x="112" y="106"/>
                    <a:pt x="112" y="110"/>
                  </a:cubicBezTo>
                  <a:cubicBezTo>
                    <a:pt x="113" y="113"/>
                    <a:pt x="114" y="117"/>
                    <a:pt x="116" y="120"/>
                  </a:cubicBezTo>
                  <a:cubicBezTo>
                    <a:pt x="118" y="124"/>
                    <a:pt x="125" y="124"/>
                    <a:pt x="126" y="130"/>
                  </a:cubicBezTo>
                  <a:cubicBezTo>
                    <a:pt x="122" y="130"/>
                    <a:pt x="125" y="133"/>
                    <a:pt x="125" y="136"/>
                  </a:cubicBezTo>
                  <a:cubicBezTo>
                    <a:pt x="122" y="135"/>
                    <a:pt x="119" y="135"/>
                    <a:pt x="117" y="134"/>
                  </a:cubicBezTo>
                  <a:cubicBezTo>
                    <a:pt x="115" y="132"/>
                    <a:pt x="114" y="128"/>
                    <a:pt x="111" y="129"/>
                  </a:cubicBezTo>
                  <a:cubicBezTo>
                    <a:pt x="105" y="130"/>
                    <a:pt x="97" y="135"/>
                    <a:pt x="92" y="130"/>
                  </a:cubicBezTo>
                  <a:cubicBezTo>
                    <a:pt x="89" y="133"/>
                    <a:pt x="92" y="138"/>
                    <a:pt x="88" y="141"/>
                  </a:cubicBezTo>
                  <a:cubicBezTo>
                    <a:pt x="85" y="145"/>
                    <a:pt x="81" y="143"/>
                    <a:pt x="77" y="145"/>
                  </a:cubicBezTo>
                  <a:cubicBezTo>
                    <a:pt x="73" y="146"/>
                    <a:pt x="73" y="149"/>
                    <a:pt x="69" y="147"/>
                  </a:cubicBezTo>
                  <a:cubicBezTo>
                    <a:pt x="65" y="145"/>
                    <a:pt x="57" y="144"/>
                    <a:pt x="55" y="140"/>
                  </a:cubicBezTo>
                  <a:cubicBezTo>
                    <a:pt x="56" y="144"/>
                    <a:pt x="50" y="147"/>
                    <a:pt x="47" y="144"/>
                  </a:cubicBezTo>
                  <a:cubicBezTo>
                    <a:pt x="43" y="141"/>
                    <a:pt x="47" y="140"/>
                    <a:pt x="49" y="137"/>
                  </a:cubicBezTo>
                  <a:cubicBezTo>
                    <a:pt x="52" y="134"/>
                    <a:pt x="48" y="126"/>
                    <a:pt x="46" y="124"/>
                  </a:cubicBezTo>
                  <a:cubicBezTo>
                    <a:pt x="41" y="121"/>
                    <a:pt x="41" y="130"/>
                    <a:pt x="40" y="133"/>
                  </a:cubicBezTo>
                  <a:cubicBezTo>
                    <a:pt x="37" y="130"/>
                    <a:pt x="35" y="134"/>
                    <a:pt x="33" y="133"/>
                  </a:cubicBezTo>
                  <a:cubicBezTo>
                    <a:pt x="29" y="131"/>
                    <a:pt x="31" y="124"/>
                    <a:pt x="30" y="121"/>
                  </a:cubicBezTo>
                  <a:cubicBezTo>
                    <a:pt x="29" y="118"/>
                    <a:pt x="32" y="114"/>
                    <a:pt x="29" y="112"/>
                  </a:cubicBezTo>
                  <a:cubicBezTo>
                    <a:pt x="27" y="110"/>
                    <a:pt x="22" y="105"/>
                    <a:pt x="28" y="104"/>
                  </a:cubicBezTo>
                  <a:cubicBezTo>
                    <a:pt x="25" y="103"/>
                    <a:pt x="24" y="104"/>
                    <a:pt x="23" y="106"/>
                  </a:cubicBezTo>
                  <a:cubicBezTo>
                    <a:pt x="24" y="102"/>
                    <a:pt x="20" y="97"/>
                    <a:pt x="18" y="93"/>
                  </a:cubicBezTo>
                  <a:cubicBezTo>
                    <a:pt x="16" y="88"/>
                    <a:pt x="19" y="82"/>
                    <a:pt x="16" y="77"/>
                  </a:cubicBezTo>
                  <a:cubicBezTo>
                    <a:pt x="10" y="68"/>
                    <a:pt x="5" y="60"/>
                    <a:pt x="1" y="4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Freeform 657">
              <a:extLst>
                <a:ext uri="{FF2B5EF4-FFF2-40B4-BE49-F238E27FC236}">
                  <a16:creationId xmlns:a16="http://schemas.microsoft.com/office/drawing/2014/main" id="{71FEFC7A-51F6-477E-A268-A796F40CF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7516" y="2373206"/>
              <a:ext cx="262498" cy="324785"/>
            </a:xfrm>
            <a:custGeom>
              <a:avLst/>
              <a:gdLst>
                <a:gd name="T0" fmla="*/ 3 w 120"/>
                <a:gd name="T1" fmla="*/ 31 h 149"/>
                <a:gd name="T2" fmla="*/ 10 w 120"/>
                <a:gd name="T3" fmla="*/ 34 h 149"/>
                <a:gd name="T4" fmla="*/ 12 w 120"/>
                <a:gd name="T5" fmla="*/ 12 h 149"/>
                <a:gd name="T6" fmla="*/ 33 w 120"/>
                <a:gd name="T7" fmla="*/ 11 h 149"/>
                <a:gd name="T8" fmla="*/ 39 w 120"/>
                <a:gd name="T9" fmla="*/ 9 h 149"/>
                <a:gd name="T10" fmla="*/ 41 w 120"/>
                <a:gd name="T11" fmla="*/ 0 h 149"/>
                <a:gd name="T12" fmla="*/ 69 w 120"/>
                <a:gd name="T13" fmla="*/ 28 h 149"/>
                <a:gd name="T14" fmla="*/ 95 w 120"/>
                <a:gd name="T15" fmla="*/ 54 h 149"/>
                <a:gd name="T16" fmla="*/ 104 w 120"/>
                <a:gd name="T17" fmla="*/ 77 h 149"/>
                <a:gd name="T18" fmla="*/ 114 w 120"/>
                <a:gd name="T19" fmla="*/ 88 h 149"/>
                <a:gd name="T20" fmla="*/ 118 w 120"/>
                <a:gd name="T21" fmla="*/ 109 h 149"/>
                <a:gd name="T22" fmla="*/ 116 w 120"/>
                <a:gd name="T23" fmla="*/ 106 h 149"/>
                <a:gd name="T24" fmla="*/ 112 w 120"/>
                <a:gd name="T25" fmla="*/ 123 h 149"/>
                <a:gd name="T26" fmla="*/ 98 w 120"/>
                <a:gd name="T27" fmla="*/ 119 h 149"/>
                <a:gd name="T28" fmla="*/ 95 w 120"/>
                <a:gd name="T29" fmla="*/ 125 h 149"/>
                <a:gd name="T30" fmla="*/ 98 w 120"/>
                <a:gd name="T31" fmla="*/ 131 h 149"/>
                <a:gd name="T32" fmla="*/ 85 w 120"/>
                <a:gd name="T33" fmla="*/ 122 h 149"/>
                <a:gd name="T34" fmla="*/ 74 w 120"/>
                <a:gd name="T35" fmla="*/ 129 h 149"/>
                <a:gd name="T36" fmla="*/ 79 w 120"/>
                <a:gd name="T37" fmla="*/ 132 h 149"/>
                <a:gd name="T38" fmla="*/ 78 w 120"/>
                <a:gd name="T39" fmla="*/ 138 h 149"/>
                <a:gd name="T40" fmla="*/ 71 w 120"/>
                <a:gd name="T41" fmla="*/ 129 h 149"/>
                <a:gd name="T42" fmla="*/ 69 w 120"/>
                <a:gd name="T43" fmla="*/ 133 h 149"/>
                <a:gd name="T44" fmla="*/ 76 w 120"/>
                <a:gd name="T45" fmla="*/ 140 h 149"/>
                <a:gd name="T46" fmla="*/ 71 w 120"/>
                <a:gd name="T47" fmla="*/ 140 h 149"/>
                <a:gd name="T48" fmla="*/ 74 w 120"/>
                <a:gd name="T49" fmla="*/ 142 h 149"/>
                <a:gd name="T50" fmla="*/ 66 w 120"/>
                <a:gd name="T51" fmla="*/ 139 h 149"/>
                <a:gd name="T52" fmla="*/ 66 w 120"/>
                <a:gd name="T53" fmla="*/ 133 h 149"/>
                <a:gd name="T54" fmla="*/ 60 w 120"/>
                <a:gd name="T55" fmla="*/ 145 h 149"/>
                <a:gd name="T56" fmla="*/ 55 w 120"/>
                <a:gd name="T57" fmla="*/ 141 h 149"/>
                <a:gd name="T58" fmla="*/ 52 w 120"/>
                <a:gd name="T59" fmla="*/ 149 h 149"/>
                <a:gd name="T60" fmla="*/ 49 w 120"/>
                <a:gd name="T61" fmla="*/ 142 h 149"/>
                <a:gd name="T62" fmla="*/ 40 w 120"/>
                <a:gd name="T63" fmla="*/ 135 h 149"/>
                <a:gd name="T64" fmla="*/ 45 w 120"/>
                <a:gd name="T65" fmla="*/ 139 h 149"/>
                <a:gd name="T66" fmla="*/ 47 w 120"/>
                <a:gd name="T67" fmla="*/ 136 h 149"/>
                <a:gd name="T68" fmla="*/ 41 w 120"/>
                <a:gd name="T69" fmla="*/ 133 h 149"/>
                <a:gd name="T70" fmla="*/ 46 w 120"/>
                <a:gd name="T71" fmla="*/ 131 h 149"/>
                <a:gd name="T72" fmla="*/ 44 w 120"/>
                <a:gd name="T73" fmla="*/ 129 h 149"/>
                <a:gd name="T74" fmla="*/ 32 w 120"/>
                <a:gd name="T75" fmla="*/ 120 h 149"/>
                <a:gd name="T76" fmla="*/ 38 w 120"/>
                <a:gd name="T77" fmla="*/ 121 h 149"/>
                <a:gd name="T78" fmla="*/ 38 w 120"/>
                <a:gd name="T79" fmla="*/ 105 h 149"/>
                <a:gd name="T80" fmla="*/ 32 w 120"/>
                <a:gd name="T81" fmla="*/ 104 h 149"/>
                <a:gd name="T82" fmla="*/ 35 w 120"/>
                <a:gd name="T83" fmla="*/ 100 h 149"/>
                <a:gd name="T84" fmla="*/ 38 w 120"/>
                <a:gd name="T85" fmla="*/ 94 h 149"/>
                <a:gd name="T86" fmla="*/ 32 w 120"/>
                <a:gd name="T87" fmla="*/ 94 h 149"/>
                <a:gd name="T88" fmla="*/ 37 w 120"/>
                <a:gd name="T89" fmla="*/ 88 h 149"/>
                <a:gd name="T90" fmla="*/ 23 w 120"/>
                <a:gd name="T91" fmla="*/ 74 h 149"/>
                <a:gd name="T92" fmla="*/ 19 w 120"/>
                <a:gd name="T93" fmla="*/ 70 h 149"/>
                <a:gd name="T94" fmla="*/ 13 w 120"/>
                <a:gd name="T95" fmla="*/ 69 h 149"/>
                <a:gd name="T96" fmla="*/ 5 w 120"/>
                <a:gd name="T97" fmla="*/ 61 h 149"/>
                <a:gd name="T98" fmla="*/ 7 w 120"/>
                <a:gd name="T99" fmla="*/ 57 h 149"/>
                <a:gd name="T100" fmla="*/ 9 w 120"/>
                <a:gd name="T101" fmla="*/ 57 h 149"/>
                <a:gd name="T102" fmla="*/ 13 w 120"/>
                <a:gd name="T103" fmla="*/ 61 h 149"/>
                <a:gd name="T104" fmla="*/ 13 w 120"/>
                <a:gd name="T105" fmla="*/ 55 h 149"/>
                <a:gd name="T106" fmla="*/ 25 w 120"/>
                <a:gd name="T107" fmla="*/ 64 h 149"/>
                <a:gd name="T108" fmla="*/ 28 w 120"/>
                <a:gd name="T109" fmla="*/ 58 h 149"/>
                <a:gd name="T110" fmla="*/ 22 w 120"/>
                <a:gd name="T111" fmla="*/ 53 h 149"/>
                <a:gd name="T112" fmla="*/ 19 w 120"/>
                <a:gd name="T113" fmla="*/ 47 h 149"/>
                <a:gd name="T114" fmla="*/ 9 w 120"/>
                <a:gd name="T115" fmla="*/ 40 h 149"/>
                <a:gd name="T116" fmla="*/ 8 w 120"/>
                <a:gd name="T117" fmla="*/ 36 h 149"/>
                <a:gd name="T118" fmla="*/ 3 w 120"/>
                <a:gd name="T119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9">
                  <a:moveTo>
                    <a:pt x="3" y="31"/>
                  </a:moveTo>
                  <a:cubicBezTo>
                    <a:pt x="5" y="28"/>
                    <a:pt x="8" y="34"/>
                    <a:pt x="10" y="34"/>
                  </a:cubicBezTo>
                  <a:cubicBezTo>
                    <a:pt x="0" y="30"/>
                    <a:pt x="5" y="16"/>
                    <a:pt x="12" y="12"/>
                  </a:cubicBezTo>
                  <a:cubicBezTo>
                    <a:pt x="18" y="8"/>
                    <a:pt x="26" y="12"/>
                    <a:pt x="33" y="11"/>
                  </a:cubicBezTo>
                  <a:cubicBezTo>
                    <a:pt x="35" y="10"/>
                    <a:pt x="37" y="11"/>
                    <a:pt x="39" y="9"/>
                  </a:cubicBezTo>
                  <a:cubicBezTo>
                    <a:pt x="43" y="6"/>
                    <a:pt x="39" y="4"/>
                    <a:pt x="41" y="0"/>
                  </a:cubicBezTo>
                  <a:cubicBezTo>
                    <a:pt x="51" y="8"/>
                    <a:pt x="59" y="20"/>
                    <a:pt x="69" y="28"/>
                  </a:cubicBezTo>
                  <a:cubicBezTo>
                    <a:pt x="78" y="36"/>
                    <a:pt x="88" y="44"/>
                    <a:pt x="95" y="54"/>
                  </a:cubicBezTo>
                  <a:cubicBezTo>
                    <a:pt x="101" y="61"/>
                    <a:pt x="101" y="69"/>
                    <a:pt x="104" y="77"/>
                  </a:cubicBezTo>
                  <a:cubicBezTo>
                    <a:pt x="105" y="79"/>
                    <a:pt x="112" y="96"/>
                    <a:pt x="114" y="88"/>
                  </a:cubicBezTo>
                  <a:cubicBezTo>
                    <a:pt x="117" y="92"/>
                    <a:pt x="120" y="104"/>
                    <a:pt x="118" y="109"/>
                  </a:cubicBezTo>
                  <a:cubicBezTo>
                    <a:pt x="117" y="108"/>
                    <a:pt x="116" y="107"/>
                    <a:pt x="116" y="106"/>
                  </a:cubicBezTo>
                  <a:cubicBezTo>
                    <a:pt x="118" y="113"/>
                    <a:pt x="119" y="120"/>
                    <a:pt x="112" y="123"/>
                  </a:cubicBezTo>
                  <a:cubicBezTo>
                    <a:pt x="111" y="120"/>
                    <a:pt x="103" y="121"/>
                    <a:pt x="98" y="119"/>
                  </a:cubicBezTo>
                  <a:cubicBezTo>
                    <a:pt x="101" y="124"/>
                    <a:pt x="96" y="120"/>
                    <a:pt x="95" y="125"/>
                  </a:cubicBezTo>
                  <a:cubicBezTo>
                    <a:pt x="99" y="123"/>
                    <a:pt x="99" y="128"/>
                    <a:pt x="98" y="131"/>
                  </a:cubicBezTo>
                  <a:cubicBezTo>
                    <a:pt x="96" y="124"/>
                    <a:pt x="87" y="130"/>
                    <a:pt x="85" y="122"/>
                  </a:cubicBezTo>
                  <a:cubicBezTo>
                    <a:pt x="84" y="129"/>
                    <a:pt x="76" y="124"/>
                    <a:pt x="74" y="129"/>
                  </a:cubicBezTo>
                  <a:cubicBezTo>
                    <a:pt x="76" y="131"/>
                    <a:pt x="78" y="131"/>
                    <a:pt x="79" y="132"/>
                  </a:cubicBezTo>
                  <a:cubicBezTo>
                    <a:pt x="82" y="134"/>
                    <a:pt x="76" y="134"/>
                    <a:pt x="78" y="138"/>
                  </a:cubicBezTo>
                  <a:cubicBezTo>
                    <a:pt x="75" y="136"/>
                    <a:pt x="75" y="132"/>
                    <a:pt x="71" y="129"/>
                  </a:cubicBezTo>
                  <a:cubicBezTo>
                    <a:pt x="71" y="131"/>
                    <a:pt x="70" y="132"/>
                    <a:pt x="69" y="133"/>
                  </a:cubicBezTo>
                  <a:cubicBezTo>
                    <a:pt x="71" y="136"/>
                    <a:pt x="74" y="137"/>
                    <a:pt x="76" y="140"/>
                  </a:cubicBezTo>
                  <a:cubicBezTo>
                    <a:pt x="74" y="140"/>
                    <a:pt x="73" y="140"/>
                    <a:pt x="71" y="140"/>
                  </a:cubicBezTo>
                  <a:cubicBezTo>
                    <a:pt x="72" y="140"/>
                    <a:pt x="73" y="141"/>
                    <a:pt x="74" y="142"/>
                  </a:cubicBezTo>
                  <a:cubicBezTo>
                    <a:pt x="72" y="146"/>
                    <a:pt x="68" y="141"/>
                    <a:pt x="66" y="139"/>
                  </a:cubicBezTo>
                  <a:cubicBezTo>
                    <a:pt x="70" y="140"/>
                    <a:pt x="70" y="133"/>
                    <a:pt x="66" y="133"/>
                  </a:cubicBezTo>
                  <a:cubicBezTo>
                    <a:pt x="62" y="134"/>
                    <a:pt x="60" y="142"/>
                    <a:pt x="60" y="145"/>
                  </a:cubicBezTo>
                  <a:cubicBezTo>
                    <a:pt x="58" y="144"/>
                    <a:pt x="56" y="143"/>
                    <a:pt x="55" y="141"/>
                  </a:cubicBezTo>
                  <a:cubicBezTo>
                    <a:pt x="54" y="144"/>
                    <a:pt x="53" y="146"/>
                    <a:pt x="52" y="149"/>
                  </a:cubicBezTo>
                  <a:cubicBezTo>
                    <a:pt x="49" y="148"/>
                    <a:pt x="47" y="145"/>
                    <a:pt x="49" y="142"/>
                  </a:cubicBezTo>
                  <a:cubicBezTo>
                    <a:pt x="46" y="142"/>
                    <a:pt x="38" y="139"/>
                    <a:pt x="40" y="135"/>
                  </a:cubicBezTo>
                  <a:cubicBezTo>
                    <a:pt x="41" y="137"/>
                    <a:pt x="43" y="138"/>
                    <a:pt x="45" y="139"/>
                  </a:cubicBezTo>
                  <a:cubicBezTo>
                    <a:pt x="43" y="136"/>
                    <a:pt x="43" y="135"/>
                    <a:pt x="47" y="136"/>
                  </a:cubicBezTo>
                  <a:cubicBezTo>
                    <a:pt x="45" y="135"/>
                    <a:pt x="43" y="134"/>
                    <a:pt x="41" y="133"/>
                  </a:cubicBezTo>
                  <a:cubicBezTo>
                    <a:pt x="43" y="134"/>
                    <a:pt x="45" y="133"/>
                    <a:pt x="46" y="131"/>
                  </a:cubicBezTo>
                  <a:cubicBezTo>
                    <a:pt x="46" y="130"/>
                    <a:pt x="45" y="130"/>
                    <a:pt x="44" y="129"/>
                  </a:cubicBezTo>
                  <a:cubicBezTo>
                    <a:pt x="43" y="137"/>
                    <a:pt x="34" y="122"/>
                    <a:pt x="32" y="120"/>
                  </a:cubicBezTo>
                  <a:cubicBezTo>
                    <a:pt x="34" y="121"/>
                    <a:pt x="36" y="122"/>
                    <a:pt x="38" y="121"/>
                  </a:cubicBezTo>
                  <a:cubicBezTo>
                    <a:pt x="33" y="119"/>
                    <a:pt x="32" y="107"/>
                    <a:pt x="38" y="105"/>
                  </a:cubicBezTo>
                  <a:cubicBezTo>
                    <a:pt x="36" y="105"/>
                    <a:pt x="34" y="104"/>
                    <a:pt x="32" y="104"/>
                  </a:cubicBezTo>
                  <a:cubicBezTo>
                    <a:pt x="32" y="102"/>
                    <a:pt x="33" y="101"/>
                    <a:pt x="35" y="100"/>
                  </a:cubicBezTo>
                  <a:cubicBezTo>
                    <a:pt x="37" y="99"/>
                    <a:pt x="37" y="95"/>
                    <a:pt x="38" y="94"/>
                  </a:cubicBezTo>
                  <a:cubicBezTo>
                    <a:pt x="36" y="94"/>
                    <a:pt x="34" y="94"/>
                    <a:pt x="32" y="94"/>
                  </a:cubicBezTo>
                  <a:cubicBezTo>
                    <a:pt x="33" y="91"/>
                    <a:pt x="34" y="90"/>
                    <a:pt x="37" y="88"/>
                  </a:cubicBezTo>
                  <a:cubicBezTo>
                    <a:pt x="31" y="95"/>
                    <a:pt x="19" y="80"/>
                    <a:pt x="23" y="74"/>
                  </a:cubicBezTo>
                  <a:cubicBezTo>
                    <a:pt x="19" y="76"/>
                    <a:pt x="20" y="73"/>
                    <a:pt x="19" y="70"/>
                  </a:cubicBezTo>
                  <a:cubicBezTo>
                    <a:pt x="18" y="67"/>
                    <a:pt x="12" y="63"/>
                    <a:pt x="13" y="69"/>
                  </a:cubicBezTo>
                  <a:cubicBezTo>
                    <a:pt x="11" y="65"/>
                    <a:pt x="6" y="66"/>
                    <a:pt x="5" y="61"/>
                  </a:cubicBezTo>
                  <a:cubicBezTo>
                    <a:pt x="8" y="61"/>
                    <a:pt x="9" y="61"/>
                    <a:pt x="7" y="57"/>
                  </a:cubicBezTo>
                  <a:cubicBezTo>
                    <a:pt x="9" y="62"/>
                    <a:pt x="10" y="62"/>
                    <a:pt x="9" y="57"/>
                  </a:cubicBezTo>
                  <a:cubicBezTo>
                    <a:pt x="11" y="57"/>
                    <a:pt x="13" y="58"/>
                    <a:pt x="13" y="61"/>
                  </a:cubicBezTo>
                  <a:cubicBezTo>
                    <a:pt x="15" y="58"/>
                    <a:pt x="15" y="57"/>
                    <a:pt x="13" y="55"/>
                  </a:cubicBezTo>
                  <a:cubicBezTo>
                    <a:pt x="17" y="58"/>
                    <a:pt x="23" y="58"/>
                    <a:pt x="25" y="64"/>
                  </a:cubicBezTo>
                  <a:cubicBezTo>
                    <a:pt x="24" y="62"/>
                    <a:pt x="26" y="60"/>
                    <a:pt x="28" y="58"/>
                  </a:cubicBezTo>
                  <a:cubicBezTo>
                    <a:pt x="25" y="59"/>
                    <a:pt x="21" y="57"/>
                    <a:pt x="22" y="53"/>
                  </a:cubicBezTo>
                  <a:cubicBezTo>
                    <a:pt x="18" y="56"/>
                    <a:pt x="11" y="46"/>
                    <a:pt x="19" y="47"/>
                  </a:cubicBezTo>
                  <a:cubicBezTo>
                    <a:pt x="15" y="46"/>
                    <a:pt x="12" y="43"/>
                    <a:pt x="9" y="40"/>
                  </a:cubicBezTo>
                  <a:cubicBezTo>
                    <a:pt x="9" y="39"/>
                    <a:pt x="8" y="37"/>
                    <a:pt x="8" y="36"/>
                  </a:cubicBezTo>
                  <a:cubicBezTo>
                    <a:pt x="6" y="34"/>
                    <a:pt x="4" y="34"/>
                    <a:pt x="3" y="3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Freeform 658">
              <a:extLst>
                <a:ext uri="{FF2B5EF4-FFF2-40B4-BE49-F238E27FC236}">
                  <a16:creationId xmlns:a16="http://schemas.microsoft.com/office/drawing/2014/main" id="{6E4E8D71-806C-4F1D-8718-15606A316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7516" y="2373206"/>
              <a:ext cx="262498" cy="324785"/>
            </a:xfrm>
            <a:custGeom>
              <a:avLst/>
              <a:gdLst>
                <a:gd name="T0" fmla="*/ 3 w 120"/>
                <a:gd name="T1" fmla="*/ 31 h 149"/>
                <a:gd name="T2" fmla="*/ 10 w 120"/>
                <a:gd name="T3" fmla="*/ 34 h 149"/>
                <a:gd name="T4" fmla="*/ 12 w 120"/>
                <a:gd name="T5" fmla="*/ 12 h 149"/>
                <a:gd name="T6" fmla="*/ 33 w 120"/>
                <a:gd name="T7" fmla="*/ 11 h 149"/>
                <a:gd name="T8" fmla="*/ 39 w 120"/>
                <a:gd name="T9" fmla="*/ 9 h 149"/>
                <a:gd name="T10" fmla="*/ 41 w 120"/>
                <a:gd name="T11" fmla="*/ 0 h 149"/>
                <a:gd name="T12" fmla="*/ 69 w 120"/>
                <a:gd name="T13" fmla="*/ 28 h 149"/>
                <a:gd name="T14" fmla="*/ 95 w 120"/>
                <a:gd name="T15" fmla="*/ 54 h 149"/>
                <a:gd name="T16" fmla="*/ 104 w 120"/>
                <a:gd name="T17" fmla="*/ 77 h 149"/>
                <a:gd name="T18" fmla="*/ 114 w 120"/>
                <a:gd name="T19" fmla="*/ 88 h 149"/>
                <a:gd name="T20" fmla="*/ 118 w 120"/>
                <a:gd name="T21" fmla="*/ 109 h 149"/>
                <a:gd name="T22" fmla="*/ 116 w 120"/>
                <a:gd name="T23" fmla="*/ 106 h 149"/>
                <a:gd name="T24" fmla="*/ 112 w 120"/>
                <a:gd name="T25" fmla="*/ 123 h 149"/>
                <a:gd name="T26" fmla="*/ 98 w 120"/>
                <a:gd name="T27" fmla="*/ 119 h 149"/>
                <a:gd name="T28" fmla="*/ 95 w 120"/>
                <a:gd name="T29" fmla="*/ 125 h 149"/>
                <a:gd name="T30" fmla="*/ 98 w 120"/>
                <a:gd name="T31" fmla="*/ 131 h 149"/>
                <a:gd name="T32" fmla="*/ 85 w 120"/>
                <a:gd name="T33" fmla="*/ 122 h 149"/>
                <a:gd name="T34" fmla="*/ 74 w 120"/>
                <a:gd name="T35" fmla="*/ 129 h 149"/>
                <a:gd name="T36" fmla="*/ 79 w 120"/>
                <a:gd name="T37" fmla="*/ 132 h 149"/>
                <a:gd name="T38" fmla="*/ 78 w 120"/>
                <a:gd name="T39" fmla="*/ 138 h 149"/>
                <a:gd name="T40" fmla="*/ 71 w 120"/>
                <a:gd name="T41" fmla="*/ 129 h 149"/>
                <a:gd name="T42" fmla="*/ 69 w 120"/>
                <a:gd name="T43" fmla="*/ 133 h 149"/>
                <a:gd name="T44" fmla="*/ 76 w 120"/>
                <a:gd name="T45" fmla="*/ 140 h 149"/>
                <a:gd name="T46" fmla="*/ 71 w 120"/>
                <a:gd name="T47" fmla="*/ 140 h 149"/>
                <a:gd name="T48" fmla="*/ 74 w 120"/>
                <a:gd name="T49" fmla="*/ 142 h 149"/>
                <a:gd name="T50" fmla="*/ 66 w 120"/>
                <a:gd name="T51" fmla="*/ 139 h 149"/>
                <a:gd name="T52" fmla="*/ 66 w 120"/>
                <a:gd name="T53" fmla="*/ 133 h 149"/>
                <a:gd name="T54" fmla="*/ 60 w 120"/>
                <a:gd name="T55" fmla="*/ 145 h 149"/>
                <a:gd name="T56" fmla="*/ 55 w 120"/>
                <a:gd name="T57" fmla="*/ 141 h 149"/>
                <a:gd name="T58" fmla="*/ 52 w 120"/>
                <a:gd name="T59" fmla="*/ 149 h 149"/>
                <a:gd name="T60" fmla="*/ 49 w 120"/>
                <a:gd name="T61" fmla="*/ 142 h 149"/>
                <a:gd name="T62" fmla="*/ 40 w 120"/>
                <a:gd name="T63" fmla="*/ 135 h 149"/>
                <a:gd name="T64" fmla="*/ 45 w 120"/>
                <a:gd name="T65" fmla="*/ 139 h 149"/>
                <a:gd name="T66" fmla="*/ 47 w 120"/>
                <a:gd name="T67" fmla="*/ 136 h 149"/>
                <a:gd name="T68" fmla="*/ 41 w 120"/>
                <a:gd name="T69" fmla="*/ 133 h 149"/>
                <a:gd name="T70" fmla="*/ 46 w 120"/>
                <a:gd name="T71" fmla="*/ 131 h 149"/>
                <a:gd name="T72" fmla="*/ 44 w 120"/>
                <a:gd name="T73" fmla="*/ 129 h 149"/>
                <a:gd name="T74" fmla="*/ 32 w 120"/>
                <a:gd name="T75" fmla="*/ 120 h 149"/>
                <a:gd name="T76" fmla="*/ 38 w 120"/>
                <a:gd name="T77" fmla="*/ 121 h 149"/>
                <a:gd name="T78" fmla="*/ 38 w 120"/>
                <a:gd name="T79" fmla="*/ 105 h 149"/>
                <a:gd name="T80" fmla="*/ 32 w 120"/>
                <a:gd name="T81" fmla="*/ 104 h 149"/>
                <a:gd name="T82" fmla="*/ 35 w 120"/>
                <a:gd name="T83" fmla="*/ 100 h 149"/>
                <a:gd name="T84" fmla="*/ 38 w 120"/>
                <a:gd name="T85" fmla="*/ 94 h 149"/>
                <a:gd name="T86" fmla="*/ 32 w 120"/>
                <a:gd name="T87" fmla="*/ 94 h 149"/>
                <a:gd name="T88" fmla="*/ 37 w 120"/>
                <a:gd name="T89" fmla="*/ 88 h 149"/>
                <a:gd name="T90" fmla="*/ 23 w 120"/>
                <a:gd name="T91" fmla="*/ 74 h 149"/>
                <a:gd name="T92" fmla="*/ 19 w 120"/>
                <a:gd name="T93" fmla="*/ 70 h 149"/>
                <a:gd name="T94" fmla="*/ 13 w 120"/>
                <a:gd name="T95" fmla="*/ 69 h 149"/>
                <a:gd name="T96" fmla="*/ 5 w 120"/>
                <a:gd name="T97" fmla="*/ 61 h 149"/>
                <a:gd name="T98" fmla="*/ 7 w 120"/>
                <a:gd name="T99" fmla="*/ 57 h 149"/>
                <a:gd name="T100" fmla="*/ 9 w 120"/>
                <a:gd name="T101" fmla="*/ 57 h 149"/>
                <a:gd name="T102" fmla="*/ 13 w 120"/>
                <a:gd name="T103" fmla="*/ 61 h 149"/>
                <a:gd name="T104" fmla="*/ 13 w 120"/>
                <a:gd name="T105" fmla="*/ 55 h 149"/>
                <a:gd name="T106" fmla="*/ 25 w 120"/>
                <a:gd name="T107" fmla="*/ 64 h 149"/>
                <a:gd name="T108" fmla="*/ 28 w 120"/>
                <a:gd name="T109" fmla="*/ 58 h 149"/>
                <a:gd name="T110" fmla="*/ 22 w 120"/>
                <a:gd name="T111" fmla="*/ 53 h 149"/>
                <a:gd name="T112" fmla="*/ 19 w 120"/>
                <a:gd name="T113" fmla="*/ 47 h 149"/>
                <a:gd name="T114" fmla="*/ 9 w 120"/>
                <a:gd name="T115" fmla="*/ 40 h 149"/>
                <a:gd name="T116" fmla="*/ 8 w 120"/>
                <a:gd name="T117" fmla="*/ 36 h 149"/>
                <a:gd name="T118" fmla="*/ 3 w 120"/>
                <a:gd name="T119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9">
                  <a:moveTo>
                    <a:pt x="3" y="31"/>
                  </a:moveTo>
                  <a:cubicBezTo>
                    <a:pt x="5" y="28"/>
                    <a:pt x="8" y="34"/>
                    <a:pt x="10" y="34"/>
                  </a:cubicBezTo>
                  <a:cubicBezTo>
                    <a:pt x="0" y="30"/>
                    <a:pt x="5" y="16"/>
                    <a:pt x="12" y="12"/>
                  </a:cubicBezTo>
                  <a:cubicBezTo>
                    <a:pt x="18" y="8"/>
                    <a:pt x="26" y="12"/>
                    <a:pt x="33" y="11"/>
                  </a:cubicBezTo>
                  <a:cubicBezTo>
                    <a:pt x="35" y="10"/>
                    <a:pt x="37" y="11"/>
                    <a:pt x="39" y="9"/>
                  </a:cubicBezTo>
                  <a:cubicBezTo>
                    <a:pt x="43" y="6"/>
                    <a:pt x="39" y="4"/>
                    <a:pt x="41" y="0"/>
                  </a:cubicBezTo>
                  <a:cubicBezTo>
                    <a:pt x="51" y="8"/>
                    <a:pt x="59" y="20"/>
                    <a:pt x="69" y="28"/>
                  </a:cubicBezTo>
                  <a:cubicBezTo>
                    <a:pt x="78" y="36"/>
                    <a:pt x="88" y="44"/>
                    <a:pt x="95" y="54"/>
                  </a:cubicBezTo>
                  <a:cubicBezTo>
                    <a:pt x="101" y="61"/>
                    <a:pt x="101" y="69"/>
                    <a:pt x="104" y="77"/>
                  </a:cubicBezTo>
                  <a:cubicBezTo>
                    <a:pt x="105" y="79"/>
                    <a:pt x="112" y="96"/>
                    <a:pt x="114" y="88"/>
                  </a:cubicBezTo>
                  <a:cubicBezTo>
                    <a:pt x="117" y="92"/>
                    <a:pt x="120" y="104"/>
                    <a:pt x="118" y="109"/>
                  </a:cubicBezTo>
                  <a:cubicBezTo>
                    <a:pt x="117" y="108"/>
                    <a:pt x="116" y="107"/>
                    <a:pt x="116" y="106"/>
                  </a:cubicBezTo>
                  <a:cubicBezTo>
                    <a:pt x="118" y="113"/>
                    <a:pt x="119" y="120"/>
                    <a:pt x="112" y="123"/>
                  </a:cubicBezTo>
                  <a:cubicBezTo>
                    <a:pt x="111" y="120"/>
                    <a:pt x="103" y="121"/>
                    <a:pt x="98" y="119"/>
                  </a:cubicBezTo>
                  <a:cubicBezTo>
                    <a:pt x="101" y="124"/>
                    <a:pt x="96" y="120"/>
                    <a:pt x="95" y="125"/>
                  </a:cubicBezTo>
                  <a:cubicBezTo>
                    <a:pt x="99" y="123"/>
                    <a:pt x="99" y="128"/>
                    <a:pt x="98" y="131"/>
                  </a:cubicBezTo>
                  <a:cubicBezTo>
                    <a:pt x="96" y="124"/>
                    <a:pt x="87" y="130"/>
                    <a:pt x="85" y="122"/>
                  </a:cubicBezTo>
                  <a:cubicBezTo>
                    <a:pt x="84" y="129"/>
                    <a:pt x="76" y="124"/>
                    <a:pt x="74" y="129"/>
                  </a:cubicBezTo>
                  <a:cubicBezTo>
                    <a:pt x="76" y="131"/>
                    <a:pt x="78" y="131"/>
                    <a:pt x="79" y="132"/>
                  </a:cubicBezTo>
                  <a:cubicBezTo>
                    <a:pt x="82" y="134"/>
                    <a:pt x="76" y="134"/>
                    <a:pt x="78" y="138"/>
                  </a:cubicBezTo>
                  <a:cubicBezTo>
                    <a:pt x="75" y="136"/>
                    <a:pt x="75" y="132"/>
                    <a:pt x="71" y="129"/>
                  </a:cubicBezTo>
                  <a:cubicBezTo>
                    <a:pt x="71" y="131"/>
                    <a:pt x="70" y="132"/>
                    <a:pt x="69" y="133"/>
                  </a:cubicBezTo>
                  <a:cubicBezTo>
                    <a:pt x="71" y="136"/>
                    <a:pt x="74" y="137"/>
                    <a:pt x="76" y="140"/>
                  </a:cubicBezTo>
                  <a:cubicBezTo>
                    <a:pt x="74" y="140"/>
                    <a:pt x="73" y="140"/>
                    <a:pt x="71" y="140"/>
                  </a:cubicBezTo>
                  <a:cubicBezTo>
                    <a:pt x="72" y="140"/>
                    <a:pt x="73" y="141"/>
                    <a:pt x="74" y="142"/>
                  </a:cubicBezTo>
                  <a:cubicBezTo>
                    <a:pt x="72" y="146"/>
                    <a:pt x="68" y="141"/>
                    <a:pt x="66" y="139"/>
                  </a:cubicBezTo>
                  <a:cubicBezTo>
                    <a:pt x="70" y="140"/>
                    <a:pt x="70" y="133"/>
                    <a:pt x="66" y="133"/>
                  </a:cubicBezTo>
                  <a:cubicBezTo>
                    <a:pt x="62" y="134"/>
                    <a:pt x="60" y="142"/>
                    <a:pt x="60" y="145"/>
                  </a:cubicBezTo>
                  <a:cubicBezTo>
                    <a:pt x="58" y="144"/>
                    <a:pt x="56" y="143"/>
                    <a:pt x="55" y="141"/>
                  </a:cubicBezTo>
                  <a:cubicBezTo>
                    <a:pt x="54" y="144"/>
                    <a:pt x="53" y="146"/>
                    <a:pt x="52" y="149"/>
                  </a:cubicBezTo>
                  <a:cubicBezTo>
                    <a:pt x="49" y="148"/>
                    <a:pt x="47" y="145"/>
                    <a:pt x="49" y="142"/>
                  </a:cubicBezTo>
                  <a:cubicBezTo>
                    <a:pt x="46" y="142"/>
                    <a:pt x="38" y="139"/>
                    <a:pt x="40" y="135"/>
                  </a:cubicBezTo>
                  <a:cubicBezTo>
                    <a:pt x="41" y="137"/>
                    <a:pt x="43" y="138"/>
                    <a:pt x="45" y="139"/>
                  </a:cubicBezTo>
                  <a:cubicBezTo>
                    <a:pt x="43" y="136"/>
                    <a:pt x="43" y="135"/>
                    <a:pt x="47" y="136"/>
                  </a:cubicBezTo>
                  <a:cubicBezTo>
                    <a:pt x="45" y="135"/>
                    <a:pt x="43" y="134"/>
                    <a:pt x="41" y="133"/>
                  </a:cubicBezTo>
                  <a:cubicBezTo>
                    <a:pt x="43" y="134"/>
                    <a:pt x="45" y="133"/>
                    <a:pt x="46" y="131"/>
                  </a:cubicBezTo>
                  <a:cubicBezTo>
                    <a:pt x="46" y="130"/>
                    <a:pt x="45" y="130"/>
                    <a:pt x="44" y="129"/>
                  </a:cubicBezTo>
                  <a:cubicBezTo>
                    <a:pt x="43" y="137"/>
                    <a:pt x="34" y="122"/>
                    <a:pt x="32" y="120"/>
                  </a:cubicBezTo>
                  <a:cubicBezTo>
                    <a:pt x="34" y="121"/>
                    <a:pt x="36" y="122"/>
                    <a:pt x="38" y="121"/>
                  </a:cubicBezTo>
                  <a:cubicBezTo>
                    <a:pt x="33" y="119"/>
                    <a:pt x="32" y="107"/>
                    <a:pt x="38" y="105"/>
                  </a:cubicBezTo>
                  <a:cubicBezTo>
                    <a:pt x="36" y="105"/>
                    <a:pt x="34" y="104"/>
                    <a:pt x="32" y="104"/>
                  </a:cubicBezTo>
                  <a:cubicBezTo>
                    <a:pt x="32" y="102"/>
                    <a:pt x="33" y="101"/>
                    <a:pt x="35" y="100"/>
                  </a:cubicBezTo>
                  <a:cubicBezTo>
                    <a:pt x="37" y="99"/>
                    <a:pt x="37" y="95"/>
                    <a:pt x="38" y="94"/>
                  </a:cubicBezTo>
                  <a:cubicBezTo>
                    <a:pt x="36" y="94"/>
                    <a:pt x="34" y="94"/>
                    <a:pt x="32" y="94"/>
                  </a:cubicBezTo>
                  <a:cubicBezTo>
                    <a:pt x="33" y="91"/>
                    <a:pt x="34" y="90"/>
                    <a:pt x="37" y="88"/>
                  </a:cubicBezTo>
                  <a:cubicBezTo>
                    <a:pt x="31" y="95"/>
                    <a:pt x="19" y="80"/>
                    <a:pt x="23" y="74"/>
                  </a:cubicBezTo>
                  <a:cubicBezTo>
                    <a:pt x="19" y="76"/>
                    <a:pt x="20" y="73"/>
                    <a:pt x="19" y="70"/>
                  </a:cubicBezTo>
                  <a:cubicBezTo>
                    <a:pt x="18" y="67"/>
                    <a:pt x="12" y="63"/>
                    <a:pt x="13" y="69"/>
                  </a:cubicBezTo>
                  <a:cubicBezTo>
                    <a:pt x="11" y="65"/>
                    <a:pt x="6" y="66"/>
                    <a:pt x="5" y="61"/>
                  </a:cubicBezTo>
                  <a:cubicBezTo>
                    <a:pt x="8" y="61"/>
                    <a:pt x="9" y="61"/>
                    <a:pt x="7" y="57"/>
                  </a:cubicBezTo>
                  <a:cubicBezTo>
                    <a:pt x="9" y="62"/>
                    <a:pt x="10" y="62"/>
                    <a:pt x="9" y="57"/>
                  </a:cubicBezTo>
                  <a:cubicBezTo>
                    <a:pt x="11" y="57"/>
                    <a:pt x="13" y="58"/>
                    <a:pt x="13" y="61"/>
                  </a:cubicBezTo>
                  <a:cubicBezTo>
                    <a:pt x="15" y="58"/>
                    <a:pt x="15" y="57"/>
                    <a:pt x="13" y="55"/>
                  </a:cubicBezTo>
                  <a:cubicBezTo>
                    <a:pt x="17" y="58"/>
                    <a:pt x="23" y="58"/>
                    <a:pt x="25" y="64"/>
                  </a:cubicBezTo>
                  <a:cubicBezTo>
                    <a:pt x="24" y="62"/>
                    <a:pt x="26" y="60"/>
                    <a:pt x="28" y="58"/>
                  </a:cubicBezTo>
                  <a:cubicBezTo>
                    <a:pt x="25" y="59"/>
                    <a:pt x="21" y="57"/>
                    <a:pt x="22" y="53"/>
                  </a:cubicBezTo>
                  <a:cubicBezTo>
                    <a:pt x="18" y="56"/>
                    <a:pt x="11" y="46"/>
                    <a:pt x="19" y="47"/>
                  </a:cubicBezTo>
                  <a:cubicBezTo>
                    <a:pt x="15" y="46"/>
                    <a:pt x="12" y="43"/>
                    <a:pt x="9" y="40"/>
                  </a:cubicBezTo>
                  <a:cubicBezTo>
                    <a:pt x="9" y="39"/>
                    <a:pt x="8" y="37"/>
                    <a:pt x="8" y="36"/>
                  </a:cubicBezTo>
                  <a:cubicBezTo>
                    <a:pt x="6" y="34"/>
                    <a:pt x="4" y="34"/>
                    <a:pt x="3" y="3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" name="Freeform 659">
              <a:extLst>
                <a:ext uri="{FF2B5EF4-FFF2-40B4-BE49-F238E27FC236}">
                  <a16:creationId xmlns:a16="http://schemas.microsoft.com/office/drawing/2014/main" id="{F61D7198-FB9D-467B-A450-A276599C8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8143" y="4522118"/>
              <a:ext cx="160167" cy="320335"/>
            </a:xfrm>
            <a:custGeom>
              <a:avLst/>
              <a:gdLst>
                <a:gd name="T0" fmla="*/ 7 w 75"/>
                <a:gd name="T1" fmla="*/ 81 h 147"/>
                <a:gd name="T2" fmla="*/ 35 w 75"/>
                <a:gd name="T3" fmla="*/ 139 h 147"/>
                <a:gd name="T4" fmla="*/ 68 w 75"/>
                <a:gd name="T5" fmla="*/ 118 h 147"/>
                <a:gd name="T6" fmla="*/ 69 w 75"/>
                <a:gd name="T7" fmla="*/ 86 h 147"/>
                <a:gd name="T8" fmla="*/ 62 w 75"/>
                <a:gd name="T9" fmla="*/ 76 h 147"/>
                <a:gd name="T10" fmla="*/ 59 w 75"/>
                <a:gd name="T11" fmla="*/ 68 h 147"/>
                <a:gd name="T12" fmla="*/ 53 w 75"/>
                <a:gd name="T13" fmla="*/ 50 h 147"/>
                <a:gd name="T14" fmla="*/ 47 w 75"/>
                <a:gd name="T15" fmla="*/ 49 h 147"/>
                <a:gd name="T16" fmla="*/ 37 w 75"/>
                <a:gd name="T17" fmla="*/ 27 h 147"/>
                <a:gd name="T18" fmla="*/ 15 w 75"/>
                <a:gd name="T19" fmla="*/ 6 h 147"/>
                <a:gd name="T20" fmla="*/ 23 w 75"/>
                <a:gd name="T21" fmla="*/ 13 h 147"/>
                <a:gd name="T22" fmla="*/ 7 w 75"/>
                <a:gd name="T23" fmla="*/ 7 h 147"/>
                <a:gd name="T24" fmla="*/ 16 w 75"/>
                <a:gd name="T25" fmla="*/ 13 h 147"/>
                <a:gd name="T26" fmla="*/ 28 w 75"/>
                <a:gd name="T27" fmla="*/ 18 h 147"/>
                <a:gd name="T28" fmla="*/ 14 w 75"/>
                <a:gd name="T29" fmla="*/ 14 h 147"/>
                <a:gd name="T30" fmla="*/ 13 w 75"/>
                <a:gd name="T31" fmla="*/ 19 h 147"/>
                <a:gd name="T32" fmla="*/ 13 w 75"/>
                <a:gd name="T33" fmla="*/ 30 h 147"/>
                <a:gd name="T34" fmla="*/ 7 w 75"/>
                <a:gd name="T35" fmla="*/ 68 h 147"/>
                <a:gd name="T36" fmla="*/ 5 w 75"/>
                <a:gd name="T37" fmla="*/ 57 h 147"/>
                <a:gd name="T38" fmla="*/ 7 w 75"/>
                <a:gd name="T39" fmla="*/ 8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5" h="147">
                  <a:moveTo>
                    <a:pt x="7" y="81"/>
                  </a:moveTo>
                  <a:cubicBezTo>
                    <a:pt x="7" y="94"/>
                    <a:pt x="12" y="147"/>
                    <a:pt x="35" y="139"/>
                  </a:cubicBezTo>
                  <a:cubicBezTo>
                    <a:pt x="46" y="135"/>
                    <a:pt x="62" y="128"/>
                    <a:pt x="68" y="118"/>
                  </a:cubicBezTo>
                  <a:cubicBezTo>
                    <a:pt x="73" y="109"/>
                    <a:pt x="75" y="94"/>
                    <a:pt x="69" y="86"/>
                  </a:cubicBezTo>
                  <a:cubicBezTo>
                    <a:pt x="69" y="87"/>
                    <a:pt x="64" y="77"/>
                    <a:pt x="62" y="76"/>
                  </a:cubicBezTo>
                  <a:cubicBezTo>
                    <a:pt x="70" y="81"/>
                    <a:pt x="61" y="70"/>
                    <a:pt x="59" y="68"/>
                  </a:cubicBezTo>
                  <a:cubicBezTo>
                    <a:pt x="56" y="62"/>
                    <a:pt x="56" y="56"/>
                    <a:pt x="53" y="50"/>
                  </a:cubicBezTo>
                  <a:cubicBezTo>
                    <a:pt x="51" y="52"/>
                    <a:pt x="48" y="51"/>
                    <a:pt x="47" y="49"/>
                  </a:cubicBezTo>
                  <a:cubicBezTo>
                    <a:pt x="54" y="49"/>
                    <a:pt x="38" y="29"/>
                    <a:pt x="37" y="27"/>
                  </a:cubicBezTo>
                  <a:cubicBezTo>
                    <a:pt x="36" y="24"/>
                    <a:pt x="18" y="3"/>
                    <a:pt x="15" y="6"/>
                  </a:cubicBezTo>
                  <a:cubicBezTo>
                    <a:pt x="18" y="7"/>
                    <a:pt x="20" y="10"/>
                    <a:pt x="23" y="13"/>
                  </a:cubicBezTo>
                  <a:cubicBezTo>
                    <a:pt x="19" y="10"/>
                    <a:pt x="12" y="0"/>
                    <a:pt x="7" y="7"/>
                  </a:cubicBezTo>
                  <a:cubicBezTo>
                    <a:pt x="9" y="10"/>
                    <a:pt x="13" y="10"/>
                    <a:pt x="16" y="13"/>
                  </a:cubicBezTo>
                  <a:cubicBezTo>
                    <a:pt x="17" y="9"/>
                    <a:pt x="26" y="15"/>
                    <a:pt x="28" y="18"/>
                  </a:cubicBezTo>
                  <a:cubicBezTo>
                    <a:pt x="26" y="16"/>
                    <a:pt x="17" y="14"/>
                    <a:pt x="14" y="14"/>
                  </a:cubicBezTo>
                  <a:cubicBezTo>
                    <a:pt x="16" y="17"/>
                    <a:pt x="14" y="17"/>
                    <a:pt x="13" y="19"/>
                  </a:cubicBezTo>
                  <a:cubicBezTo>
                    <a:pt x="11" y="21"/>
                    <a:pt x="15" y="26"/>
                    <a:pt x="13" y="30"/>
                  </a:cubicBezTo>
                  <a:cubicBezTo>
                    <a:pt x="7" y="39"/>
                    <a:pt x="8" y="57"/>
                    <a:pt x="7" y="68"/>
                  </a:cubicBezTo>
                  <a:cubicBezTo>
                    <a:pt x="3" y="67"/>
                    <a:pt x="5" y="61"/>
                    <a:pt x="5" y="57"/>
                  </a:cubicBezTo>
                  <a:cubicBezTo>
                    <a:pt x="0" y="64"/>
                    <a:pt x="6" y="74"/>
                    <a:pt x="7" y="8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Freeform 660">
              <a:extLst>
                <a:ext uri="{FF2B5EF4-FFF2-40B4-BE49-F238E27FC236}">
                  <a16:creationId xmlns:a16="http://schemas.microsoft.com/office/drawing/2014/main" id="{266568E6-C949-42E2-92E9-821A91AC9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8143" y="4522118"/>
              <a:ext cx="160167" cy="320335"/>
            </a:xfrm>
            <a:custGeom>
              <a:avLst/>
              <a:gdLst>
                <a:gd name="T0" fmla="*/ 7 w 75"/>
                <a:gd name="T1" fmla="*/ 81 h 147"/>
                <a:gd name="T2" fmla="*/ 35 w 75"/>
                <a:gd name="T3" fmla="*/ 139 h 147"/>
                <a:gd name="T4" fmla="*/ 68 w 75"/>
                <a:gd name="T5" fmla="*/ 118 h 147"/>
                <a:gd name="T6" fmla="*/ 69 w 75"/>
                <a:gd name="T7" fmla="*/ 86 h 147"/>
                <a:gd name="T8" fmla="*/ 62 w 75"/>
                <a:gd name="T9" fmla="*/ 76 h 147"/>
                <a:gd name="T10" fmla="*/ 59 w 75"/>
                <a:gd name="T11" fmla="*/ 68 h 147"/>
                <a:gd name="T12" fmla="*/ 53 w 75"/>
                <a:gd name="T13" fmla="*/ 50 h 147"/>
                <a:gd name="T14" fmla="*/ 47 w 75"/>
                <a:gd name="T15" fmla="*/ 49 h 147"/>
                <a:gd name="T16" fmla="*/ 37 w 75"/>
                <a:gd name="T17" fmla="*/ 27 h 147"/>
                <a:gd name="T18" fmla="*/ 15 w 75"/>
                <a:gd name="T19" fmla="*/ 6 h 147"/>
                <a:gd name="T20" fmla="*/ 23 w 75"/>
                <a:gd name="T21" fmla="*/ 13 h 147"/>
                <a:gd name="T22" fmla="*/ 7 w 75"/>
                <a:gd name="T23" fmla="*/ 7 h 147"/>
                <a:gd name="T24" fmla="*/ 16 w 75"/>
                <a:gd name="T25" fmla="*/ 13 h 147"/>
                <a:gd name="T26" fmla="*/ 28 w 75"/>
                <a:gd name="T27" fmla="*/ 18 h 147"/>
                <a:gd name="T28" fmla="*/ 14 w 75"/>
                <a:gd name="T29" fmla="*/ 14 h 147"/>
                <a:gd name="T30" fmla="*/ 13 w 75"/>
                <a:gd name="T31" fmla="*/ 19 h 147"/>
                <a:gd name="T32" fmla="*/ 13 w 75"/>
                <a:gd name="T33" fmla="*/ 30 h 147"/>
                <a:gd name="T34" fmla="*/ 7 w 75"/>
                <a:gd name="T35" fmla="*/ 68 h 147"/>
                <a:gd name="T36" fmla="*/ 5 w 75"/>
                <a:gd name="T37" fmla="*/ 57 h 147"/>
                <a:gd name="T38" fmla="*/ 7 w 75"/>
                <a:gd name="T39" fmla="*/ 8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5" h="147">
                  <a:moveTo>
                    <a:pt x="7" y="81"/>
                  </a:moveTo>
                  <a:cubicBezTo>
                    <a:pt x="7" y="94"/>
                    <a:pt x="12" y="147"/>
                    <a:pt x="35" y="139"/>
                  </a:cubicBezTo>
                  <a:cubicBezTo>
                    <a:pt x="46" y="135"/>
                    <a:pt x="62" y="128"/>
                    <a:pt x="68" y="118"/>
                  </a:cubicBezTo>
                  <a:cubicBezTo>
                    <a:pt x="73" y="109"/>
                    <a:pt x="75" y="94"/>
                    <a:pt x="69" y="86"/>
                  </a:cubicBezTo>
                  <a:cubicBezTo>
                    <a:pt x="69" y="87"/>
                    <a:pt x="64" y="77"/>
                    <a:pt x="62" y="76"/>
                  </a:cubicBezTo>
                  <a:cubicBezTo>
                    <a:pt x="70" y="81"/>
                    <a:pt x="61" y="70"/>
                    <a:pt x="59" y="68"/>
                  </a:cubicBezTo>
                  <a:cubicBezTo>
                    <a:pt x="56" y="62"/>
                    <a:pt x="56" y="56"/>
                    <a:pt x="53" y="50"/>
                  </a:cubicBezTo>
                  <a:cubicBezTo>
                    <a:pt x="51" y="52"/>
                    <a:pt x="48" y="51"/>
                    <a:pt x="47" y="49"/>
                  </a:cubicBezTo>
                  <a:cubicBezTo>
                    <a:pt x="54" y="49"/>
                    <a:pt x="38" y="29"/>
                    <a:pt x="37" y="27"/>
                  </a:cubicBezTo>
                  <a:cubicBezTo>
                    <a:pt x="36" y="24"/>
                    <a:pt x="18" y="3"/>
                    <a:pt x="15" y="6"/>
                  </a:cubicBezTo>
                  <a:cubicBezTo>
                    <a:pt x="18" y="7"/>
                    <a:pt x="20" y="10"/>
                    <a:pt x="23" y="13"/>
                  </a:cubicBezTo>
                  <a:cubicBezTo>
                    <a:pt x="19" y="10"/>
                    <a:pt x="12" y="0"/>
                    <a:pt x="7" y="7"/>
                  </a:cubicBezTo>
                  <a:cubicBezTo>
                    <a:pt x="9" y="10"/>
                    <a:pt x="13" y="10"/>
                    <a:pt x="16" y="13"/>
                  </a:cubicBezTo>
                  <a:cubicBezTo>
                    <a:pt x="17" y="9"/>
                    <a:pt x="26" y="15"/>
                    <a:pt x="28" y="18"/>
                  </a:cubicBezTo>
                  <a:cubicBezTo>
                    <a:pt x="26" y="16"/>
                    <a:pt x="17" y="14"/>
                    <a:pt x="14" y="14"/>
                  </a:cubicBezTo>
                  <a:cubicBezTo>
                    <a:pt x="16" y="17"/>
                    <a:pt x="14" y="17"/>
                    <a:pt x="13" y="19"/>
                  </a:cubicBezTo>
                  <a:cubicBezTo>
                    <a:pt x="11" y="21"/>
                    <a:pt x="15" y="26"/>
                    <a:pt x="13" y="30"/>
                  </a:cubicBezTo>
                  <a:cubicBezTo>
                    <a:pt x="7" y="39"/>
                    <a:pt x="8" y="57"/>
                    <a:pt x="7" y="68"/>
                  </a:cubicBezTo>
                  <a:cubicBezTo>
                    <a:pt x="3" y="67"/>
                    <a:pt x="5" y="61"/>
                    <a:pt x="5" y="57"/>
                  </a:cubicBezTo>
                  <a:cubicBezTo>
                    <a:pt x="0" y="64"/>
                    <a:pt x="6" y="74"/>
                    <a:pt x="7" y="8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Freeform 661">
              <a:extLst>
                <a:ext uri="{FF2B5EF4-FFF2-40B4-BE49-F238E27FC236}">
                  <a16:creationId xmlns:a16="http://schemas.microsoft.com/office/drawing/2014/main" id="{67F9384A-F376-4BE9-8154-67EBF2E26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1686" y="3578910"/>
              <a:ext cx="547240" cy="654019"/>
            </a:xfrm>
            <a:custGeom>
              <a:avLst/>
              <a:gdLst>
                <a:gd name="T0" fmla="*/ 4 w 253"/>
                <a:gd name="T1" fmla="*/ 61 h 302"/>
                <a:gd name="T2" fmla="*/ 13 w 253"/>
                <a:gd name="T3" fmla="*/ 48 h 302"/>
                <a:gd name="T4" fmla="*/ 26 w 253"/>
                <a:gd name="T5" fmla="*/ 34 h 302"/>
                <a:gd name="T6" fmla="*/ 45 w 253"/>
                <a:gd name="T7" fmla="*/ 48 h 302"/>
                <a:gd name="T8" fmla="*/ 46 w 253"/>
                <a:gd name="T9" fmla="*/ 32 h 302"/>
                <a:gd name="T10" fmla="*/ 35 w 253"/>
                <a:gd name="T11" fmla="*/ 11 h 302"/>
                <a:gd name="T12" fmla="*/ 45 w 253"/>
                <a:gd name="T13" fmla="*/ 4 h 302"/>
                <a:gd name="T14" fmla="*/ 67 w 253"/>
                <a:gd name="T15" fmla="*/ 21 h 302"/>
                <a:gd name="T16" fmla="*/ 74 w 253"/>
                <a:gd name="T17" fmla="*/ 24 h 302"/>
                <a:gd name="T18" fmla="*/ 80 w 253"/>
                <a:gd name="T19" fmla="*/ 45 h 302"/>
                <a:gd name="T20" fmla="*/ 114 w 253"/>
                <a:gd name="T21" fmla="*/ 57 h 302"/>
                <a:gd name="T22" fmla="*/ 134 w 253"/>
                <a:gd name="T23" fmla="*/ 67 h 302"/>
                <a:gd name="T24" fmla="*/ 137 w 253"/>
                <a:gd name="T25" fmla="*/ 77 h 302"/>
                <a:gd name="T26" fmla="*/ 143 w 253"/>
                <a:gd name="T27" fmla="*/ 92 h 302"/>
                <a:gd name="T28" fmla="*/ 121 w 253"/>
                <a:gd name="T29" fmla="*/ 99 h 302"/>
                <a:gd name="T30" fmla="*/ 122 w 253"/>
                <a:gd name="T31" fmla="*/ 114 h 302"/>
                <a:gd name="T32" fmla="*/ 162 w 253"/>
                <a:gd name="T33" fmla="*/ 136 h 302"/>
                <a:gd name="T34" fmla="*/ 172 w 253"/>
                <a:gd name="T35" fmla="*/ 151 h 302"/>
                <a:gd name="T36" fmla="*/ 187 w 253"/>
                <a:gd name="T37" fmla="*/ 171 h 302"/>
                <a:gd name="T38" fmla="*/ 209 w 253"/>
                <a:gd name="T39" fmla="*/ 194 h 302"/>
                <a:gd name="T40" fmla="*/ 218 w 253"/>
                <a:gd name="T41" fmla="*/ 211 h 302"/>
                <a:gd name="T42" fmla="*/ 229 w 253"/>
                <a:gd name="T43" fmla="*/ 217 h 302"/>
                <a:gd name="T44" fmla="*/ 235 w 253"/>
                <a:gd name="T45" fmla="*/ 234 h 302"/>
                <a:gd name="T46" fmla="*/ 251 w 253"/>
                <a:gd name="T47" fmla="*/ 256 h 302"/>
                <a:gd name="T48" fmla="*/ 250 w 253"/>
                <a:gd name="T49" fmla="*/ 268 h 302"/>
                <a:gd name="T50" fmla="*/ 231 w 253"/>
                <a:gd name="T51" fmla="*/ 284 h 302"/>
                <a:gd name="T52" fmla="*/ 217 w 253"/>
                <a:gd name="T53" fmla="*/ 279 h 302"/>
                <a:gd name="T54" fmla="*/ 205 w 253"/>
                <a:gd name="T55" fmla="*/ 286 h 302"/>
                <a:gd name="T56" fmla="*/ 188 w 253"/>
                <a:gd name="T57" fmla="*/ 291 h 302"/>
                <a:gd name="T58" fmla="*/ 189 w 253"/>
                <a:gd name="T59" fmla="*/ 274 h 302"/>
                <a:gd name="T60" fmla="*/ 185 w 253"/>
                <a:gd name="T61" fmla="*/ 256 h 302"/>
                <a:gd name="T62" fmla="*/ 185 w 253"/>
                <a:gd name="T63" fmla="*/ 249 h 302"/>
                <a:gd name="T64" fmla="*/ 181 w 253"/>
                <a:gd name="T65" fmla="*/ 227 h 302"/>
                <a:gd name="T66" fmla="*/ 148 w 253"/>
                <a:gd name="T67" fmla="*/ 171 h 302"/>
                <a:gd name="T68" fmla="*/ 106 w 253"/>
                <a:gd name="T69" fmla="*/ 148 h 302"/>
                <a:gd name="T70" fmla="*/ 92 w 253"/>
                <a:gd name="T71" fmla="*/ 161 h 302"/>
                <a:gd name="T72" fmla="*/ 71 w 253"/>
                <a:gd name="T73" fmla="*/ 151 h 302"/>
                <a:gd name="T74" fmla="*/ 47 w 253"/>
                <a:gd name="T75" fmla="*/ 174 h 302"/>
                <a:gd name="T76" fmla="*/ 40 w 253"/>
                <a:gd name="T77" fmla="*/ 162 h 302"/>
                <a:gd name="T78" fmla="*/ 39 w 253"/>
                <a:gd name="T79" fmla="*/ 140 h 302"/>
                <a:gd name="T80" fmla="*/ 42 w 253"/>
                <a:gd name="T81" fmla="*/ 131 h 302"/>
                <a:gd name="T82" fmla="*/ 29 w 253"/>
                <a:gd name="T83" fmla="*/ 102 h 302"/>
                <a:gd name="T84" fmla="*/ 22 w 253"/>
                <a:gd name="T85" fmla="*/ 105 h 302"/>
                <a:gd name="T86" fmla="*/ 15 w 253"/>
                <a:gd name="T87" fmla="*/ 83 h 302"/>
                <a:gd name="T88" fmla="*/ 0 w 253"/>
                <a:gd name="T89" fmla="*/ 7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3" h="302">
                  <a:moveTo>
                    <a:pt x="0" y="76"/>
                  </a:moveTo>
                  <a:cubicBezTo>
                    <a:pt x="1" y="71"/>
                    <a:pt x="0" y="65"/>
                    <a:pt x="4" y="61"/>
                  </a:cubicBezTo>
                  <a:cubicBezTo>
                    <a:pt x="6" y="59"/>
                    <a:pt x="13" y="62"/>
                    <a:pt x="14" y="57"/>
                  </a:cubicBezTo>
                  <a:cubicBezTo>
                    <a:pt x="8" y="61"/>
                    <a:pt x="13" y="50"/>
                    <a:pt x="13" y="48"/>
                  </a:cubicBezTo>
                  <a:cubicBezTo>
                    <a:pt x="15" y="45"/>
                    <a:pt x="14" y="43"/>
                    <a:pt x="18" y="42"/>
                  </a:cubicBezTo>
                  <a:cubicBezTo>
                    <a:pt x="21" y="41"/>
                    <a:pt x="26" y="38"/>
                    <a:pt x="26" y="34"/>
                  </a:cubicBezTo>
                  <a:cubicBezTo>
                    <a:pt x="30" y="36"/>
                    <a:pt x="26" y="50"/>
                    <a:pt x="35" y="46"/>
                  </a:cubicBezTo>
                  <a:cubicBezTo>
                    <a:pt x="40" y="44"/>
                    <a:pt x="40" y="46"/>
                    <a:pt x="45" y="48"/>
                  </a:cubicBezTo>
                  <a:cubicBezTo>
                    <a:pt x="51" y="50"/>
                    <a:pt x="45" y="43"/>
                    <a:pt x="45" y="42"/>
                  </a:cubicBezTo>
                  <a:cubicBezTo>
                    <a:pt x="44" y="38"/>
                    <a:pt x="46" y="35"/>
                    <a:pt x="46" y="32"/>
                  </a:cubicBezTo>
                  <a:cubicBezTo>
                    <a:pt x="45" y="28"/>
                    <a:pt x="42" y="25"/>
                    <a:pt x="40" y="22"/>
                  </a:cubicBezTo>
                  <a:cubicBezTo>
                    <a:pt x="38" y="18"/>
                    <a:pt x="35" y="15"/>
                    <a:pt x="35" y="11"/>
                  </a:cubicBezTo>
                  <a:cubicBezTo>
                    <a:pt x="35" y="10"/>
                    <a:pt x="38" y="0"/>
                    <a:pt x="40" y="2"/>
                  </a:cubicBezTo>
                  <a:cubicBezTo>
                    <a:pt x="42" y="4"/>
                    <a:pt x="41" y="5"/>
                    <a:pt x="45" y="4"/>
                  </a:cubicBezTo>
                  <a:cubicBezTo>
                    <a:pt x="51" y="3"/>
                    <a:pt x="52" y="7"/>
                    <a:pt x="55" y="10"/>
                  </a:cubicBezTo>
                  <a:cubicBezTo>
                    <a:pt x="59" y="14"/>
                    <a:pt x="63" y="17"/>
                    <a:pt x="67" y="21"/>
                  </a:cubicBezTo>
                  <a:cubicBezTo>
                    <a:pt x="69" y="23"/>
                    <a:pt x="69" y="29"/>
                    <a:pt x="73" y="30"/>
                  </a:cubicBezTo>
                  <a:cubicBezTo>
                    <a:pt x="75" y="29"/>
                    <a:pt x="75" y="27"/>
                    <a:pt x="74" y="24"/>
                  </a:cubicBezTo>
                  <a:cubicBezTo>
                    <a:pt x="75" y="28"/>
                    <a:pt x="79" y="27"/>
                    <a:pt x="80" y="31"/>
                  </a:cubicBezTo>
                  <a:cubicBezTo>
                    <a:pt x="81" y="35"/>
                    <a:pt x="79" y="40"/>
                    <a:pt x="80" y="45"/>
                  </a:cubicBezTo>
                  <a:cubicBezTo>
                    <a:pt x="83" y="58"/>
                    <a:pt x="98" y="59"/>
                    <a:pt x="108" y="65"/>
                  </a:cubicBezTo>
                  <a:cubicBezTo>
                    <a:pt x="110" y="62"/>
                    <a:pt x="109" y="58"/>
                    <a:pt x="114" y="57"/>
                  </a:cubicBezTo>
                  <a:cubicBezTo>
                    <a:pt x="119" y="54"/>
                    <a:pt x="123" y="57"/>
                    <a:pt x="127" y="60"/>
                  </a:cubicBezTo>
                  <a:cubicBezTo>
                    <a:pt x="130" y="61"/>
                    <a:pt x="134" y="63"/>
                    <a:pt x="134" y="67"/>
                  </a:cubicBezTo>
                  <a:cubicBezTo>
                    <a:pt x="134" y="70"/>
                    <a:pt x="129" y="70"/>
                    <a:pt x="128" y="73"/>
                  </a:cubicBezTo>
                  <a:cubicBezTo>
                    <a:pt x="131" y="74"/>
                    <a:pt x="136" y="73"/>
                    <a:pt x="137" y="77"/>
                  </a:cubicBezTo>
                  <a:cubicBezTo>
                    <a:pt x="138" y="79"/>
                    <a:pt x="140" y="79"/>
                    <a:pt x="142" y="80"/>
                  </a:cubicBezTo>
                  <a:cubicBezTo>
                    <a:pt x="151" y="85"/>
                    <a:pt x="147" y="86"/>
                    <a:pt x="143" y="92"/>
                  </a:cubicBezTo>
                  <a:cubicBezTo>
                    <a:pt x="149" y="94"/>
                    <a:pt x="138" y="101"/>
                    <a:pt x="133" y="100"/>
                  </a:cubicBezTo>
                  <a:cubicBezTo>
                    <a:pt x="132" y="100"/>
                    <a:pt x="122" y="97"/>
                    <a:pt x="121" y="99"/>
                  </a:cubicBezTo>
                  <a:cubicBezTo>
                    <a:pt x="120" y="101"/>
                    <a:pt x="125" y="105"/>
                    <a:pt x="124" y="108"/>
                  </a:cubicBezTo>
                  <a:cubicBezTo>
                    <a:pt x="121" y="109"/>
                    <a:pt x="117" y="112"/>
                    <a:pt x="122" y="114"/>
                  </a:cubicBezTo>
                  <a:cubicBezTo>
                    <a:pt x="130" y="116"/>
                    <a:pt x="139" y="124"/>
                    <a:pt x="146" y="129"/>
                  </a:cubicBezTo>
                  <a:cubicBezTo>
                    <a:pt x="149" y="131"/>
                    <a:pt x="162" y="131"/>
                    <a:pt x="162" y="136"/>
                  </a:cubicBezTo>
                  <a:cubicBezTo>
                    <a:pt x="161" y="140"/>
                    <a:pt x="159" y="141"/>
                    <a:pt x="162" y="144"/>
                  </a:cubicBezTo>
                  <a:cubicBezTo>
                    <a:pt x="164" y="147"/>
                    <a:pt x="169" y="151"/>
                    <a:pt x="172" y="151"/>
                  </a:cubicBezTo>
                  <a:cubicBezTo>
                    <a:pt x="175" y="151"/>
                    <a:pt x="176" y="156"/>
                    <a:pt x="177" y="159"/>
                  </a:cubicBezTo>
                  <a:cubicBezTo>
                    <a:pt x="180" y="163"/>
                    <a:pt x="183" y="167"/>
                    <a:pt x="187" y="171"/>
                  </a:cubicBezTo>
                  <a:cubicBezTo>
                    <a:pt x="189" y="173"/>
                    <a:pt x="197" y="184"/>
                    <a:pt x="200" y="183"/>
                  </a:cubicBezTo>
                  <a:cubicBezTo>
                    <a:pt x="203" y="182"/>
                    <a:pt x="206" y="192"/>
                    <a:pt x="209" y="194"/>
                  </a:cubicBezTo>
                  <a:cubicBezTo>
                    <a:pt x="213" y="195"/>
                    <a:pt x="211" y="203"/>
                    <a:pt x="214" y="206"/>
                  </a:cubicBezTo>
                  <a:cubicBezTo>
                    <a:pt x="214" y="207"/>
                    <a:pt x="216" y="211"/>
                    <a:pt x="218" y="211"/>
                  </a:cubicBezTo>
                  <a:cubicBezTo>
                    <a:pt x="219" y="211"/>
                    <a:pt x="221" y="209"/>
                    <a:pt x="223" y="210"/>
                  </a:cubicBezTo>
                  <a:cubicBezTo>
                    <a:pt x="226" y="212"/>
                    <a:pt x="225" y="216"/>
                    <a:pt x="229" y="217"/>
                  </a:cubicBezTo>
                  <a:cubicBezTo>
                    <a:pt x="233" y="218"/>
                    <a:pt x="238" y="224"/>
                    <a:pt x="242" y="225"/>
                  </a:cubicBezTo>
                  <a:cubicBezTo>
                    <a:pt x="241" y="229"/>
                    <a:pt x="236" y="230"/>
                    <a:pt x="235" y="234"/>
                  </a:cubicBezTo>
                  <a:cubicBezTo>
                    <a:pt x="234" y="238"/>
                    <a:pt x="244" y="243"/>
                    <a:pt x="246" y="246"/>
                  </a:cubicBezTo>
                  <a:cubicBezTo>
                    <a:pt x="248" y="250"/>
                    <a:pt x="253" y="250"/>
                    <a:pt x="251" y="256"/>
                  </a:cubicBezTo>
                  <a:cubicBezTo>
                    <a:pt x="250" y="258"/>
                    <a:pt x="248" y="260"/>
                    <a:pt x="248" y="262"/>
                  </a:cubicBezTo>
                  <a:cubicBezTo>
                    <a:pt x="248" y="264"/>
                    <a:pt x="250" y="265"/>
                    <a:pt x="250" y="268"/>
                  </a:cubicBezTo>
                  <a:cubicBezTo>
                    <a:pt x="250" y="274"/>
                    <a:pt x="248" y="275"/>
                    <a:pt x="243" y="276"/>
                  </a:cubicBezTo>
                  <a:cubicBezTo>
                    <a:pt x="238" y="278"/>
                    <a:pt x="237" y="284"/>
                    <a:pt x="231" y="284"/>
                  </a:cubicBezTo>
                  <a:cubicBezTo>
                    <a:pt x="225" y="284"/>
                    <a:pt x="224" y="276"/>
                    <a:pt x="220" y="275"/>
                  </a:cubicBezTo>
                  <a:cubicBezTo>
                    <a:pt x="217" y="275"/>
                    <a:pt x="219" y="278"/>
                    <a:pt x="217" y="279"/>
                  </a:cubicBezTo>
                  <a:cubicBezTo>
                    <a:pt x="215" y="280"/>
                    <a:pt x="214" y="280"/>
                    <a:pt x="212" y="280"/>
                  </a:cubicBezTo>
                  <a:cubicBezTo>
                    <a:pt x="210" y="281"/>
                    <a:pt x="204" y="284"/>
                    <a:pt x="205" y="286"/>
                  </a:cubicBezTo>
                  <a:cubicBezTo>
                    <a:pt x="207" y="290"/>
                    <a:pt x="212" y="293"/>
                    <a:pt x="208" y="297"/>
                  </a:cubicBezTo>
                  <a:cubicBezTo>
                    <a:pt x="204" y="302"/>
                    <a:pt x="195" y="289"/>
                    <a:pt x="188" y="291"/>
                  </a:cubicBezTo>
                  <a:cubicBezTo>
                    <a:pt x="184" y="293"/>
                    <a:pt x="178" y="286"/>
                    <a:pt x="182" y="283"/>
                  </a:cubicBezTo>
                  <a:cubicBezTo>
                    <a:pt x="185" y="281"/>
                    <a:pt x="190" y="279"/>
                    <a:pt x="189" y="274"/>
                  </a:cubicBezTo>
                  <a:cubicBezTo>
                    <a:pt x="189" y="270"/>
                    <a:pt x="191" y="265"/>
                    <a:pt x="190" y="261"/>
                  </a:cubicBezTo>
                  <a:cubicBezTo>
                    <a:pt x="189" y="259"/>
                    <a:pt x="185" y="259"/>
                    <a:pt x="185" y="256"/>
                  </a:cubicBezTo>
                  <a:cubicBezTo>
                    <a:pt x="185" y="254"/>
                    <a:pt x="187" y="252"/>
                    <a:pt x="188" y="250"/>
                  </a:cubicBezTo>
                  <a:cubicBezTo>
                    <a:pt x="187" y="250"/>
                    <a:pt x="186" y="250"/>
                    <a:pt x="185" y="249"/>
                  </a:cubicBezTo>
                  <a:cubicBezTo>
                    <a:pt x="185" y="246"/>
                    <a:pt x="192" y="242"/>
                    <a:pt x="187" y="237"/>
                  </a:cubicBezTo>
                  <a:cubicBezTo>
                    <a:pt x="185" y="234"/>
                    <a:pt x="174" y="231"/>
                    <a:pt x="181" y="227"/>
                  </a:cubicBezTo>
                  <a:cubicBezTo>
                    <a:pt x="170" y="222"/>
                    <a:pt x="158" y="215"/>
                    <a:pt x="157" y="202"/>
                  </a:cubicBezTo>
                  <a:cubicBezTo>
                    <a:pt x="155" y="191"/>
                    <a:pt x="159" y="177"/>
                    <a:pt x="148" y="171"/>
                  </a:cubicBezTo>
                  <a:cubicBezTo>
                    <a:pt x="137" y="164"/>
                    <a:pt x="134" y="149"/>
                    <a:pt x="121" y="146"/>
                  </a:cubicBezTo>
                  <a:cubicBezTo>
                    <a:pt x="120" y="146"/>
                    <a:pt x="98" y="140"/>
                    <a:pt x="106" y="148"/>
                  </a:cubicBezTo>
                  <a:cubicBezTo>
                    <a:pt x="101" y="148"/>
                    <a:pt x="102" y="156"/>
                    <a:pt x="100" y="158"/>
                  </a:cubicBezTo>
                  <a:cubicBezTo>
                    <a:pt x="99" y="159"/>
                    <a:pt x="94" y="159"/>
                    <a:pt x="92" y="161"/>
                  </a:cubicBezTo>
                  <a:cubicBezTo>
                    <a:pt x="89" y="163"/>
                    <a:pt x="88" y="160"/>
                    <a:pt x="85" y="159"/>
                  </a:cubicBezTo>
                  <a:cubicBezTo>
                    <a:pt x="82" y="156"/>
                    <a:pt x="76" y="152"/>
                    <a:pt x="71" y="151"/>
                  </a:cubicBezTo>
                  <a:cubicBezTo>
                    <a:pt x="67" y="149"/>
                    <a:pt x="67" y="158"/>
                    <a:pt x="62" y="155"/>
                  </a:cubicBezTo>
                  <a:cubicBezTo>
                    <a:pt x="61" y="163"/>
                    <a:pt x="52" y="169"/>
                    <a:pt x="47" y="174"/>
                  </a:cubicBezTo>
                  <a:cubicBezTo>
                    <a:pt x="45" y="177"/>
                    <a:pt x="42" y="175"/>
                    <a:pt x="40" y="173"/>
                  </a:cubicBezTo>
                  <a:cubicBezTo>
                    <a:pt x="37" y="170"/>
                    <a:pt x="39" y="165"/>
                    <a:pt x="40" y="162"/>
                  </a:cubicBezTo>
                  <a:cubicBezTo>
                    <a:pt x="42" y="158"/>
                    <a:pt x="43" y="155"/>
                    <a:pt x="42" y="150"/>
                  </a:cubicBezTo>
                  <a:cubicBezTo>
                    <a:pt x="42" y="148"/>
                    <a:pt x="39" y="143"/>
                    <a:pt x="39" y="140"/>
                  </a:cubicBezTo>
                  <a:cubicBezTo>
                    <a:pt x="40" y="139"/>
                    <a:pt x="41" y="137"/>
                    <a:pt x="42" y="136"/>
                  </a:cubicBezTo>
                  <a:cubicBezTo>
                    <a:pt x="43" y="134"/>
                    <a:pt x="42" y="134"/>
                    <a:pt x="42" y="131"/>
                  </a:cubicBezTo>
                  <a:cubicBezTo>
                    <a:pt x="42" y="126"/>
                    <a:pt x="44" y="123"/>
                    <a:pt x="41" y="117"/>
                  </a:cubicBezTo>
                  <a:cubicBezTo>
                    <a:pt x="37" y="110"/>
                    <a:pt x="41" y="99"/>
                    <a:pt x="29" y="102"/>
                  </a:cubicBezTo>
                  <a:cubicBezTo>
                    <a:pt x="28" y="102"/>
                    <a:pt x="26" y="103"/>
                    <a:pt x="26" y="104"/>
                  </a:cubicBezTo>
                  <a:cubicBezTo>
                    <a:pt x="25" y="107"/>
                    <a:pt x="24" y="104"/>
                    <a:pt x="22" y="105"/>
                  </a:cubicBezTo>
                  <a:cubicBezTo>
                    <a:pt x="18" y="106"/>
                    <a:pt x="16" y="104"/>
                    <a:pt x="14" y="100"/>
                  </a:cubicBezTo>
                  <a:cubicBezTo>
                    <a:pt x="11" y="94"/>
                    <a:pt x="18" y="88"/>
                    <a:pt x="15" y="83"/>
                  </a:cubicBezTo>
                  <a:cubicBezTo>
                    <a:pt x="14" y="82"/>
                    <a:pt x="10" y="76"/>
                    <a:pt x="8" y="75"/>
                  </a:cubicBezTo>
                  <a:cubicBezTo>
                    <a:pt x="4" y="74"/>
                    <a:pt x="4" y="78"/>
                    <a:pt x="0" y="79"/>
                  </a:cubicBezTo>
                  <a:cubicBezTo>
                    <a:pt x="0" y="78"/>
                    <a:pt x="0" y="77"/>
                    <a:pt x="0" y="7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Freeform 662">
              <a:extLst>
                <a:ext uri="{FF2B5EF4-FFF2-40B4-BE49-F238E27FC236}">
                  <a16:creationId xmlns:a16="http://schemas.microsoft.com/office/drawing/2014/main" id="{4CBA1660-4CB6-432E-97BD-5DD6E6BBA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1686" y="3578910"/>
              <a:ext cx="547240" cy="654019"/>
            </a:xfrm>
            <a:custGeom>
              <a:avLst/>
              <a:gdLst>
                <a:gd name="T0" fmla="*/ 4 w 253"/>
                <a:gd name="T1" fmla="*/ 61 h 302"/>
                <a:gd name="T2" fmla="*/ 13 w 253"/>
                <a:gd name="T3" fmla="*/ 48 h 302"/>
                <a:gd name="T4" fmla="*/ 26 w 253"/>
                <a:gd name="T5" fmla="*/ 34 h 302"/>
                <a:gd name="T6" fmla="*/ 45 w 253"/>
                <a:gd name="T7" fmla="*/ 48 h 302"/>
                <a:gd name="T8" fmla="*/ 46 w 253"/>
                <a:gd name="T9" fmla="*/ 32 h 302"/>
                <a:gd name="T10" fmla="*/ 35 w 253"/>
                <a:gd name="T11" fmla="*/ 11 h 302"/>
                <a:gd name="T12" fmla="*/ 45 w 253"/>
                <a:gd name="T13" fmla="*/ 4 h 302"/>
                <a:gd name="T14" fmla="*/ 67 w 253"/>
                <a:gd name="T15" fmla="*/ 21 h 302"/>
                <a:gd name="T16" fmla="*/ 74 w 253"/>
                <a:gd name="T17" fmla="*/ 24 h 302"/>
                <a:gd name="T18" fmla="*/ 80 w 253"/>
                <a:gd name="T19" fmla="*/ 45 h 302"/>
                <a:gd name="T20" fmla="*/ 114 w 253"/>
                <a:gd name="T21" fmla="*/ 57 h 302"/>
                <a:gd name="T22" fmla="*/ 134 w 253"/>
                <a:gd name="T23" fmla="*/ 67 h 302"/>
                <a:gd name="T24" fmla="*/ 137 w 253"/>
                <a:gd name="T25" fmla="*/ 77 h 302"/>
                <a:gd name="T26" fmla="*/ 143 w 253"/>
                <a:gd name="T27" fmla="*/ 92 h 302"/>
                <a:gd name="T28" fmla="*/ 121 w 253"/>
                <a:gd name="T29" fmla="*/ 99 h 302"/>
                <a:gd name="T30" fmla="*/ 122 w 253"/>
                <a:gd name="T31" fmla="*/ 114 h 302"/>
                <a:gd name="T32" fmla="*/ 162 w 253"/>
                <a:gd name="T33" fmla="*/ 136 h 302"/>
                <a:gd name="T34" fmla="*/ 172 w 253"/>
                <a:gd name="T35" fmla="*/ 151 h 302"/>
                <a:gd name="T36" fmla="*/ 187 w 253"/>
                <a:gd name="T37" fmla="*/ 171 h 302"/>
                <a:gd name="T38" fmla="*/ 209 w 253"/>
                <a:gd name="T39" fmla="*/ 194 h 302"/>
                <a:gd name="T40" fmla="*/ 218 w 253"/>
                <a:gd name="T41" fmla="*/ 211 h 302"/>
                <a:gd name="T42" fmla="*/ 229 w 253"/>
                <a:gd name="T43" fmla="*/ 217 h 302"/>
                <a:gd name="T44" fmla="*/ 235 w 253"/>
                <a:gd name="T45" fmla="*/ 234 h 302"/>
                <a:gd name="T46" fmla="*/ 251 w 253"/>
                <a:gd name="T47" fmla="*/ 256 h 302"/>
                <a:gd name="T48" fmla="*/ 250 w 253"/>
                <a:gd name="T49" fmla="*/ 268 h 302"/>
                <a:gd name="T50" fmla="*/ 231 w 253"/>
                <a:gd name="T51" fmla="*/ 284 h 302"/>
                <a:gd name="T52" fmla="*/ 217 w 253"/>
                <a:gd name="T53" fmla="*/ 279 h 302"/>
                <a:gd name="T54" fmla="*/ 205 w 253"/>
                <a:gd name="T55" fmla="*/ 286 h 302"/>
                <a:gd name="T56" fmla="*/ 188 w 253"/>
                <a:gd name="T57" fmla="*/ 291 h 302"/>
                <a:gd name="T58" fmla="*/ 189 w 253"/>
                <a:gd name="T59" fmla="*/ 274 h 302"/>
                <a:gd name="T60" fmla="*/ 185 w 253"/>
                <a:gd name="T61" fmla="*/ 256 h 302"/>
                <a:gd name="T62" fmla="*/ 185 w 253"/>
                <a:gd name="T63" fmla="*/ 249 h 302"/>
                <a:gd name="T64" fmla="*/ 181 w 253"/>
                <a:gd name="T65" fmla="*/ 227 h 302"/>
                <a:gd name="T66" fmla="*/ 148 w 253"/>
                <a:gd name="T67" fmla="*/ 171 h 302"/>
                <a:gd name="T68" fmla="*/ 106 w 253"/>
                <a:gd name="T69" fmla="*/ 148 h 302"/>
                <a:gd name="T70" fmla="*/ 92 w 253"/>
                <a:gd name="T71" fmla="*/ 161 h 302"/>
                <a:gd name="T72" fmla="*/ 71 w 253"/>
                <a:gd name="T73" fmla="*/ 151 h 302"/>
                <a:gd name="T74" fmla="*/ 47 w 253"/>
                <a:gd name="T75" fmla="*/ 174 h 302"/>
                <a:gd name="T76" fmla="*/ 40 w 253"/>
                <a:gd name="T77" fmla="*/ 162 h 302"/>
                <a:gd name="T78" fmla="*/ 39 w 253"/>
                <a:gd name="T79" fmla="*/ 140 h 302"/>
                <a:gd name="T80" fmla="*/ 42 w 253"/>
                <a:gd name="T81" fmla="*/ 131 h 302"/>
                <a:gd name="T82" fmla="*/ 29 w 253"/>
                <a:gd name="T83" fmla="*/ 102 h 302"/>
                <a:gd name="T84" fmla="*/ 22 w 253"/>
                <a:gd name="T85" fmla="*/ 105 h 302"/>
                <a:gd name="T86" fmla="*/ 15 w 253"/>
                <a:gd name="T87" fmla="*/ 83 h 302"/>
                <a:gd name="T88" fmla="*/ 0 w 253"/>
                <a:gd name="T89" fmla="*/ 7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3" h="302">
                  <a:moveTo>
                    <a:pt x="0" y="76"/>
                  </a:moveTo>
                  <a:cubicBezTo>
                    <a:pt x="1" y="71"/>
                    <a:pt x="0" y="65"/>
                    <a:pt x="4" y="61"/>
                  </a:cubicBezTo>
                  <a:cubicBezTo>
                    <a:pt x="6" y="59"/>
                    <a:pt x="13" y="62"/>
                    <a:pt x="14" y="57"/>
                  </a:cubicBezTo>
                  <a:cubicBezTo>
                    <a:pt x="8" y="61"/>
                    <a:pt x="13" y="50"/>
                    <a:pt x="13" y="48"/>
                  </a:cubicBezTo>
                  <a:cubicBezTo>
                    <a:pt x="15" y="45"/>
                    <a:pt x="14" y="43"/>
                    <a:pt x="18" y="42"/>
                  </a:cubicBezTo>
                  <a:cubicBezTo>
                    <a:pt x="21" y="41"/>
                    <a:pt x="26" y="38"/>
                    <a:pt x="26" y="34"/>
                  </a:cubicBezTo>
                  <a:cubicBezTo>
                    <a:pt x="30" y="36"/>
                    <a:pt x="26" y="50"/>
                    <a:pt x="35" y="46"/>
                  </a:cubicBezTo>
                  <a:cubicBezTo>
                    <a:pt x="40" y="44"/>
                    <a:pt x="40" y="46"/>
                    <a:pt x="45" y="48"/>
                  </a:cubicBezTo>
                  <a:cubicBezTo>
                    <a:pt x="51" y="50"/>
                    <a:pt x="45" y="43"/>
                    <a:pt x="45" y="42"/>
                  </a:cubicBezTo>
                  <a:cubicBezTo>
                    <a:pt x="44" y="38"/>
                    <a:pt x="46" y="35"/>
                    <a:pt x="46" y="32"/>
                  </a:cubicBezTo>
                  <a:cubicBezTo>
                    <a:pt x="45" y="28"/>
                    <a:pt x="42" y="25"/>
                    <a:pt x="40" y="22"/>
                  </a:cubicBezTo>
                  <a:cubicBezTo>
                    <a:pt x="38" y="18"/>
                    <a:pt x="35" y="15"/>
                    <a:pt x="35" y="11"/>
                  </a:cubicBezTo>
                  <a:cubicBezTo>
                    <a:pt x="35" y="10"/>
                    <a:pt x="38" y="0"/>
                    <a:pt x="40" y="2"/>
                  </a:cubicBezTo>
                  <a:cubicBezTo>
                    <a:pt x="42" y="4"/>
                    <a:pt x="41" y="5"/>
                    <a:pt x="45" y="4"/>
                  </a:cubicBezTo>
                  <a:cubicBezTo>
                    <a:pt x="51" y="3"/>
                    <a:pt x="52" y="7"/>
                    <a:pt x="55" y="10"/>
                  </a:cubicBezTo>
                  <a:cubicBezTo>
                    <a:pt x="59" y="14"/>
                    <a:pt x="63" y="17"/>
                    <a:pt x="67" y="21"/>
                  </a:cubicBezTo>
                  <a:cubicBezTo>
                    <a:pt x="69" y="23"/>
                    <a:pt x="69" y="29"/>
                    <a:pt x="73" y="30"/>
                  </a:cubicBezTo>
                  <a:cubicBezTo>
                    <a:pt x="75" y="29"/>
                    <a:pt x="75" y="27"/>
                    <a:pt x="74" y="24"/>
                  </a:cubicBezTo>
                  <a:cubicBezTo>
                    <a:pt x="75" y="28"/>
                    <a:pt x="79" y="27"/>
                    <a:pt x="80" y="31"/>
                  </a:cubicBezTo>
                  <a:cubicBezTo>
                    <a:pt x="81" y="35"/>
                    <a:pt x="79" y="40"/>
                    <a:pt x="80" y="45"/>
                  </a:cubicBezTo>
                  <a:cubicBezTo>
                    <a:pt x="83" y="58"/>
                    <a:pt x="98" y="59"/>
                    <a:pt x="108" y="65"/>
                  </a:cubicBezTo>
                  <a:cubicBezTo>
                    <a:pt x="110" y="62"/>
                    <a:pt x="109" y="58"/>
                    <a:pt x="114" y="57"/>
                  </a:cubicBezTo>
                  <a:cubicBezTo>
                    <a:pt x="119" y="54"/>
                    <a:pt x="123" y="57"/>
                    <a:pt x="127" y="60"/>
                  </a:cubicBezTo>
                  <a:cubicBezTo>
                    <a:pt x="130" y="61"/>
                    <a:pt x="134" y="63"/>
                    <a:pt x="134" y="67"/>
                  </a:cubicBezTo>
                  <a:cubicBezTo>
                    <a:pt x="134" y="70"/>
                    <a:pt x="129" y="70"/>
                    <a:pt x="128" y="73"/>
                  </a:cubicBezTo>
                  <a:cubicBezTo>
                    <a:pt x="131" y="74"/>
                    <a:pt x="136" y="73"/>
                    <a:pt x="137" y="77"/>
                  </a:cubicBezTo>
                  <a:cubicBezTo>
                    <a:pt x="138" y="79"/>
                    <a:pt x="140" y="79"/>
                    <a:pt x="142" y="80"/>
                  </a:cubicBezTo>
                  <a:cubicBezTo>
                    <a:pt x="151" y="85"/>
                    <a:pt x="147" y="86"/>
                    <a:pt x="143" y="92"/>
                  </a:cubicBezTo>
                  <a:cubicBezTo>
                    <a:pt x="149" y="94"/>
                    <a:pt x="138" y="101"/>
                    <a:pt x="133" y="100"/>
                  </a:cubicBezTo>
                  <a:cubicBezTo>
                    <a:pt x="132" y="100"/>
                    <a:pt x="122" y="97"/>
                    <a:pt x="121" y="99"/>
                  </a:cubicBezTo>
                  <a:cubicBezTo>
                    <a:pt x="120" y="101"/>
                    <a:pt x="125" y="105"/>
                    <a:pt x="124" y="108"/>
                  </a:cubicBezTo>
                  <a:cubicBezTo>
                    <a:pt x="121" y="109"/>
                    <a:pt x="117" y="112"/>
                    <a:pt x="122" y="114"/>
                  </a:cubicBezTo>
                  <a:cubicBezTo>
                    <a:pt x="130" y="116"/>
                    <a:pt x="139" y="124"/>
                    <a:pt x="146" y="129"/>
                  </a:cubicBezTo>
                  <a:cubicBezTo>
                    <a:pt x="149" y="131"/>
                    <a:pt x="162" y="131"/>
                    <a:pt x="162" y="136"/>
                  </a:cubicBezTo>
                  <a:cubicBezTo>
                    <a:pt x="161" y="140"/>
                    <a:pt x="159" y="141"/>
                    <a:pt x="162" y="144"/>
                  </a:cubicBezTo>
                  <a:cubicBezTo>
                    <a:pt x="164" y="147"/>
                    <a:pt x="169" y="151"/>
                    <a:pt x="172" y="151"/>
                  </a:cubicBezTo>
                  <a:cubicBezTo>
                    <a:pt x="175" y="151"/>
                    <a:pt x="176" y="156"/>
                    <a:pt x="177" y="159"/>
                  </a:cubicBezTo>
                  <a:cubicBezTo>
                    <a:pt x="180" y="163"/>
                    <a:pt x="183" y="167"/>
                    <a:pt x="187" y="171"/>
                  </a:cubicBezTo>
                  <a:cubicBezTo>
                    <a:pt x="189" y="173"/>
                    <a:pt x="197" y="184"/>
                    <a:pt x="200" y="183"/>
                  </a:cubicBezTo>
                  <a:cubicBezTo>
                    <a:pt x="203" y="182"/>
                    <a:pt x="206" y="192"/>
                    <a:pt x="209" y="194"/>
                  </a:cubicBezTo>
                  <a:cubicBezTo>
                    <a:pt x="213" y="195"/>
                    <a:pt x="211" y="203"/>
                    <a:pt x="214" y="206"/>
                  </a:cubicBezTo>
                  <a:cubicBezTo>
                    <a:pt x="214" y="207"/>
                    <a:pt x="216" y="211"/>
                    <a:pt x="218" y="211"/>
                  </a:cubicBezTo>
                  <a:cubicBezTo>
                    <a:pt x="219" y="211"/>
                    <a:pt x="221" y="209"/>
                    <a:pt x="223" y="210"/>
                  </a:cubicBezTo>
                  <a:cubicBezTo>
                    <a:pt x="226" y="212"/>
                    <a:pt x="225" y="216"/>
                    <a:pt x="229" y="217"/>
                  </a:cubicBezTo>
                  <a:cubicBezTo>
                    <a:pt x="233" y="218"/>
                    <a:pt x="238" y="224"/>
                    <a:pt x="242" y="225"/>
                  </a:cubicBezTo>
                  <a:cubicBezTo>
                    <a:pt x="241" y="229"/>
                    <a:pt x="236" y="230"/>
                    <a:pt x="235" y="234"/>
                  </a:cubicBezTo>
                  <a:cubicBezTo>
                    <a:pt x="234" y="238"/>
                    <a:pt x="244" y="243"/>
                    <a:pt x="246" y="246"/>
                  </a:cubicBezTo>
                  <a:cubicBezTo>
                    <a:pt x="248" y="250"/>
                    <a:pt x="253" y="250"/>
                    <a:pt x="251" y="256"/>
                  </a:cubicBezTo>
                  <a:cubicBezTo>
                    <a:pt x="250" y="258"/>
                    <a:pt x="248" y="260"/>
                    <a:pt x="248" y="262"/>
                  </a:cubicBezTo>
                  <a:cubicBezTo>
                    <a:pt x="248" y="264"/>
                    <a:pt x="250" y="265"/>
                    <a:pt x="250" y="268"/>
                  </a:cubicBezTo>
                  <a:cubicBezTo>
                    <a:pt x="250" y="274"/>
                    <a:pt x="248" y="275"/>
                    <a:pt x="243" y="276"/>
                  </a:cubicBezTo>
                  <a:cubicBezTo>
                    <a:pt x="238" y="278"/>
                    <a:pt x="237" y="284"/>
                    <a:pt x="231" y="284"/>
                  </a:cubicBezTo>
                  <a:cubicBezTo>
                    <a:pt x="225" y="284"/>
                    <a:pt x="224" y="276"/>
                    <a:pt x="220" y="275"/>
                  </a:cubicBezTo>
                  <a:cubicBezTo>
                    <a:pt x="217" y="275"/>
                    <a:pt x="219" y="278"/>
                    <a:pt x="217" y="279"/>
                  </a:cubicBezTo>
                  <a:cubicBezTo>
                    <a:pt x="215" y="280"/>
                    <a:pt x="214" y="280"/>
                    <a:pt x="212" y="280"/>
                  </a:cubicBezTo>
                  <a:cubicBezTo>
                    <a:pt x="210" y="281"/>
                    <a:pt x="204" y="284"/>
                    <a:pt x="205" y="286"/>
                  </a:cubicBezTo>
                  <a:cubicBezTo>
                    <a:pt x="207" y="290"/>
                    <a:pt x="212" y="293"/>
                    <a:pt x="208" y="297"/>
                  </a:cubicBezTo>
                  <a:cubicBezTo>
                    <a:pt x="204" y="302"/>
                    <a:pt x="195" y="289"/>
                    <a:pt x="188" y="291"/>
                  </a:cubicBezTo>
                  <a:cubicBezTo>
                    <a:pt x="184" y="293"/>
                    <a:pt x="178" y="286"/>
                    <a:pt x="182" y="283"/>
                  </a:cubicBezTo>
                  <a:cubicBezTo>
                    <a:pt x="185" y="281"/>
                    <a:pt x="190" y="279"/>
                    <a:pt x="189" y="274"/>
                  </a:cubicBezTo>
                  <a:cubicBezTo>
                    <a:pt x="189" y="270"/>
                    <a:pt x="191" y="265"/>
                    <a:pt x="190" y="261"/>
                  </a:cubicBezTo>
                  <a:cubicBezTo>
                    <a:pt x="189" y="259"/>
                    <a:pt x="185" y="259"/>
                    <a:pt x="185" y="256"/>
                  </a:cubicBezTo>
                  <a:cubicBezTo>
                    <a:pt x="185" y="254"/>
                    <a:pt x="187" y="252"/>
                    <a:pt x="188" y="250"/>
                  </a:cubicBezTo>
                  <a:cubicBezTo>
                    <a:pt x="187" y="250"/>
                    <a:pt x="186" y="250"/>
                    <a:pt x="185" y="249"/>
                  </a:cubicBezTo>
                  <a:cubicBezTo>
                    <a:pt x="185" y="246"/>
                    <a:pt x="192" y="242"/>
                    <a:pt x="187" y="237"/>
                  </a:cubicBezTo>
                  <a:cubicBezTo>
                    <a:pt x="185" y="234"/>
                    <a:pt x="174" y="231"/>
                    <a:pt x="181" y="227"/>
                  </a:cubicBezTo>
                  <a:cubicBezTo>
                    <a:pt x="170" y="222"/>
                    <a:pt x="158" y="215"/>
                    <a:pt x="157" y="202"/>
                  </a:cubicBezTo>
                  <a:cubicBezTo>
                    <a:pt x="155" y="191"/>
                    <a:pt x="159" y="177"/>
                    <a:pt x="148" y="171"/>
                  </a:cubicBezTo>
                  <a:cubicBezTo>
                    <a:pt x="137" y="164"/>
                    <a:pt x="134" y="149"/>
                    <a:pt x="121" y="146"/>
                  </a:cubicBezTo>
                  <a:cubicBezTo>
                    <a:pt x="120" y="146"/>
                    <a:pt x="98" y="140"/>
                    <a:pt x="106" y="148"/>
                  </a:cubicBezTo>
                  <a:cubicBezTo>
                    <a:pt x="101" y="148"/>
                    <a:pt x="102" y="156"/>
                    <a:pt x="100" y="158"/>
                  </a:cubicBezTo>
                  <a:cubicBezTo>
                    <a:pt x="99" y="159"/>
                    <a:pt x="94" y="159"/>
                    <a:pt x="92" y="161"/>
                  </a:cubicBezTo>
                  <a:cubicBezTo>
                    <a:pt x="89" y="163"/>
                    <a:pt x="88" y="160"/>
                    <a:pt x="85" y="159"/>
                  </a:cubicBezTo>
                  <a:cubicBezTo>
                    <a:pt x="82" y="156"/>
                    <a:pt x="76" y="152"/>
                    <a:pt x="71" y="151"/>
                  </a:cubicBezTo>
                  <a:cubicBezTo>
                    <a:pt x="67" y="149"/>
                    <a:pt x="67" y="158"/>
                    <a:pt x="62" y="155"/>
                  </a:cubicBezTo>
                  <a:cubicBezTo>
                    <a:pt x="61" y="163"/>
                    <a:pt x="52" y="169"/>
                    <a:pt x="47" y="174"/>
                  </a:cubicBezTo>
                  <a:cubicBezTo>
                    <a:pt x="45" y="177"/>
                    <a:pt x="42" y="175"/>
                    <a:pt x="40" y="173"/>
                  </a:cubicBezTo>
                  <a:cubicBezTo>
                    <a:pt x="37" y="170"/>
                    <a:pt x="39" y="165"/>
                    <a:pt x="40" y="162"/>
                  </a:cubicBezTo>
                  <a:cubicBezTo>
                    <a:pt x="42" y="158"/>
                    <a:pt x="43" y="155"/>
                    <a:pt x="42" y="150"/>
                  </a:cubicBezTo>
                  <a:cubicBezTo>
                    <a:pt x="42" y="148"/>
                    <a:pt x="39" y="143"/>
                    <a:pt x="39" y="140"/>
                  </a:cubicBezTo>
                  <a:cubicBezTo>
                    <a:pt x="40" y="139"/>
                    <a:pt x="41" y="137"/>
                    <a:pt x="42" y="136"/>
                  </a:cubicBezTo>
                  <a:cubicBezTo>
                    <a:pt x="43" y="134"/>
                    <a:pt x="42" y="134"/>
                    <a:pt x="42" y="131"/>
                  </a:cubicBezTo>
                  <a:cubicBezTo>
                    <a:pt x="42" y="126"/>
                    <a:pt x="44" y="123"/>
                    <a:pt x="41" y="117"/>
                  </a:cubicBezTo>
                  <a:cubicBezTo>
                    <a:pt x="37" y="110"/>
                    <a:pt x="41" y="99"/>
                    <a:pt x="29" y="102"/>
                  </a:cubicBezTo>
                  <a:cubicBezTo>
                    <a:pt x="28" y="102"/>
                    <a:pt x="26" y="103"/>
                    <a:pt x="26" y="104"/>
                  </a:cubicBezTo>
                  <a:cubicBezTo>
                    <a:pt x="25" y="107"/>
                    <a:pt x="24" y="104"/>
                    <a:pt x="22" y="105"/>
                  </a:cubicBezTo>
                  <a:cubicBezTo>
                    <a:pt x="18" y="106"/>
                    <a:pt x="16" y="104"/>
                    <a:pt x="14" y="100"/>
                  </a:cubicBezTo>
                  <a:cubicBezTo>
                    <a:pt x="11" y="94"/>
                    <a:pt x="18" y="88"/>
                    <a:pt x="15" y="83"/>
                  </a:cubicBezTo>
                  <a:cubicBezTo>
                    <a:pt x="14" y="82"/>
                    <a:pt x="10" y="76"/>
                    <a:pt x="8" y="75"/>
                  </a:cubicBezTo>
                  <a:cubicBezTo>
                    <a:pt x="4" y="74"/>
                    <a:pt x="4" y="78"/>
                    <a:pt x="0" y="79"/>
                  </a:cubicBezTo>
                  <a:cubicBezTo>
                    <a:pt x="0" y="78"/>
                    <a:pt x="0" y="77"/>
                    <a:pt x="0" y="7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Freeform 663">
              <a:extLst>
                <a:ext uri="{FF2B5EF4-FFF2-40B4-BE49-F238E27FC236}">
                  <a16:creationId xmlns:a16="http://schemas.microsoft.com/office/drawing/2014/main" id="{9E61DDDF-2FA2-4507-A374-738BBCB84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8407" y="2048420"/>
              <a:ext cx="311437" cy="395971"/>
            </a:xfrm>
            <a:custGeom>
              <a:avLst/>
              <a:gdLst>
                <a:gd name="T0" fmla="*/ 2 w 145"/>
                <a:gd name="T1" fmla="*/ 98 h 182"/>
                <a:gd name="T2" fmla="*/ 9 w 145"/>
                <a:gd name="T3" fmla="*/ 88 h 182"/>
                <a:gd name="T4" fmla="*/ 15 w 145"/>
                <a:gd name="T5" fmla="*/ 84 h 182"/>
                <a:gd name="T6" fmla="*/ 27 w 145"/>
                <a:gd name="T7" fmla="*/ 74 h 182"/>
                <a:gd name="T8" fmla="*/ 32 w 145"/>
                <a:gd name="T9" fmla="*/ 72 h 182"/>
                <a:gd name="T10" fmla="*/ 38 w 145"/>
                <a:gd name="T11" fmla="*/ 62 h 182"/>
                <a:gd name="T12" fmla="*/ 41 w 145"/>
                <a:gd name="T13" fmla="*/ 44 h 182"/>
                <a:gd name="T14" fmla="*/ 46 w 145"/>
                <a:gd name="T15" fmla="*/ 41 h 182"/>
                <a:gd name="T16" fmla="*/ 57 w 145"/>
                <a:gd name="T17" fmla="*/ 48 h 182"/>
                <a:gd name="T18" fmla="*/ 78 w 145"/>
                <a:gd name="T19" fmla="*/ 53 h 182"/>
                <a:gd name="T20" fmla="*/ 87 w 145"/>
                <a:gd name="T21" fmla="*/ 47 h 182"/>
                <a:gd name="T22" fmla="*/ 80 w 145"/>
                <a:gd name="T23" fmla="*/ 42 h 182"/>
                <a:gd name="T24" fmla="*/ 73 w 145"/>
                <a:gd name="T25" fmla="*/ 33 h 182"/>
                <a:gd name="T26" fmla="*/ 93 w 145"/>
                <a:gd name="T27" fmla="*/ 32 h 182"/>
                <a:gd name="T28" fmla="*/ 99 w 145"/>
                <a:gd name="T29" fmla="*/ 21 h 182"/>
                <a:gd name="T30" fmla="*/ 109 w 145"/>
                <a:gd name="T31" fmla="*/ 18 h 182"/>
                <a:gd name="T32" fmla="*/ 105 w 145"/>
                <a:gd name="T33" fmla="*/ 0 h 182"/>
                <a:gd name="T34" fmla="*/ 119 w 145"/>
                <a:gd name="T35" fmla="*/ 6 h 182"/>
                <a:gd name="T36" fmla="*/ 141 w 145"/>
                <a:gd name="T37" fmla="*/ 23 h 182"/>
                <a:gd name="T38" fmla="*/ 133 w 145"/>
                <a:gd name="T39" fmla="*/ 22 h 182"/>
                <a:gd name="T40" fmla="*/ 130 w 145"/>
                <a:gd name="T41" fmla="*/ 29 h 182"/>
                <a:gd name="T42" fmla="*/ 125 w 145"/>
                <a:gd name="T43" fmla="*/ 47 h 182"/>
                <a:gd name="T44" fmla="*/ 137 w 145"/>
                <a:gd name="T45" fmla="*/ 73 h 182"/>
                <a:gd name="T46" fmla="*/ 129 w 145"/>
                <a:gd name="T47" fmla="*/ 79 h 182"/>
                <a:gd name="T48" fmla="*/ 128 w 145"/>
                <a:gd name="T49" fmla="*/ 85 h 182"/>
                <a:gd name="T50" fmla="*/ 121 w 145"/>
                <a:gd name="T51" fmla="*/ 91 h 182"/>
                <a:gd name="T52" fmla="*/ 117 w 145"/>
                <a:gd name="T53" fmla="*/ 99 h 182"/>
                <a:gd name="T54" fmla="*/ 107 w 145"/>
                <a:gd name="T55" fmla="*/ 102 h 182"/>
                <a:gd name="T56" fmla="*/ 101 w 145"/>
                <a:gd name="T57" fmla="*/ 107 h 182"/>
                <a:gd name="T58" fmla="*/ 99 w 145"/>
                <a:gd name="T59" fmla="*/ 114 h 182"/>
                <a:gd name="T60" fmla="*/ 103 w 145"/>
                <a:gd name="T61" fmla="*/ 124 h 182"/>
                <a:gd name="T62" fmla="*/ 101 w 145"/>
                <a:gd name="T63" fmla="*/ 126 h 182"/>
                <a:gd name="T64" fmla="*/ 112 w 145"/>
                <a:gd name="T65" fmla="*/ 132 h 182"/>
                <a:gd name="T66" fmla="*/ 139 w 145"/>
                <a:gd name="T67" fmla="*/ 154 h 182"/>
                <a:gd name="T68" fmla="*/ 106 w 145"/>
                <a:gd name="T69" fmla="*/ 164 h 182"/>
                <a:gd name="T70" fmla="*/ 100 w 145"/>
                <a:gd name="T71" fmla="*/ 177 h 182"/>
                <a:gd name="T72" fmla="*/ 90 w 145"/>
                <a:gd name="T73" fmla="*/ 179 h 182"/>
                <a:gd name="T74" fmla="*/ 80 w 145"/>
                <a:gd name="T75" fmla="*/ 175 h 182"/>
                <a:gd name="T76" fmla="*/ 69 w 145"/>
                <a:gd name="T77" fmla="*/ 170 h 182"/>
                <a:gd name="T78" fmla="*/ 75 w 145"/>
                <a:gd name="T79" fmla="*/ 173 h 182"/>
                <a:gd name="T80" fmla="*/ 68 w 145"/>
                <a:gd name="T81" fmla="*/ 182 h 182"/>
                <a:gd name="T82" fmla="*/ 70 w 145"/>
                <a:gd name="T83" fmla="*/ 177 h 182"/>
                <a:gd name="T84" fmla="*/ 65 w 145"/>
                <a:gd name="T85" fmla="*/ 177 h 182"/>
                <a:gd name="T86" fmla="*/ 53 w 145"/>
                <a:gd name="T87" fmla="*/ 172 h 182"/>
                <a:gd name="T88" fmla="*/ 59 w 145"/>
                <a:gd name="T89" fmla="*/ 169 h 182"/>
                <a:gd name="T90" fmla="*/ 43 w 145"/>
                <a:gd name="T91" fmla="*/ 167 h 182"/>
                <a:gd name="T92" fmla="*/ 48 w 145"/>
                <a:gd name="T93" fmla="*/ 164 h 182"/>
                <a:gd name="T94" fmla="*/ 44 w 145"/>
                <a:gd name="T95" fmla="*/ 150 h 182"/>
                <a:gd name="T96" fmla="*/ 51 w 145"/>
                <a:gd name="T97" fmla="*/ 147 h 182"/>
                <a:gd name="T98" fmla="*/ 62 w 145"/>
                <a:gd name="T99" fmla="*/ 149 h 182"/>
                <a:gd name="T100" fmla="*/ 44 w 145"/>
                <a:gd name="T101" fmla="*/ 139 h 182"/>
                <a:gd name="T102" fmla="*/ 45 w 145"/>
                <a:gd name="T103" fmla="*/ 125 h 182"/>
                <a:gd name="T104" fmla="*/ 41 w 145"/>
                <a:gd name="T105" fmla="*/ 116 h 182"/>
                <a:gd name="T106" fmla="*/ 19 w 145"/>
                <a:gd name="T107" fmla="*/ 110 h 182"/>
                <a:gd name="T108" fmla="*/ 18 w 145"/>
                <a:gd name="T109" fmla="*/ 115 h 182"/>
                <a:gd name="T110" fmla="*/ 10 w 145"/>
                <a:gd name="T111" fmla="*/ 108 h 182"/>
                <a:gd name="T112" fmla="*/ 6 w 145"/>
                <a:gd name="T113" fmla="*/ 101 h 182"/>
                <a:gd name="T114" fmla="*/ 2 w 145"/>
                <a:gd name="T115" fmla="*/ 98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5" h="182">
                  <a:moveTo>
                    <a:pt x="2" y="98"/>
                  </a:moveTo>
                  <a:cubicBezTo>
                    <a:pt x="4" y="94"/>
                    <a:pt x="7" y="91"/>
                    <a:pt x="9" y="88"/>
                  </a:cubicBezTo>
                  <a:cubicBezTo>
                    <a:pt x="10" y="86"/>
                    <a:pt x="14" y="87"/>
                    <a:pt x="15" y="84"/>
                  </a:cubicBezTo>
                  <a:cubicBezTo>
                    <a:pt x="16" y="79"/>
                    <a:pt x="27" y="79"/>
                    <a:pt x="27" y="74"/>
                  </a:cubicBezTo>
                  <a:cubicBezTo>
                    <a:pt x="27" y="71"/>
                    <a:pt x="30" y="72"/>
                    <a:pt x="32" y="72"/>
                  </a:cubicBezTo>
                  <a:cubicBezTo>
                    <a:pt x="35" y="71"/>
                    <a:pt x="35" y="64"/>
                    <a:pt x="38" y="62"/>
                  </a:cubicBezTo>
                  <a:cubicBezTo>
                    <a:pt x="43" y="57"/>
                    <a:pt x="36" y="46"/>
                    <a:pt x="41" y="44"/>
                  </a:cubicBezTo>
                  <a:cubicBezTo>
                    <a:pt x="43" y="43"/>
                    <a:pt x="44" y="40"/>
                    <a:pt x="46" y="41"/>
                  </a:cubicBezTo>
                  <a:cubicBezTo>
                    <a:pt x="50" y="43"/>
                    <a:pt x="53" y="46"/>
                    <a:pt x="57" y="48"/>
                  </a:cubicBezTo>
                  <a:cubicBezTo>
                    <a:pt x="63" y="52"/>
                    <a:pt x="71" y="53"/>
                    <a:pt x="78" y="53"/>
                  </a:cubicBezTo>
                  <a:cubicBezTo>
                    <a:pt x="82" y="53"/>
                    <a:pt x="90" y="54"/>
                    <a:pt x="87" y="47"/>
                  </a:cubicBezTo>
                  <a:cubicBezTo>
                    <a:pt x="86" y="45"/>
                    <a:pt x="82" y="44"/>
                    <a:pt x="80" y="42"/>
                  </a:cubicBezTo>
                  <a:cubicBezTo>
                    <a:pt x="77" y="40"/>
                    <a:pt x="75" y="36"/>
                    <a:pt x="73" y="33"/>
                  </a:cubicBezTo>
                  <a:cubicBezTo>
                    <a:pt x="79" y="32"/>
                    <a:pt x="87" y="32"/>
                    <a:pt x="93" y="32"/>
                  </a:cubicBezTo>
                  <a:cubicBezTo>
                    <a:pt x="102" y="31"/>
                    <a:pt x="97" y="25"/>
                    <a:pt x="99" y="21"/>
                  </a:cubicBezTo>
                  <a:cubicBezTo>
                    <a:pt x="100" y="17"/>
                    <a:pt x="106" y="20"/>
                    <a:pt x="109" y="18"/>
                  </a:cubicBezTo>
                  <a:cubicBezTo>
                    <a:pt x="113" y="17"/>
                    <a:pt x="106" y="3"/>
                    <a:pt x="105" y="0"/>
                  </a:cubicBezTo>
                  <a:cubicBezTo>
                    <a:pt x="111" y="0"/>
                    <a:pt x="116" y="1"/>
                    <a:pt x="119" y="6"/>
                  </a:cubicBezTo>
                  <a:cubicBezTo>
                    <a:pt x="123" y="14"/>
                    <a:pt x="135" y="16"/>
                    <a:pt x="141" y="23"/>
                  </a:cubicBezTo>
                  <a:cubicBezTo>
                    <a:pt x="138" y="25"/>
                    <a:pt x="136" y="22"/>
                    <a:pt x="133" y="22"/>
                  </a:cubicBezTo>
                  <a:cubicBezTo>
                    <a:pt x="132" y="23"/>
                    <a:pt x="131" y="27"/>
                    <a:pt x="130" y="29"/>
                  </a:cubicBezTo>
                  <a:cubicBezTo>
                    <a:pt x="128" y="33"/>
                    <a:pt x="124" y="41"/>
                    <a:pt x="125" y="47"/>
                  </a:cubicBezTo>
                  <a:cubicBezTo>
                    <a:pt x="126" y="50"/>
                    <a:pt x="145" y="69"/>
                    <a:pt x="137" y="73"/>
                  </a:cubicBezTo>
                  <a:cubicBezTo>
                    <a:pt x="134" y="75"/>
                    <a:pt x="130" y="76"/>
                    <a:pt x="129" y="79"/>
                  </a:cubicBezTo>
                  <a:cubicBezTo>
                    <a:pt x="128" y="81"/>
                    <a:pt x="130" y="84"/>
                    <a:pt x="128" y="85"/>
                  </a:cubicBezTo>
                  <a:cubicBezTo>
                    <a:pt x="126" y="88"/>
                    <a:pt x="123" y="88"/>
                    <a:pt x="121" y="91"/>
                  </a:cubicBezTo>
                  <a:cubicBezTo>
                    <a:pt x="120" y="94"/>
                    <a:pt x="119" y="97"/>
                    <a:pt x="117" y="99"/>
                  </a:cubicBezTo>
                  <a:cubicBezTo>
                    <a:pt x="114" y="101"/>
                    <a:pt x="110" y="100"/>
                    <a:pt x="107" y="102"/>
                  </a:cubicBezTo>
                  <a:cubicBezTo>
                    <a:pt x="105" y="103"/>
                    <a:pt x="103" y="105"/>
                    <a:pt x="101" y="107"/>
                  </a:cubicBezTo>
                  <a:cubicBezTo>
                    <a:pt x="98" y="109"/>
                    <a:pt x="95" y="111"/>
                    <a:pt x="99" y="114"/>
                  </a:cubicBezTo>
                  <a:cubicBezTo>
                    <a:pt x="102" y="116"/>
                    <a:pt x="103" y="121"/>
                    <a:pt x="103" y="124"/>
                  </a:cubicBezTo>
                  <a:cubicBezTo>
                    <a:pt x="102" y="120"/>
                    <a:pt x="100" y="122"/>
                    <a:pt x="101" y="126"/>
                  </a:cubicBezTo>
                  <a:cubicBezTo>
                    <a:pt x="101" y="132"/>
                    <a:pt x="108" y="129"/>
                    <a:pt x="112" y="132"/>
                  </a:cubicBezTo>
                  <a:cubicBezTo>
                    <a:pt x="119" y="136"/>
                    <a:pt x="140" y="145"/>
                    <a:pt x="139" y="154"/>
                  </a:cubicBezTo>
                  <a:cubicBezTo>
                    <a:pt x="138" y="167"/>
                    <a:pt x="112" y="153"/>
                    <a:pt x="106" y="164"/>
                  </a:cubicBezTo>
                  <a:cubicBezTo>
                    <a:pt x="104" y="167"/>
                    <a:pt x="104" y="178"/>
                    <a:pt x="100" y="177"/>
                  </a:cubicBezTo>
                  <a:cubicBezTo>
                    <a:pt x="98" y="177"/>
                    <a:pt x="85" y="172"/>
                    <a:pt x="90" y="179"/>
                  </a:cubicBezTo>
                  <a:cubicBezTo>
                    <a:pt x="87" y="178"/>
                    <a:pt x="82" y="177"/>
                    <a:pt x="80" y="175"/>
                  </a:cubicBezTo>
                  <a:cubicBezTo>
                    <a:pt x="77" y="172"/>
                    <a:pt x="73" y="170"/>
                    <a:pt x="69" y="170"/>
                  </a:cubicBezTo>
                  <a:cubicBezTo>
                    <a:pt x="71" y="171"/>
                    <a:pt x="73" y="172"/>
                    <a:pt x="75" y="173"/>
                  </a:cubicBezTo>
                  <a:cubicBezTo>
                    <a:pt x="72" y="173"/>
                    <a:pt x="71" y="178"/>
                    <a:pt x="68" y="182"/>
                  </a:cubicBezTo>
                  <a:cubicBezTo>
                    <a:pt x="65" y="178"/>
                    <a:pt x="70" y="179"/>
                    <a:pt x="70" y="177"/>
                  </a:cubicBezTo>
                  <a:cubicBezTo>
                    <a:pt x="69" y="174"/>
                    <a:pt x="65" y="172"/>
                    <a:pt x="65" y="177"/>
                  </a:cubicBezTo>
                  <a:cubicBezTo>
                    <a:pt x="63" y="172"/>
                    <a:pt x="56" y="177"/>
                    <a:pt x="53" y="172"/>
                  </a:cubicBezTo>
                  <a:cubicBezTo>
                    <a:pt x="60" y="172"/>
                    <a:pt x="52" y="167"/>
                    <a:pt x="59" y="169"/>
                  </a:cubicBezTo>
                  <a:cubicBezTo>
                    <a:pt x="55" y="165"/>
                    <a:pt x="48" y="168"/>
                    <a:pt x="43" y="167"/>
                  </a:cubicBezTo>
                  <a:cubicBezTo>
                    <a:pt x="44" y="164"/>
                    <a:pt x="46" y="163"/>
                    <a:pt x="48" y="164"/>
                  </a:cubicBezTo>
                  <a:cubicBezTo>
                    <a:pt x="42" y="160"/>
                    <a:pt x="48" y="154"/>
                    <a:pt x="44" y="150"/>
                  </a:cubicBezTo>
                  <a:cubicBezTo>
                    <a:pt x="48" y="153"/>
                    <a:pt x="46" y="147"/>
                    <a:pt x="51" y="147"/>
                  </a:cubicBezTo>
                  <a:cubicBezTo>
                    <a:pt x="54" y="147"/>
                    <a:pt x="59" y="147"/>
                    <a:pt x="62" y="149"/>
                  </a:cubicBezTo>
                  <a:cubicBezTo>
                    <a:pt x="58" y="142"/>
                    <a:pt x="44" y="149"/>
                    <a:pt x="44" y="139"/>
                  </a:cubicBezTo>
                  <a:cubicBezTo>
                    <a:pt x="43" y="135"/>
                    <a:pt x="46" y="129"/>
                    <a:pt x="45" y="125"/>
                  </a:cubicBezTo>
                  <a:cubicBezTo>
                    <a:pt x="43" y="121"/>
                    <a:pt x="39" y="121"/>
                    <a:pt x="41" y="116"/>
                  </a:cubicBezTo>
                  <a:cubicBezTo>
                    <a:pt x="34" y="121"/>
                    <a:pt x="25" y="112"/>
                    <a:pt x="19" y="110"/>
                  </a:cubicBezTo>
                  <a:cubicBezTo>
                    <a:pt x="20" y="112"/>
                    <a:pt x="20" y="114"/>
                    <a:pt x="18" y="115"/>
                  </a:cubicBezTo>
                  <a:cubicBezTo>
                    <a:pt x="17" y="112"/>
                    <a:pt x="14" y="110"/>
                    <a:pt x="10" y="108"/>
                  </a:cubicBezTo>
                  <a:cubicBezTo>
                    <a:pt x="8" y="108"/>
                    <a:pt x="0" y="101"/>
                    <a:pt x="6" y="101"/>
                  </a:cubicBezTo>
                  <a:cubicBezTo>
                    <a:pt x="5" y="100"/>
                    <a:pt x="4" y="99"/>
                    <a:pt x="2" y="9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Freeform 664">
              <a:extLst>
                <a:ext uri="{FF2B5EF4-FFF2-40B4-BE49-F238E27FC236}">
                  <a16:creationId xmlns:a16="http://schemas.microsoft.com/office/drawing/2014/main" id="{5FE55F79-F066-400E-B96D-809518F7D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8407" y="2048420"/>
              <a:ext cx="311437" cy="395971"/>
            </a:xfrm>
            <a:custGeom>
              <a:avLst/>
              <a:gdLst>
                <a:gd name="T0" fmla="*/ 2 w 145"/>
                <a:gd name="T1" fmla="*/ 98 h 182"/>
                <a:gd name="T2" fmla="*/ 9 w 145"/>
                <a:gd name="T3" fmla="*/ 88 h 182"/>
                <a:gd name="T4" fmla="*/ 15 w 145"/>
                <a:gd name="T5" fmla="*/ 84 h 182"/>
                <a:gd name="T6" fmla="*/ 27 w 145"/>
                <a:gd name="T7" fmla="*/ 74 h 182"/>
                <a:gd name="T8" fmla="*/ 32 w 145"/>
                <a:gd name="T9" fmla="*/ 72 h 182"/>
                <a:gd name="T10" fmla="*/ 38 w 145"/>
                <a:gd name="T11" fmla="*/ 62 h 182"/>
                <a:gd name="T12" fmla="*/ 41 w 145"/>
                <a:gd name="T13" fmla="*/ 44 h 182"/>
                <a:gd name="T14" fmla="*/ 46 w 145"/>
                <a:gd name="T15" fmla="*/ 41 h 182"/>
                <a:gd name="T16" fmla="*/ 57 w 145"/>
                <a:gd name="T17" fmla="*/ 48 h 182"/>
                <a:gd name="T18" fmla="*/ 78 w 145"/>
                <a:gd name="T19" fmla="*/ 53 h 182"/>
                <a:gd name="T20" fmla="*/ 87 w 145"/>
                <a:gd name="T21" fmla="*/ 47 h 182"/>
                <a:gd name="T22" fmla="*/ 80 w 145"/>
                <a:gd name="T23" fmla="*/ 42 h 182"/>
                <a:gd name="T24" fmla="*/ 73 w 145"/>
                <a:gd name="T25" fmla="*/ 33 h 182"/>
                <a:gd name="T26" fmla="*/ 93 w 145"/>
                <a:gd name="T27" fmla="*/ 32 h 182"/>
                <a:gd name="T28" fmla="*/ 99 w 145"/>
                <a:gd name="T29" fmla="*/ 21 h 182"/>
                <a:gd name="T30" fmla="*/ 109 w 145"/>
                <a:gd name="T31" fmla="*/ 18 h 182"/>
                <a:gd name="T32" fmla="*/ 105 w 145"/>
                <a:gd name="T33" fmla="*/ 0 h 182"/>
                <a:gd name="T34" fmla="*/ 119 w 145"/>
                <a:gd name="T35" fmla="*/ 6 h 182"/>
                <a:gd name="T36" fmla="*/ 141 w 145"/>
                <a:gd name="T37" fmla="*/ 23 h 182"/>
                <a:gd name="T38" fmla="*/ 133 w 145"/>
                <a:gd name="T39" fmla="*/ 22 h 182"/>
                <a:gd name="T40" fmla="*/ 130 w 145"/>
                <a:gd name="T41" fmla="*/ 29 h 182"/>
                <a:gd name="T42" fmla="*/ 125 w 145"/>
                <a:gd name="T43" fmla="*/ 47 h 182"/>
                <a:gd name="T44" fmla="*/ 137 w 145"/>
                <a:gd name="T45" fmla="*/ 73 h 182"/>
                <a:gd name="T46" fmla="*/ 129 w 145"/>
                <a:gd name="T47" fmla="*/ 79 h 182"/>
                <a:gd name="T48" fmla="*/ 128 w 145"/>
                <a:gd name="T49" fmla="*/ 85 h 182"/>
                <a:gd name="T50" fmla="*/ 121 w 145"/>
                <a:gd name="T51" fmla="*/ 91 h 182"/>
                <a:gd name="T52" fmla="*/ 117 w 145"/>
                <a:gd name="T53" fmla="*/ 99 h 182"/>
                <a:gd name="T54" fmla="*/ 107 w 145"/>
                <a:gd name="T55" fmla="*/ 102 h 182"/>
                <a:gd name="T56" fmla="*/ 101 w 145"/>
                <a:gd name="T57" fmla="*/ 107 h 182"/>
                <a:gd name="T58" fmla="*/ 99 w 145"/>
                <a:gd name="T59" fmla="*/ 114 h 182"/>
                <a:gd name="T60" fmla="*/ 103 w 145"/>
                <a:gd name="T61" fmla="*/ 124 h 182"/>
                <a:gd name="T62" fmla="*/ 101 w 145"/>
                <a:gd name="T63" fmla="*/ 126 h 182"/>
                <a:gd name="T64" fmla="*/ 112 w 145"/>
                <a:gd name="T65" fmla="*/ 132 h 182"/>
                <a:gd name="T66" fmla="*/ 139 w 145"/>
                <a:gd name="T67" fmla="*/ 154 h 182"/>
                <a:gd name="T68" fmla="*/ 106 w 145"/>
                <a:gd name="T69" fmla="*/ 164 h 182"/>
                <a:gd name="T70" fmla="*/ 100 w 145"/>
                <a:gd name="T71" fmla="*/ 177 h 182"/>
                <a:gd name="T72" fmla="*/ 90 w 145"/>
                <a:gd name="T73" fmla="*/ 179 h 182"/>
                <a:gd name="T74" fmla="*/ 80 w 145"/>
                <a:gd name="T75" fmla="*/ 175 h 182"/>
                <a:gd name="T76" fmla="*/ 69 w 145"/>
                <a:gd name="T77" fmla="*/ 170 h 182"/>
                <a:gd name="T78" fmla="*/ 75 w 145"/>
                <a:gd name="T79" fmla="*/ 173 h 182"/>
                <a:gd name="T80" fmla="*/ 68 w 145"/>
                <a:gd name="T81" fmla="*/ 182 h 182"/>
                <a:gd name="T82" fmla="*/ 70 w 145"/>
                <a:gd name="T83" fmla="*/ 177 h 182"/>
                <a:gd name="T84" fmla="*/ 65 w 145"/>
                <a:gd name="T85" fmla="*/ 177 h 182"/>
                <a:gd name="T86" fmla="*/ 53 w 145"/>
                <a:gd name="T87" fmla="*/ 172 h 182"/>
                <a:gd name="T88" fmla="*/ 59 w 145"/>
                <a:gd name="T89" fmla="*/ 169 h 182"/>
                <a:gd name="T90" fmla="*/ 43 w 145"/>
                <a:gd name="T91" fmla="*/ 167 h 182"/>
                <a:gd name="T92" fmla="*/ 48 w 145"/>
                <a:gd name="T93" fmla="*/ 164 h 182"/>
                <a:gd name="T94" fmla="*/ 44 w 145"/>
                <a:gd name="T95" fmla="*/ 150 h 182"/>
                <a:gd name="T96" fmla="*/ 51 w 145"/>
                <a:gd name="T97" fmla="*/ 147 h 182"/>
                <a:gd name="T98" fmla="*/ 62 w 145"/>
                <a:gd name="T99" fmla="*/ 149 h 182"/>
                <a:gd name="T100" fmla="*/ 44 w 145"/>
                <a:gd name="T101" fmla="*/ 139 h 182"/>
                <a:gd name="T102" fmla="*/ 45 w 145"/>
                <a:gd name="T103" fmla="*/ 125 h 182"/>
                <a:gd name="T104" fmla="*/ 41 w 145"/>
                <a:gd name="T105" fmla="*/ 116 h 182"/>
                <a:gd name="T106" fmla="*/ 19 w 145"/>
                <a:gd name="T107" fmla="*/ 110 h 182"/>
                <a:gd name="T108" fmla="*/ 18 w 145"/>
                <a:gd name="T109" fmla="*/ 115 h 182"/>
                <a:gd name="T110" fmla="*/ 10 w 145"/>
                <a:gd name="T111" fmla="*/ 108 h 182"/>
                <a:gd name="T112" fmla="*/ 6 w 145"/>
                <a:gd name="T113" fmla="*/ 101 h 182"/>
                <a:gd name="T114" fmla="*/ 2 w 145"/>
                <a:gd name="T115" fmla="*/ 98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5" h="182">
                  <a:moveTo>
                    <a:pt x="2" y="98"/>
                  </a:moveTo>
                  <a:cubicBezTo>
                    <a:pt x="4" y="94"/>
                    <a:pt x="7" y="91"/>
                    <a:pt x="9" y="88"/>
                  </a:cubicBezTo>
                  <a:cubicBezTo>
                    <a:pt x="10" y="86"/>
                    <a:pt x="14" y="87"/>
                    <a:pt x="15" y="84"/>
                  </a:cubicBezTo>
                  <a:cubicBezTo>
                    <a:pt x="16" y="79"/>
                    <a:pt x="27" y="79"/>
                    <a:pt x="27" y="74"/>
                  </a:cubicBezTo>
                  <a:cubicBezTo>
                    <a:pt x="27" y="71"/>
                    <a:pt x="30" y="72"/>
                    <a:pt x="32" y="72"/>
                  </a:cubicBezTo>
                  <a:cubicBezTo>
                    <a:pt x="35" y="71"/>
                    <a:pt x="35" y="64"/>
                    <a:pt x="38" y="62"/>
                  </a:cubicBezTo>
                  <a:cubicBezTo>
                    <a:pt x="43" y="57"/>
                    <a:pt x="36" y="46"/>
                    <a:pt x="41" y="44"/>
                  </a:cubicBezTo>
                  <a:cubicBezTo>
                    <a:pt x="43" y="43"/>
                    <a:pt x="44" y="40"/>
                    <a:pt x="46" y="41"/>
                  </a:cubicBezTo>
                  <a:cubicBezTo>
                    <a:pt x="50" y="43"/>
                    <a:pt x="53" y="46"/>
                    <a:pt x="57" y="48"/>
                  </a:cubicBezTo>
                  <a:cubicBezTo>
                    <a:pt x="63" y="52"/>
                    <a:pt x="71" y="53"/>
                    <a:pt x="78" y="53"/>
                  </a:cubicBezTo>
                  <a:cubicBezTo>
                    <a:pt x="82" y="53"/>
                    <a:pt x="90" y="54"/>
                    <a:pt x="87" y="47"/>
                  </a:cubicBezTo>
                  <a:cubicBezTo>
                    <a:pt x="86" y="45"/>
                    <a:pt x="82" y="44"/>
                    <a:pt x="80" y="42"/>
                  </a:cubicBezTo>
                  <a:cubicBezTo>
                    <a:pt x="77" y="40"/>
                    <a:pt x="75" y="36"/>
                    <a:pt x="73" y="33"/>
                  </a:cubicBezTo>
                  <a:cubicBezTo>
                    <a:pt x="79" y="32"/>
                    <a:pt x="87" y="32"/>
                    <a:pt x="93" y="32"/>
                  </a:cubicBezTo>
                  <a:cubicBezTo>
                    <a:pt x="102" y="31"/>
                    <a:pt x="97" y="25"/>
                    <a:pt x="99" y="21"/>
                  </a:cubicBezTo>
                  <a:cubicBezTo>
                    <a:pt x="100" y="17"/>
                    <a:pt x="106" y="20"/>
                    <a:pt x="109" y="18"/>
                  </a:cubicBezTo>
                  <a:cubicBezTo>
                    <a:pt x="113" y="17"/>
                    <a:pt x="106" y="3"/>
                    <a:pt x="105" y="0"/>
                  </a:cubicBezTo>
                  <a:cubicBezTo>
                    <a:pt x="111" y="0"/>
                    <a:pt x="116" y="1"/>
                    <a:pt x="119" y="6"/>
                  </a:cubicBezTo>
                  <a:cubicBezTo>
                    <a:pt x="123" y="14"/>
                    <a:pt x="135" y="16"/>
                    <a:pt x="141" y="23"/>
                  </a:cubicBezTo>
                  <a:cubicBezTo>
                    <a:pt x="138" y="25"/>
                    <a:pt x="136" y="22"/>
                    <a:pt x="133" y="22"/>
                  </a:cubicBezTo>
                  <a:cubicBezTo>
                    <a:pt x="132" y="23"/>
                    <a:pt x="131" y="27"/>
                    <a:pt x="130" y="29"/>
                  </a:cubicBezTo>
                  <a:cubicBezTo>
                    <a:pt x="128" y="33"/>
                    <a:pt x="124" y="41"/>
                    <a:pt x="125" y="47"/>
                  </a:cubicBezTo>
                  <a:cubicBezTo>
                    <a:pt x="126" y="50"/>
                    <a:pt x="145" y="69"/>
                    <a:pt x="137" y="73"/>
                  </a:cubicBezTo>
                  <a:cubicBezTo>
                    <a:pt x="134" y="75"/>
                    <a:pt x="130" y="76"/>
                    <a:pt x="129" y="79"/>
                  </a:cubicBezTo>
                  <a:cubicBezTo>
                    <a:pt x="128" y="81"/>
                    <a:pt x="130" y="84"/>
                    <a:pt x="128" y="85"/>
                  </a:cubicBezTo>
                  <a:cubicBezTo>
                    <a:pt x="126" y="88"/>
                    <a:pt x="123" y="88"/>
                    <a:pt x="121" y="91"/>
                  </a:cubicBezTo>
                  <a:cubicBezTo>
                    <a:pt x="120" y="94"/>
                    <a:pt x="119" y="97"/>
                    <a:pt x="117" y="99"/>
                  </a:cubicBezTo>
                  <a:cubicBezTo>
                    <a:pt x="114" y="101"/>
                    <a:pt x="110" y="100"/>
                    <a:pt x="107" y="102"/>
                  </a:cubicBezTo>
                  <a:cubicBezTo>
                    <a:pt x="105" y="103"/>
                    <a:pt x="103" y="105"/>
                    <a:pt x="101" y="107"/>
                  </a:cubicBezTo>
                  <a:cubicBezTo>
                    <a:pt x="98" y="109"/>
                    <a:pt x="95" y="111"/>
                    <a:pt x="99" y="114"/>
                  </a:cubicBezTo>
                  <a:cubicBezTo>
                    <a:pt x="102" y="116"/>
                    <a:pt x="103" y="121"/>
                    <a:pt x="103" y="124"/>
                  </a:cubicBezTo>
                  <a:cubicBezTo>
                    <a:pt x="102" y="120"/>
                    <a:pt x="100" y="122"/>
                    <a:pt x="101" y="126"/>
                  </a:cubicBezTo>
                  <a:cubicBezTo>
                    <a:pt x="101" y="132"/>
                    <a:pt x="108" y="129"/>
                    <a:pt x="112" y="132"/>
                  </a:cubicBezTo>
                  <a:cubicBezTo>
                    <a:pt x="119" y="136"/>
                    <a:pt x="140" y="145"/>
                    <a:pt x="139" y="154"/>
                  </a:cubicBezTo>
                  <a:cubicBezTo>
                    <a:pt x="138" y="167"/>
                    <a:pt x="112" y="153"/>
                    <a:pt x="106" y="164"/>
                  </a:cubicBezTo>
                  <a:cubicBezTo>
                    <a:pt x="104" y="167"/>
                    <a:pt x="104" y="178"/>
                    <a:pt x="100" y="177"/>
                  </a:cubicBezTo>
                  <a:cubicBezTo>
                    <a:pt x="98" y="177"/>
                    <a:pt x="85" y="172"/>
                    <a:pt x="90" y="179"/>
                  </a:cubicBezTo>
                  <a:cubicBezTo>
                    <a:pt x="87" y="178"/>
                    <a:pt x="82" y="177"/>
                    <a:pt x="80" y="175"/>
                  </a:cubicBezTo>
                  <a:cubicBezTo>
                    <a:pt x="77" y="172"/>
                    <a:pt x="73" y="170"/>
                    <a:pt x="69" y="170"/>
                  </a:cubicBezTo>
                  <a:cubicBezTo>
                    <a:pt x="71" y="171"/>
                    <a:pt x="73" y="172"/>
                    <a:pt x="75" y="173"/>
                  </a:cubicBezTo>
                  <a:cubicBezTo>
                    <a:pt x="72" y="173"/>
                    <a:pt x="71" y="178"/>
                    <a:pt x="68" y="182"/>
                  </a:cubicBezTo>
                  <a:cubicBezTo>
                    <a:pt x="65" y="178"/>
                    <a:pt x="70" y="179"/>
                    <a:pt x="70" y="177"/>
                  </a:cubicBezTo>
                  <a:cubicBezTo>
                    <a:pt x="69" y="174"/>
                    <a:pt x="65" y="172"/>
                    <a:pt x="65" y="177"/>
                  </a:cubicBezTo>
                  <a:cubicBezTo>
                    <a:pt x="63" y="172"/>
                    <a:pt x="56" y="177"/>
                    <a:pt x="53" y="172"/>
                  </a:cubicBezTo>
                  <a:cubicBezTo>
                    <a:pt x="60" y="172"/>
                    <a:pt x="52" y="167"/>
                    <a:pt x="59" y="169"/>
                  </a:cubicBezTo>
                  <a:cubicBezTo>
                    <a:pt x="55" y="165"/>
                    <a:pt x="48" y="168"/>
                    <a:pt x="43" y="167"/>
                  </a:cubicBezTo>
                  <a:cubicBezTo>
                    <a:pt x="44" y="164"/>
                    <a:pt x="46" y="163"/>
                    <a:pt x="48" y="164"/>
                  </a:cubicBezTo>
                  <a:cubicBezTo>
                    <a:pt x="42" y="160"/>
                    <a:pt x="48" y="154"/>
                    <a:pt x="44" y="150"/>
                  </a:cubicBezTo>
                  <a:cubicBezTo>
                    <a:pt x="48" y="153"/>
                    <a:pt x="46" y="147"/>
                    <a:pt x="51" y="147"/>
                  </a:cubicBezTo>
                  <a:cubicBezTo>
                    <a:pt x="54" y="147"/>
                    <a:pt x="59" y="147"/>
                    <a:pt x="62" y="149"/>
                  </a:cubicBezTo>
                  <a:cubicBezTo>
                    <a:pt x="58" y="142"/>
                    <a:pt x="44" y="149"/>
                    <a:pt x="44" y="139"/>
                  </a:cubicBezTo>
                  <a:cubicBezTo>
                    <a:pt x="43" y="135"/>
                    <a:pt x="46" y="129"/>
                    <a:pt x="45" y="125"/>
                  </a:cubicBezTo>
                  <a:cubicBezTo>
                    <a:pt x="43" y="121"/>
                    <a:pt x="39" y="121"/>
                    <a:pt x="41" y="116"/>
                  </a:cubicBezTo>
                  <a:cubicBezTo>
                    <a:pt x="34" y="121"/>
                    <a:pt x="25" y="112"/>
                    <a:pt x="19" y="110"/>
                  </a:cubicBezTo>
                  <a:cubicBezTo>
                    <a:pt x="20" y="112"/>
                    <a:pt x="20" y="114"/>
                    <a:pt x="18" y="115"/>
                  </a:cubicBezTo>
                  <a:cubicBezTo>
                    <a:pt x="17" y="112"/>
                    <a:pt x="14" y="110"/>
                    <a:pt x="10" y="108"/>
                  </a:cubicBezTo>
                  <a:cubicBezTo>
                    <a:pt x="8" y="108"/>
                    <a:pt x="0" y="101"/>
                    <a:pt x="6" y="101"/>
                  </a:cubicBezTo>
                  <a:cubicBezTo>
                    <a:pt x="5" y="100"/>
                    <a:pt x="4" y="99"/>
                    <a:pt x="2" y="98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9" name="Freeform 665">
              <a:extLst>
                <a:ext uri="{FF2B5EF4-FFF2-40B4-BE49-F238E27FC236}">
                  <a16:creationId xmlns:a16="http://schemas.microsoft.com/office/drawing/2014/main" id="{4D8CAB04-9E0F-486F-8FD5-E0B54CE4C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905" y="2061769"/>
              <a:ext cx="929862" cy="569484"/>
            </a:xfrm>
            <a:custGeom>
              <a:avLst/>
              <a:gdLst>
                <a:gd name="T0" fmla="*/ 57 w 429"/>
                <a:gd name="T1" fmla="*/ 22 h 263"/>
                <a:gd name="T2" fmla="*/ 112 w 429"/>
                <a:gd name="T3" fmla="*/ 51 h 263"/>
                <a:gd name="T4" fmla="*/ 132 w 429"/>
                <a:gd name="T5" fmla="*/ 46 h 263"/>
                <a:gd name="T6" fmla="*/ 149 w 429"/>
                <a:gd name="T7" fmla="*/ 14 h 263"/>
                <a:gd name="T8" fmla="*/ 154 w 429"/>
                <a:gd name="T9" fmla="*/ 6 h 263"/>
                <a:gd name="T10" fmla="*/ 171 w 429"/>
                <a:gd name="T11" fmla="*/ 5 h 263"/>
                <a:gd name="T12" fmla="*/ 189 w 429"/>
                <a:gd name="T13" fmla="*/ 16 h 263"/>
                <a:gd name="T14" fmla="*/ 209 w 429"/>
                <a:gd name="T15" fmla="*/ 24 h 263"/>
                <a:gd name="T16" fmla="*/ 214 w 429"/>
                <a:gd name="T17" fmla="*/ 37 h 263"/>
                <a:gd name="T18" fmla="*/ 235 w 429"/>
                <a:gd name="T19" fmla="*/ 53 h 263"/>
                <a:gd name="T20" fmla="*/ 256 w 429"/>
                <a:gd name="T21" fmla="*/ 51 h 263"/>
                <a:gd name="T22" fmla="*/ 284 w 429"/>
                <a:gd name="T23" fmla="*/ 79 h 263"/>
                <a:gd name="T24" fmla="*/ 320 w 429"/>
                <a:gd name="T25" fmla="*/ 112 h 263"/>
                <a:gd name="T26" fmla="*/ 378 w 429"/>
                <a:gd name="T27" fmla="*/ 145 h 263"/>
                <a:gd name="T28" fmla="*/ 426 w 429"/>
                <a:gd name="T29" fmla="*/ 165 h 263"/>
                <a:gd name="T30" fmla="*/ 428 w 429"/>
                <a:gd name="T31" fmla="*/ 184 h 263"/>
                <a:gd name="T32" fmla="*/ 402 w 429"/>
                <a:gd name="T33" fmla="*/ 186 h 263"/>
                <a:gd name="T34" fmla="*/ 384 w 429"/>
                <a:gd name="T35" fmla="*/ 192 h 263"/>
                <a:gd name="T36" fmla="*/ 380 w 429"/>
                <a:gd name="T37" fmla="*/ 217 h 263"/>
                <a:gd name="T38" fmla="*/ 341 w 429"/>
                <a:gd name="T39" fmla="*/ 238 h 263"/>
                <a:gd name="T40" fmla="*/ 339 w 429"/>
                <a:gd name="T41" fmla="*/ 255 h 263"/>
                <a:gd name="T42" fmla="*/ 311 w 429"/>
                <a:gd name="T43" fmla="*/ 253 h 263"/>
                <a:gd name="T44" fmla="*/ 291 w 429"/>
                <a:gd name="T45" fmla="*/ 247 h 263"/>
                <a:gd name="T46" fmla="*/ 286 w 429"/>
                <a:gd name="T47" fmla="*/ 237 h 263"/>
                <a:gd name="T48" fmla="*/ 281 w 429"/>
                <a:gd name="T49" fmla="*/ 215 h 263"/>
                <a:gd name="T50" fmla="*/ 258 w 429"/>
                <a:gd name="T51" fmla="*/ 211 h 263"/>
                <a:gd name="T52" fmla="*/ 227 w 429"/>
                <a:gd name="T53" fmla="*/ 189 h 263"/>
                <a:gd name="T54" fmla="*/ 196 w 429"/>
                <a:gd name="T55" fmla="*/ 176 h 263"/>
                <a:gd name="T56" fmla="*/ 162 w 429"/>
                <a:gd name="T57" fmla="*/ 163 h 263"/>
                <a:gd name="T58" fmla="*/ 133 w 429"/>
                <a:gd name="T59" fmla="*/ 162 h 263"/>
                <a:gd name="T60" fmla="*/ 93 w 429"/>
                <a:gd name="T61" fmla="*/ 173 h 263"/>
                <a:gd name="T62" fmla="*/ 85 w 429"/>
                <a:gd name="T63" fmla="*/ 185 h 263"/>
                <a:gd name="T64" fmla="*/ 63 w 429"/>
                <a:gd name="T65" fmla="*/ 172 h 263"/>
                <a:gd name="T66" fmla="*/ 59 w 429"/>
                <a:gd name="T67" fmla="*/ 132 h 263"/>
                <a:gd name="T68" fmla="*/ 46 w 429"/>
                <a:gd name="T69" fmla="*/ 120 h 263"/>
                <a:gd name="T70" fmla="*/ 38 w 429"/>
                <a:gd name="T71" fmla="*/ 106 h 263"/>
                <a:gd name="T72" fmla="*/ 44 w 429"/>
                <a:gd name="T73" fmla="*/ 107 h 263"/>
                <a:gd name="T74" fmla="*/ 24 w 429"/>
                <a:gd name="T75" fmla="*/ 94 h 263"/>
                <a:gd name="T76" fmla="*/ 17 w 429"/>
                <a:gd name="T77" fmla="*/ 87 h 263"/>
                <a:gd name="T78" fmla="*/ 18 w 429"/>
                <a:gd name="T79" fmla="*/ 61 h 263"/>
                <a:gd name="T80" fmla="*/ 8 w 429"/>
                <a:gd name="T81" fmla="*/ 4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9" h="263">
                  <a:moveTo>
                    <a:pt x="0" y="36"/>
                  </a:moveTo>
                  <a:cubicBezTo>
                    <a:pt x="14" y="16"/>
                    <a:pt x="36" y="12"/>
                    <a:pt x="57" y="22"/>
                  </a:cubicBezTo>
                  <a:cubicBezTo>
                    <a:pt x="67" y="27"/>
                    <a:pt x="72" y="35"/>
                    <a:pt x="79" y="43"/>
                  </a:cubicBezTo>
                  <a:cubicBezTo>
                    <a:pt x="89" y="54"/>
                    <a:pt x="99" y="50"/>
                    <a:pt x="112" y="51"/>
                  </a:cubicBezTo>
                  <a:cubicBezTo>
                    <a:pt x="118" y="51"/>
                    <a:pt x="124" y="51"/>
                    <a:pt x="130" y="52"/>
                  </a:cubicBezTo>
                  <a:cubicBezTo>
                    <a:pt x="137" y="53"/>
                    <a:pt x="133" y="48"/>
                    <a:pt x="132" y="46"/>
                  </a:cubicBezTo>
                  <a:cubicBezTo>
                    <a:pt x="127" y="35"/>
                    <a:pt x="125" y="31"/>
                    <a:pt x="134" y="23"/>
                  </a:cubicBezTo>
                  <a:cubicBezTo>
                    <a:pt x="139" y="17"/>
                    <a:pt x="149" y="25"/>
                    <a:pt x="149" y="14"/>
                  </a:cubicBezTo>
                  <a:cubicBezTo>
                    <a:pt x="149" y="4"/>
                    <a:pt x="162" y="16"/>
                    <a:pt x="166" y="17"/>
                  </a:cubicBezTo>
                  <a:cubicBezTo>
                    <a:pt x="164" y="15"/>
                    <a:pt x="154" y="6"/>
                    <a:pt x="154" y="6"/>
                  </a:cubicBezTo>
                  <a:cubicBezTo>
                    <a:pt x="153" y="3"/>
                    <a:pt x="164" y="6"/>
                    <a:pt x="164" y="4"/>
                  </a:cubicBezTo>
                  <a:cubicBezTo>
                    <a:pt x="165" y="0"/>
                    <a:pt x="169" y="3"/>
                    <a:pt x="171" y="5"/>
                  </a:cubicBezTo>
                  <a:cubicBezTo>
                    <a:pt x="175" y="8"/>
                    <a:pt x="179" y="8"/>
                    <a:pt x="182" y="9"/>
                  </a:cubicBezTo>
                  <a:cubicBezTo>
                    <a:pt x="186" y="11"/>
                    <a:pt x="186" y="15"/>
                    <a:pt x="189" y="16"/>
                  </a:cubicBezTo>
                  <a:cubicBezTo>
                    <a:pt x="193" y="17"/>
                    <a:pt x="197" y="16"/>
                    <a:pt x="200" y="16"/>
                  </a:cubicBezTo>
                  <a:cubicBezTo>
                    <a:pt x="205" y="16"/>
                    <a:pt x="208" y="19"/>
                    <a:pt x="209" y="24"/>
                  </a:cubicBezTo>
                  <a:cubicBezTo>
                    <a:pt x="210" y="30"/>
                    <a:pt x="215" y="29"/>
                    <a:pt x="217" y="34"/>
                  </a:cubicBezTo>
                  <a:cubicBezTo>
                    <a:pt x="214" y="34"/>
                    <a:pt x="213" y="34"/>
                    <a:pt x="214" y="37"/>
                  </a:cubicBezTo>
                  <a:cubicBezTo>
                    <a:pt x="217" y="40"/>
                    <a:pt x="216" y="40"/>
                    <a:pt x="216" y="44"/>
                  </a:cubicBezTo>
                  <a:cubicBezTo>
                    <a:pt x="215" y="51"/>
                    <a:pt x="231" y="53"/>
                    <a:pt x="235" y="53"/>
                  </a:cubicBezTo>
                  <a:cubicBezTo>
                    <a:pt x="240" y="52"/>
                    <a:pt x="244" y="54"/>
                    <a:pt x="249" y="55"/>
                  </a:cubicBezTo>
                  <a:cubicBezTo>
                    <a:pt x="255" y="56"/>
                    <a:pt x="252" y="51"/>
                    <a:pt x="256" y="51"/>
                  </a:cubicBezTo>
                  <a:cubicBezTo>
                    <a:pt x="267" y="51"/>
                    <a:pt x="272" y="62"/>
                    <a:pt x="276" y="70"/>
                  </a:cubicBezTo>
                  <a:cubicBezTo>
                    <a:pt x="278" y="74"/>
                    <a:pt x="281" y="76"/>
                    <a:pt x="284" y="79"/>
                  </a:cubicBezTo>
                  <a:cubicBezTo>
                    <a:pt x="289" y="83"/>
                    <a:pt x="290" y="88"/>
                    <a:pt x="292" y="93"/>
                  </a:cubicBezTo>
                  <a:cubicBezTo>
                    <a:pt x="297" y="102"/>
                    <a:pt x="311" y="107"/>
                    <a:pt x="320" y="112"/>
                  </a:cubicBezTo>
                  <a:cubicBezTo>
                    <a:pt x="330" y="118"/>
                    <a:pt x="339" y="127"/>
                    <a:pt x="350" y="130"/>
                  </a:cubicBezTo>
                  <a:cubicBezTo>
                    <a:pt x="360" y="133"/>
                    <a:pt x="370" y="140"/>
                    <a:pt x="378" y="145"/>
                  </a:cubicBezTo>
                  <a:cubicBezTo>
                    <a:pt x="386" y="151"/>
                    <a:pt x="392" y="157"/>
                    <a:pt x="402" y="156"/>
                  </a:cubicBezTo>
                  <a:cubicBezTo>
                    <a:pt x="408" y="155"/>
                    <a:pt x="422" y="160"/>
                    <a:pt x="426" y="165"/>
                  </a:cubicBezTo>
                  <a:cubicBezTo>
                    <a:pt x="428" y="167"/>
                    <a:pt x="425" y="169"/>
                    <a:pt x="425" y="172"/>
                  </a:cubicBezTo>
                  <a:cubicBezTo>
                    <a:pt x="425" y="176"/>
                    <a:pt x="428" y="180"/>
                    <a:pt x="428" y="184"/>
                  </a:cubicBezTo>
                  <a:cubicBezTo>
                    <a:pt x="429" y="192"/>
                    <a:pt x="409" y="182"/>
                    <a:pt x="406" y="180"/>
                  </a:cubicBezTo>
                  <a:cubicBezTo>
                    <a:pt x="403" y="178"/>
                    <a:pt x="402" y="185"/>
                    <a:pt x="402" y="186"/>
                  </a:cubicBezTo>
                  <a:cubicBezTo>
                    <a:pt x="402" y="191"/>
                    <a:pt x="399" y="191"/>
                    <a:pt x="395" y="191"/>
                  </a:cubicBezTo>
                  <a:cubicBezTo>
                    <a:pt x="391" y="191"/>
                    <a:pt x="387" y="191"/>
                    <a:pt x="384" y="192"/>
                  </a:cubicBezTo>
                  <a:cubicBezTo>
                    <a:pt x="379" y="195"/>
                    <a:pt x="382" y="199"/>
                    <a:pt x="381" y="203"/>
                  </a:cubicBezTo>
                  <a:cubicBezTo>
                    <a:pt x="380" y="209"/>
                    <a:pt x="379" y="211"/>
                    <a:pt x="380" y="217"/>
                  </a:cubicBezTo>
                  <a:cubicBezTo>
                    <a:pt x="380" y="222"/>
                    <a:pt x="376" y="224"/>
                    <a:pt x="372" y="226"/>
                  </a:cubicBezTo>
                  <a:cubicBezTo>
                    <a:pt x="362" y="231"/>
                    <a:pt x="353" y="240"/>
                    <a:pt x="341" y="238"/>
                  </a:cubicBezTo>
                  <a:cubicBezTo>
                    <a:pt x="342" y="240"/>
                    <a:pt x="343" y="242"/>
                    <a:pt x="345" y="244"/>
                  </a:cubicBezTo>
                  <a:cubicBezTo>
                    <a:pt x="342" y="246"/>
                    <a:pt x="343" y="252"/>
                    <a:pt x="339" y="255"/>
                  </a:cubicBezTo>
                  <a:cubicBezTo>
                    <a:pt x="334" y="258"/>
                    <a:pt x="324" y="258"/>
                    <a:pt x="322" y="263"/>
                  </a:cubicBezTo>
                  <a:cubicBezTo>
                    <a:pt x="320" y="258"/>
                    <a:pt x="317" y="254"/>
                    <a:pt x="311" y="253"/>
                  </a:cubicBezTo>
                  <a:cubicBezTo>
                    <a:pt x="304" y="252"/>
                    <a:pt x="301" y="252"/>
                    <a:pt x="294" y="249"/>
                  </a:cubicBezTo>
                  <a:cubicBezTo>
                    <a:pt x="292" y="248"/>
                    <a:pt x="294" y="245"/>
                    <a:pt x="291" y="247"/>
                  </a:cubicBezTo>
                  <a:cubicBezTo>
                    <a:pt x="288" y="248"/>
                    <a:pt x="288" y="245"/>
                    <a:pt x="288" y="243"/>
                  </a:cubicBezTo>
                  <a:cubicBezTo>
                    <a:pt x="287" y="241"/>
                    <a:pt x="287" y="239"/>
                    <a:pt x="286" y="237"/>
                  </a:cubicBezTo>
                  <a:cubicBezTo>
                    <a:pt x="284" y="232"/>
                    <a:pt x="283" y="238"/>
                    <a:pt x="284" y="231"/>
                  </a:cubicBezTo>
                  <a:cubicBezTo>
                    <a:pt x="285" y="227"/>
                    <a:pt x="282" y="219"/>
                    <a:pt x="281" y="215"/>
                  </a:cubicBezTo>
                  <a:cubicBezTo>
                    <a:pt x="280" y="210"/>
                    <a:pt x="276" y="210"/>
                    <a:pt x="272" y="210"/>
                  </a:cubicBezTo>
                  <a:cubicBezTo>
                    <a:pt x="268" y="210"/>
                    <a:pt x="263" y="212"/>
                    <a:pt x="258" y="211"/>
                  </a:cubicBezTo>
                  <a:cubicBezTo>
                    <a:pt x="253" y="209"/>
                    <a:pt x="250" y="202"/>
                    <a:pt x="245" y="198"/>
                  </a:cubicBezTo>
                  <a:cubicBezTo>
                    <a:pt x="240" y="194"/>
                    <a:pt x="232" y="195"/>
                    <a:pt x="227" y="189"/>
                  </a:cubicBezTo>
                  <a:cubicBezTo>
                    <a:pt x="224" y="184"/>
                    <a:pt x="222" y="181"/>
                    <a:pt x="215" y="178"/>
                  </a:cubicBezTo>
                  <a:cubicBezTo>
                    <a:pt x="208" y="176"/>
                    <a:pt x="203" y="177"/>
                    <a:pt x="196" y="176"/>
                  </a:cubicBezTo>
                  <a:cubicBezTo>
                    <a:pt x="190" y="176"/>
                    <a:pt x="186" y="171"/>
                    <a:pt x="180" y="169"/>
                  </a:cubicBezTo>
                  <a:cubicBezTo>
                    <a:pt x="175" y="168"/>
                    <a:pt x="165" y="169"/>
                    <a:pt x="162" y="163"/>
                  </a:cubicBezTo>
                  <a:cubicBezTo>
                    <a:pt x="160" y="158"/>
                    <a:pt x="158" y="156"/>
                    <a:pt x="153" y="157"/>
                  </a:cubicBezTo>
                  <a:cubicBezTo>
                    <a:pt x="150" y="157"/>
                    <a:pt x="127" y="152"/>
                    <a:pt x="133" y="162"/>
                  </a:cubicBezTo>
                  <a:cubicBezTo>
                    <a:pt x="126" y="163"/>
                    <a:pt x="119" y="159"/>
                    <a:pt x="112" y="161"/>
                  </a:cubicBezTo>
                  <a:cubicBezTo>
                    <a:pt x="104" y="162"/>
                    <a:pt x="98" y="168"/>
                    <a:pt x="93" y="173"/>
                  </a:cubicBezTo>
                  <a:cubicBezTo>
                    <a:pt x="90" y="176"/>
                    <a:pt x="93" y="179"/>
                    <a:pt x="90" y="182"/>
                  </a:cubicBezTo>
                  <a:cubicBezTo>
                    <a:pt x="89" y="184"/>
                    <a:pt x="87" y="185"/>
                    <a:pt x="85" y="185"/>
                  </a:cubicBezTo>
                  <a:cubicBezTo>
                    <a:pt x="80" y="187"/>
                    <a:pt x="73" y="189"/>
                    <a:pt x="69" y="186"/>
                  </a:cubicBezTo>
                  <a:cubicBezTo>
                    <a:pt x="65" y="183"/>
                    <a:pt x="64" y="176"/>
                    <a:pt x="63" y="172"/>
                  </a:cubicBezTo>
                  <a:cubicBezTo>
                    <a:pt x="61" y="164"/>
                    <a:pt x="62" y="156"/>
                    <a:pt x="60" y="148"/>
                  </a:cubicBezTo>
                  <a:cubicBezTo>
                    <a:pt x="59" y="143"/>
                    <a:pt x="63" y="136"/>
                    <a:pt x="59" y="132"/>
                  </a:cubicBezTo>
                  <a:cubicBezTo>
                    <a:pt x="57" y="130"/>
                    <a:pt x="51" y="128"/>
                    <a:pt x="52" y="124"/>
                  </a:cubicBezTo>
                  <a:cubicBezTo>
                    <a:pt x="52" y="130"/>
                    <a:pt x="48" y="123"/>
                    <a:pt x="46" y="120"/>
                  </a:cubicBezTo>
                  <a:cubicBezTo>
                    <a:pt x="43" y="118"/>
                    <a:pt x="38" y="114"/>
                    <a:pt x="36" y="120"/>
                  </a:cubicBezTo>
                  <a:cubicBezTo>
                    <a:pt x="33" y="116"/>
                    <a:pt x="33" y="109"/>
                    <a:pt x="38" y="106"/>
                  </a:cubicBezTo>
                  <a:cubicBezTo>
                    <a:pt x="32" y="112"/>
                    <a:pt x="46" y="110"/>
                    <a:pt x="48" y="111"/>
                  </a:cubicBezTo>
                  <a:cubicBezTo>
                    <a:pt x="46" y="111"/>
                    <a:pt x="44" y="107"/>
                    <a:pt x="44" y="107"/>
                  </a:cubicBezTo>
                  <a:cubicBezTo>
                    <a:pt x="41" y="108"/>
                    <a:pt x="42" y="102"/>
                    <a:pt x="41" y="100"/>
                  </a:cubicBezTo>
                  <a:cubicBezTo>
                    <a:pt x="41" y="92"/>
                    <a:pt x="29" y="97"/>
                    <a:pt x="24" y="94"/>
                  </a:cubicBezTo>
                  <a:cubicBezTo>
                    <a:pt x="27" y="100"/>
                    <a:pt x="21" y="96"/>
                    <a:pt x="20" y="94"/>
                  </a:cubicBezTo>
                  <a:cubicBezTo>
                    <a:pt x="18" y="92"/>
                    <a:pt x="17" y="89"/>
                    <a:pt x="17" y="87"/>
                  </a:cubicBezTo>
                  <a:cubicBezTo>
                    <a:pt x="17" y="81"/>
                    <a:pt x="18" y="75"/>
                    <a:pt x="18" y="70"/>
                  </a:cubicBezTo>
                  <a:cubicBezTo>
                    <a:pt x="18" y="67"/>
                    <a:pt x="19" y="64"/>
                    <a:pt x="18" y="61"/>
                  </a:cubicBezTo>
                  <a:cubicBezTo>
                    <a:pt x="17" y="58"/>
                    <a:pt x="15" y="56"/>
                    <a:pt x="14" y="53"/>
                  </a:cubicBezTo>
                  <a:cubicBezTo>
                    <a:pt x="13" y="49"/>
                    <a:pt x="11" y="48"/>
                    <a:pt x="8" y="46"/>
                  </a:cubicBezTo>
                  <a:cubicBezTo>
                    <a:pt x="5" y="43"/>
                    <a:pt x="4" y="38"/>
                    <a:pt x="0" y="3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Freeform 666">
              <a:extLst>
                <a:ext uri="{FF2B5EF4-FFF2-40B4-BE49-F238E27FC236}">
                  <a16:creationId xmlns:a16="http://schemas.microsoft.com/office/drawing/2014/main" id="{DBF77AAA-EA75-4848-9B2B-49CE1BA0C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905" y="2061769"/>
              <a:ext cx="929862" cy="569484"/>
            </a:xfrm>
            <a:custGeom>
              <a:avLst/>
              <a:gdLst>
                <a:gd name="T0" fmla="*/ 57 w 429"/>
                <a:gd name="T1" fmla="*/ 22 h 263"/>
                <a:gd name="T2" fmla="*/ 112 w 429"/>
                <a:gd name="T3" fmla="*/ 51 h 263"/>
                <a:gd name="T4" fmla="*/ 132 w 429"/>
                <a:gd name="T5" fmla="*/ 46 h 263"/>
                <a:gd name="T6" fmla="*/ 149 w 429"/>
                <a:gd name="T7" fmla="*/ 14 h 263"/>
                <a:gd name="T8" fmla="*/ 154 w 429"/>
                <a:gd name="T9" fmla="*/ 6 h 263"/>
                <a:gd name="T10" fmla="*/ 171 w 429"/>
                <a:gd name="T11" fmla="*/ 5 h 263"/>
                <a:gd name="T12" fmla="*/ 189 w 429"/>
                <a:gd name="T13" fmla="*/ 16 h 263"/>
                <a:gd name="T14" fmla="*/ 209 w 429"/>
                <a:gd name="T15" fmla="*/ 24 h 263"/>
                <a:gd name="T16" fmla="*/ 214 w 429"/>
                <a:gd name="T17" fmla="*/ 37 h 263"/>
                <a:gd name="T18" fmla="*/ 235 w 429"/>
                <a:gd name="T19" fmla="*/ 53 h 263"/>
                <a:gd name="T20" fmla="*/ 256 w 429"/>
                <a:gd name="T21" fmla="*/ 51 h 263"/>
                <a:gd name="T22" fmla="*/ 284 w 429"/>
                <a:gd name="T23" fmla="*/ 79 h 263"/>
                <a:gd name="T24" fmla="*/ 320 w 429"/>
                <a:gd name="T25" fmla="*/ 112 h 263"/>
                <a:gd name="T26" fmla="*/ 378 w 429"/>
                <a:gd name="T27" fmla="*/ 145 h 263"/>
                <a:gd name="T28" fmla="*/ 426 w 429"/>
                <a:gd name="T29" fmla="*/ 165 h 263"/>
                <a:gd name="T30" fmla="*/ 428 w 429"/>
                <a:gd name="T31" fmla="*/ 184 h 263"/>
                <a:gd name="T32" fmla="*/ 402 w 429"/>
                <a:gd name="T33" fmla="*/ 186 h 263"/>
                <a:gd name="T34" fmla="*/ 384 w 429"/>
                <a:gd name="T35" fmla="*/ 192 h 263"/>
                <a:gd name="T36" fmla="*/ 380 w 429"/>
                <a:gd name="T37" fmla="*/ 217 h 263"/>
                <a:gd name="T38" fmla="*/ 341 w 429"/>
                <a:gd name="T39" fmla="*/ 238 h 263"/>
                <a:gd name="T40" fmla="*/ 339 w 429"/>
                <a:gd name="T41" fmla="*/ 255 h 263"/>
                <a:gd name="T42" fmla="*/ 311 w 429"/>
                <a:gd name="T43" fmla="*/ 253 h 263"/>
                <a:gd name="T44" fmla="*/ 291 w 429"/>
                <a:gd name="T45" fmla="*/ 247 h 263"/>
                <a:gd name="T46" fmla="*/ 286 w 429"/>
                <a:gd name="T47" fmla="*/ 237 h 263"/>
                <a:gd name="T48" fmla="*/ 281 w 429"/>
                <a:gd name="T49" fmla="*/ 215 h 263"/>
                <a:gd name="T50" fmla="*/ 258 w 429"/>
                <a:gd name="T51" fmla="*/ 211 h 263"/>
                <a:gd name="T52" fmla="*/ 227 w 429"/>
                <a:gd name="T53" fmla="*/ 189 h 263"/>
                <a:gd name="T54" fmla="*/ 196 w 429"/>
                <a:gd name="T55" fmla="*/ 176 h 263"/>
                <a:gd name="T56" fmla="*/ 162 w 429"/>
                <a:gd name="T57" fmla="*/ 163 h 263"/>
                <a:gd name="T58" fmla="*/ 133 w 429"/>
                <a:gd name="T59" fmla="*/ 162 h 263"/>
                <a:gd name="T60" fmla="*/ 93 w 429"/>
                <a:gd name="T61" fmla="*/ 173 h 263"/>
                <a:gd name="T62" fmla="*/ 85 w 429"/>
                <a:gd name="T63" fmla="*/ 185 h 263"/>
                <a:gd name="T64" fmla="*/ 63 w 429"/>
                <a:gd name="T65" fmla="*/ 172 h 263"/>
                <a:gd name="T66" fmla="*/ 59 w 429"/>
                <a:gd name="T67" fmla="*/ 132 h 263"/>
                <a:gd name="T68" fmla="*/ 46 w 429"/>
                <a:gd name="T69" fmla="*/ 120 h 263"/>
                <a:gd name="T70" fmla="*/ 38 w 429"/>
                <a:gd name="T71" fmla="*/ 106 h 263"/>
                <a:gd name="T72" fmla="*/ 44 w 429"/>
                <a:gd name="T73" fmla="*/ 107 h 263"/>
                <a:gd name="T74" fmla="*/ 24 w 429"/>
                <a:gd name="T75" fmla="*/ 94 h 263"/>
                <a:gd name="T76" fmla="*/ 17 w 429"/>
                <a:gd name="T77" fmla="*/ 87 h 263"/>
                <a:gd name="T78" fmla="*/ 18 w 429"/>
                <a:gd name="T79" fmla="*/ 61 h 263"/>
                <a:gd name="T80" fmla="*/ 8 w 429"/>
                <a:gd name="T81" fmla="*/ 46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9" h="263">
                  <a:moveTo>
                    <a:pt x="0" y="36"/>
                  </a:moveTo>
                  <a:cubicBezTo>
                    <a:pt x="14" y="16"/>
                    <a:pt x="36" y="12"/>
                    <a:pt x="57" y="22"/>
                  </a:cubicBezTo>
                  <a:cubicBezTo>
                    <a:pt x="67" y="27"/>
                    <a:pt x="72" y="35"/>
                    <a:pt x="79" y="43"/>
                  </a:cubicBezTo>
                  <a:cubicBezTo>
                    <a:pt x="89" y="54"/>
                    <a:pt x="99" y="50"/>
                    <a:pt x="112" y="51"/>
                  </a:cubicBezTo>
                  <a:cubicBezTo>
                    <a:pt x="118" y="51"/>
                    <a:pt x="124" y="51"/>
                    <a:pt x="130" y="52"/>
                  </a:cubicBezTo>
                  <a:cubicBezTo>
                    <a:pt x="137" y="53"/>
                    <a:pt x="133" y="48"/>
                    <a:pt x="132" y="46"/>
                  </a:cubicBezTo>
                  <a:cubicBezTo>
                    <a:pt x="127" y="35"/>
                    <a:pt x="125" y="31"/>
                    <a:pt x="134" y="23"/>
                  </a:cubicBezTo>
                  <a:cubicBezTo>
                    <a:pt x="139" y="17"/>
                    <a:pt x="149" y="25"/>
                    <a:pt x="149" y="14"/>
                  </a:cubicBezTo>
                  <a:cubicBezTo>
                    <a:pt x="149" y="4"/>
                    <a:pt x="162" y="16"/>
                    <a:pt x="166" y="17"/>
                  </a:cubicBezTo>
                  <a:cubicBezTo>
                    <a:pt x="164" y="15"/>
                    <a:pt x="154" y="6"/>
                    <a:pt x="154" y="6"/>
                  </a:cubicBezTo>
                  <a:cubicBezTo>
                    <a:pt x="153" y="3"/>
                    <a:pt x="164" y="6"/>
                    <a:pt x="164" y="4"/>
                  </a:cubicBezTo>
                  <a:cubicBezTo>
                    <a:pt x="165" y="0"/>
                    <a:pt x="169" y="3"/>
                    <a:pt x="171" y="5"/>
                  </a:cubicBezTo>
                  <a:cubicBezTo>
                    <a:pt x="175" y="8"/>
                    <a:pt x="179" y="8"/>
                    <a:pt x="182" y="9"/>
                  </a:cubicBezTo>
                  <a:cubicBezTo>
                    <a:pt x="186" y="11"/>
                    <a:pt x="186" y="15"/>
                    <a:pt x="189" y="16"/>
                  </a:cubicBezTo>
                  <a:cubicBezTo>
                    <a:pt x="193" y="17"/>
                    <a:pt x="197" y="16"/>
                    <a:pt x="200" y="16"/>
                  </a:cubicBezTo>
                  <a:cubicBezTo>
                    <a:pt x="205" y="16"/>
                    <a:pt x="208" y="19"/>
                    <a:pt x="209" y="24"/>
                  </a:cubicBezTo>
                  <a:cubicBezTo>
                    <a:pt x="210" y="30"/>
                    <a:pt x="215" y="29"/>
                    <a:pt x="217" y="34"/>
                  </a:cubicBezTo>
                  <a:cubicBezTo>
                    <a:pt x="214" y="34"/>
                    <a:pt x="213" y="34"/>
                    <a:pt x="214" y="37"/>
                  </a:cubicBezTo>
                  <a:cubicBezTo>
                    <a:pt x="217" y="40"/>
                    <a:pt x="216" y="40"/>
                    <a:pt x="216" y="44"/>
                  </a:cubicBezTo>
                  <a:cubicBezTo>
                    <a:pt x="215" y="51"/>
                    <a:pt x="231" y="53"/>
                    <a:pt x="235" y="53"/>
                  </a:cubicBezTo>
                  <a:cubicBezTo>
                    <a:pt x="240" y="52"/>
                    <a:pt x="244" y="54"/>
                    <a:pt x="249" y="55"/>
                  </a:cubicBezTo>
                  <a:cubicBezTo>
                    <a:pt x="255" y="56"/>
                    <a:pt x="252" y="51"/>
                    <a:pt x="256" y="51"/>
                  </a:cubicBezTo>
                  <a:cubicBezTo>
                    <a:pt x="267" y="51"/>
                    <a:pt x="272" y="62"/>
                    <a:pt x="276" y="70"/>
                  </a:cubicBezTo>
                  <a:cubicBezTo>
                    <a:pt x="278" y="74"/>
                    <a:pt x="281" y="76"/>
                    <a:pt x="284" y="79"/>
                  </a:cubicBezTo>
                  <a:cubicBezTo>
                    <a:pt x="289" y="83"/>
                    <a:pt x="290" y="88"/>
                    <a:pt x="292" y="93"/>
                  </a:cubicBezTo>
                  <a:cubicBezTo>
                    <a:pt x="297" y="102"/>
                    <a:pt x="311" y="107"/>
                    <a:pt x="320" y="112"/>
                  </a:cubicBezTo>
                  <a:cubicBezTo>
                    <a:pt x="330" y="118"/>
                    <a:pt x="339" y="127"/>
                    <a:pt x="350" y="130"/>
                  </a:cubicBezTo>
                  <a:cubicBezTo>
                    <a:pt x="360" y="133"/>
                    <a:pt x="370" y="140"/>
                    <a:pt x="378" y="145"/>
                  </a:cubicBezTo>
                  <a:cubicBezTo>
                    <a:pt x="386" y="151"/>
                    <a:pt x="392" y="157"/>
                    <a:pt x="402" y="156"/>
                  </a:cubicBezTo>
                  <a:cubicBezTo>
                    <a:pt x="408" y="155"/>
                    <a:pt x="422" y="160"/>
                    <a:pt x="426" y="165"/>
                  </a:cubicBezTo>
                  <a:cubicBezTo>
                    <a:pt x="428" y="167"/>
                    <a:pt x="425" y="169"/>
                    <a:pt x="425" y="172"/>
                  </a:cubicBezTo>
                  <a:cubicBezTo>
                    <a:pt x="425" y="176"/>
                    <a:pt x="428" y="180"/>
                    <a:pt x="428" y="184"/>
                  </a:cubicBezTo>
                  <a:cubicBezTo>
                    <a:pt x="429" y="192"/>
                    <a:pt x="409" y="182"/>
                    <a:pt x="406" y="180"/>
                  </a:cubicBezTo>
                  <a:cubicBezTo>
                    <a:pt x="403" y="178"/>
                    <a:pt x="402" y="185"/>
                    <a:pt x="402" y="186"/>
                  </a:cubicBezTo>
                  <a:cubicBezTo>
                    <a:pt x="402" y="191"/>
                    <a:pt x="399" y="191"/>
                    <a:pt x="395" y="191"/>
                  </a:cubicBezTo>
                  <a:cubicBezTo>
                    <a:pt x="391" y="191"/>
                    <a:pt x="387" y="191"/>
                    <a:pt x="384" y="192"/>
                  </a:cubicBezTo>
                  <a:cubicBezTo>
                    <a:pt x="379" y="195"/>
                    <a:pt x="382" y="199"/>
                    <a:pt x="381" y="203"/>
                  </a:cubicBezTo>
                  <a:cubicBezTo>
                    <a:pt x="380" y="209"/>
                    <a:pt x="379" y="211"/>
                    <a:pt x="380" y="217"/>
                  </a:cubicBezTo>
                  <a:cubicBezTo>
                    <a:pt x="380" y="222"/>
                    <a:pt x="376" y="224"/>
                    <a:pt x="372" y="226"/>
                  </a:cubicBezTo>
                  <a:cubicBezTo>
                    <a:pt x="362" y="231"/>
                    <a:pt x="353" y="240"/>
                    <a:pt x="341" y="238"/>
                  </a:cubicBezTo>
                  <a:cubicBezTo>
                    <a:pt x="342" y="240"/>
                    <a:pt x="343" y="242"/>
                    <a:pt x="345" y="244"/>
                  </a:cubicBezTo>
                  <a:cubicBezTo>
                    <a:pt x="342" y="246"/>
                    <a:pt x="343" y="252"/>
                    <a:pt x="339" y="255"/>
                  </a:cubicBezTo>
                  <a:cubicBezTo>
                    <a:pt x="334" y="258"/>
                    <a:pt x="324" y="258"/>
                    <a:pt x="322" y="263"/>
                  </a:cubicBezTo>
                  <a:cubicBezTo>
                    <a:pt x="320" y="258"/>
                    <a:pt x="317" y="254"/>
                    <a:pt x="311" y="253"/>
                  </a:cubicBezTo>
                  <a:cubicBezTo>
                    <a:pt x="304" y="252"/>
                    <a:pt x="301" y="252"/>
                    <a:pt x="294" y="249"/>
                  </a:cubicBezTo>
                  <a:cubicBezTo>
                    <a:pt x="292" y="248"/>
                    <a:pt x="294" y="245"/>
                    <a:pt x="291" y="247"/>
                  </a:cubicBezTo>
                  <a:cubicBezTo>
                    <a:pt x="288" y="248"/>
                    <a:pt x="288" y="245"/>
                    <a:pt x="288" y="243"/>
                  </a:cubicBezTo>
                  <a:cubicBezTo>
                    <a:pt x="287" y="241"/>
                    <a:pt x="287" y="239"/>
                    <a:pt x="286" y="237"/>
                  </a:cubicBezTo>
                  <a:cubicBezTo>
                    <a:pt x="284" y="232"/>
                    <a:pt x="283" y="238"/>
                    <a:pt x="284" y="231"/>
                  </a:cubicBezTo>
                  <a:cubicBezTo>
                    <a:pt x="285" y="227"/>
                    <a:pt x="282" y="219"/>
                    <a:pt x="281" y="215"/>
                  </a:cubicBezTo>
                  <a:cubicBezTo>
                    <a:pt x="280" y="210"/>
                    <a:pt x="276" y="210"/>
                    <a:pt x="272" y="210"/>
                  </a:cubicBezTo>
                  <a:cubicBezTo>
                    <a:pt x="268" y="210"/>
                    <a:pt x="263" y="212"/>
                    <a:pt x="258" y="211"/>
                  </a:cubicBezTo>
                  <a:cubicBezTo>
                    <a:pt x="253" y="209"/>
                    <a:pt x="250" y="202"/>
                    <a:pt x="245" y="198"/>
                  </a:cubicBezTo>
                  <a:cubicBezTo>
                    <a:pt x="240" y="194"/>
                    <a:pt x="232" y="195"/>
                    <a:pt x="227" y="189"/>
                  </a:cubicBezTo>
                  <a:cubicBezTo>
                    <a:pt x="224" y="184"/>
                    <a:pt x="222" y="181"/>
                    <a:pt x="215" y="178"/>
                  </a:cubicBezTo>
                  <a:cubicBezTo>
                    <a:pt x="208" y="176"/>
                    <a:pt x="203" y="177"/>
                    <a:pt x="196" y="176"/>
                  </a:cubicBezTo>
                  <a:cubicBezTo>
                    <a:pt x="190" y="176"/>
                    <a:pt x="186" y="171"/>
                    <a:pt x="180" y="169"/>
                  </a:cubicBezTo>
                  <a:cubicBezTo>
                    <a:pt x="175" y="168"/>
                    <a:pt x="165" y="169"/>
                    <a:pt x="162" y="163"/>
                  </a:cubicBezTo>
                  <a:cubicBezTo>
                    <a:pt x="160" y="158"/>
                    <a:pt x="158" y="156"/>
                    <a:pt x="153" y="157"/>
                  </a:cubicBezTo>
                  <a:cubicBezTo>
                    <a:pt x="150" y="157"/>
                    <a:pt x="127" y="152"/>
                    <a:pt x="133" y="162"/>
                  </a:cubicBezTo>
                  <a:cubicBezTo>
                    <a:pt x="126" y="163"/>
                    <a:pt x="119" y="159"/>
                    <a:pt x="112" y="161"/>
                  </a:cubicBezTo>
                  <a:cubicBezTo>
                    <a:pt x="104" y="162"/>
                    <a:pt x="98" y="168"/>
                    <a:pt x="93" y="173"/>
                  </a:cubicBezTo>
                  <a:cubicBezTo>
                    <a:pt x="90" y="176"/>
                    <a:pt x="93" y="179"/>
                    <a:pt x="90" y="182"/>
                  </a:cubicBezTo>
                  <a:cubicBezTo>
                    <a:pt x="89" y="184"/>
                    <a:pt x="87" y="185"/>
                    <a:pt x="85" y="185"/>
                  </a:cubicBezTo>
                  <a:cubicBezTo>
                    <a:pt x="80" y="187"/>
                    <a:pt x="73" y="189"/>
                    <a:pt x="69" y="186"/>
                  </a:cubicBezTo>
                  <a:cubicBezTo>
                    <a:pt x="65" y="183"/>
                    <a:pt x="64" y="176"/>
                    <a:pt x="63" y="172"/>
                  </a:cubicBezTo>
                  <a:cubicBezTo>
                    <a:pt x="61" y="164"/>
                    <a:pt x="62" y="156"/>
                    <a:pt x="60" y="148"/>
                  </a:cubicBezTo>
                  <a:cubicBezTo>
                    <a:pt x="59" y="143"/>
                    <a:pt x="63" y="136"/>
                    <a:pt x="59" y="132"/>
                  </a:cubicBezTo>
                  <a:cubicBezTo>
                    <a:pt x="57" y="130"/>
                    <a:pt x="51" y="128"/>
                    <a:pt x="52" y="124"/>
                  </a:cubicBezTo>
                  <a:cubicBezTo>
                    <a:pt x="52" y="130"/>
                    <a:pt x="48" y="123"/>
                    <a:pt x="46" y="120"/>
                  </a:cubicBezTo>
                  <a:cubicBezTo>
                    <a:pt x="43" y="118"/>
                    <a:pt x="38" y="114"/>
                    <a:pt x="36" y="120"/>
                  </a:cubicBezTo>
                  <a:cubicBezTo>
                    <a:pt x="33" y="116"/>
                    <a:pt x="33" y="109"/>
                    <a:pt x="38" y="106"/>
                  </a:cubicBezTo>
                  <a:cubicBezTo>
                    <a:pt x="32" y="112"/>
                    <a:pt x="46" y="110"/>
                    <a:pt x="48" y="111"/>
                  </a:cubicBezTo>
                  <a:cubicBezTo>
                    <a:pt x="46" y="111"/>
                    <a:pt x="44" y="107"/>
                    <a:pt x="44" y="107"/>
                  </a:cubicBezTo>
                  <a:cubicBezTo>
                    <a:pt x="41" y="108"/>
                    <a:pt x="42" y="102"/>
                    <a:pt x="41" y="100"/>
                  </a:cubicBezTo>
                  <a:cubicBezTo>
                    <a:pt x="41" y="92"/>
                    <a:pt x="29" y="97"/>
                    <a:pt x="24" y="94"/>
                  </a:cubicBezTo>
                  <a:cubicBezTo>
                    <a:pt x="27" y="100"/>
                    <a:pt x="21" y="96"/>
                    <a:pt x="20" y="94"/>
                  </a:cubicBezTo>
                  <a:cubicBezTo>
                    <a:pt x="18" y="92"/>
                    <a:pt x="17" y="89"/>
                    <a:pt x="17" y="87"/>
                  </a:cubicBezTo>
                  <a:cubicBezTo>
                    <a:pt x="17" y="81"/>
                    <a:pt x="18" y="75"/>
                    <a:pt x="18" y="70"/>
                  </a:cubicBezTo>
                  <a:cubicBezTo>
                    <a:pt x="18" y="67"/>
                    <a:pt x="19" y="64"/>
                    <a:pt x="18" y="61"/>
                  </a:cubicBezTo>
                  <a:cubicBezTo>
                    <a:pt x="17" y="58"/>
                    <a:pt x="15" y="56"/>
                    <a:pt x="14" y="53"/>
                  </a:cubicBezTo>
                  <a:cubicBezTo>
                    <a:pt x="13" y="49"/>
                    <a:pt x="11" y="48"/>
                    <a:pt x="8" y="46"/>
                  </a:cubicBezTo>
                  <a:cubicBezTo>
                    <a:pt x="5" y="43"/>
                    <a:pt x="4" y="38"/>
                    <a:pt x="0" y="3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Freeform 667">
              <a:extLst>
                <a:ext uri="{FF2B5EF4-FFF2-40B4-BE49-F238E27FC236}">
                  <a16:creationId xmlns:a16="http://schemas.microsoft.com/office/drawing/2014/main" id="{EC32B8F6-3A42-4679-9958-CF84E4BB5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9117" y="2987181"/>
              <a:ext cx="556138" cy="306989"/>
            </a:xfrm>
            <a:custGeom>
              <a:avLst/>
              <a:gdLst>
                <a:gd name="T0" fmla="*/ 2 w 256"/>
                <a:gd name="T1" fmla="*/ 51 h 142"/>
                <a:gd name="T2" fmla="*/ 5 w 256"/>
                <a:gd name="T3" fmla="*/ 38 h 142"/>
                <a:gd name="T4" fmla="*/ 6 w 256"/>
                <a:gd name="T5" fmla="*/ 31 h 142"/>
                <a:gd name="T6" fmla="*/ 8 w 256"/>
                <a:gd name="T7" fmla="*/ 21 h 142"/>
                <a:gd name="T8" fmla="*/ 24 w 256"/>
                <a:gd name="T9" fmla="*/ 11 h 142"/>
                <a:gd name="T10" fmla="*/ 29 w 256"/>
                <a:gd name="T11" fmla="*/ 14 h 142"/>
                <a:gd name="T12" fmla="*/ 32 w 256"/>
                <a:gd name="T13" fmla="*/ 3 h 142"/>
                <a:gd name="T14" fmla="*/ 39 w 256"/>
                <a:gd name="T15" fmla="*/ 1 h 142"/>
                <a:gd name="T16" fmla="*/ 51 w 256"/>
                <a:gd name="T17" fmla="*/ 5 h 142"/>
                <a:gd name="T18" fmla="*/ 78 w 256"/>
                <a:gd name="T19" fmla="*/ 24 h 142"/>
                <a:gd name="T20" fmla="*/ 94 w 256"/>
                <a:gd name="T21" fmla="*/ 34 h 142"/>
                <a:gd name="T22" fmla="*/ 109 w 256"/>
                <a:gd name="T23" fmla="*/ 41 h 142"/>
                <a:gd name="T24" fmla="*/ 120 w 256"/>
                <a:gd name="T25" fmla="*/ 43 h 142"/>
                <a:gd name="T26" fmla="*/ 126 w 256"/>
                <a:gd name="T27" fmla="*/ 54 h 142"/>
                <a:gd name="T28" fmla="*/ 146 w 256"/>
                <a:gd name="T29" fmla="*/ 64 h 142"/>
                <a:gd name="T30" fmla="*/ 154 w 256"/>
                <a:gd name="T31" fmla="*/ 65 h 142"/>
                <a:gd name="T32" fmla="*/ 155 w 256"/>
                <a:gd name="T33" fmla="*/ 72 h 142"/>
                <a:gd name="T34" fmla="*/ 171 w 256"/>
                <a:gd name="T35" fmla="*/ 72 h 142"/>
                <a:gd name="T36" fmla="*/ 182 w 256"/>
                <a:gd name="T37" fmla="*/ 86 h 142"/>
                <a:gd name="T38" fmla="*/ 186 w 256"/>
                <a:gd name="T39" fmla="*/ 79 h 142"/>
                <a:gd name="T40" fmla="*/ 198 w 256"/>
                <a:gd name="T41" fmla="*/ 85 h 142"/>
                <a:gd name="T42" fmla="*/ 201 w 256"/>
                <a:gd name="T43" fmla="*/ 81 h 142"/>
                <a:gd name="T44" fmla="*/ 209 w 256"/>
                <a:gd name="T45" fmla="*/ 84 h 142"/>
                <a:gd name="T46" fmla="*/ 217 w 256"/>
                <a:gd name="T47" fmla="*/ 89 h 142"/>
                <a:gd name="T48" fmla="*/ 226 w 256"/>
                <a:gd name="T49" fmla="*/ 90 h 142"/>
                <a:gd name="T50" fmla="*/ 245 w 256"/>
                <a:gd name="T51" fmla="*/ 89 h 142"/>
                <a:gd name="T52" fmla="*/ 246 w 256"/>
                <a:gd name="T53" fmla="*/ 111 h 142"/>
                <a:gd name="T54" fmla="*/ 253 w 256"/>
                <a:gd name="T55" fmla="*/ 134 h 142"/>
                <a:gd name="T56" fmla="*/ 238 w 256"/>
                <a:gd name="T57" fmla="*/ 139 h 142"/>
                <a:gd name="T58" fmla="*/ 222 w 256"/>
                <a:gd name="T59" fmla="*/ 134 h 142"/>
                <a:gd name="T60" fmla="*/ 209 w 256"/>
                <a:gd name="T61" fmla="*/ 136 h 142"/>
                <a:gd name="T62" fmla="*/ 190 w 256"/>
                <a:gd name="T63" fmla="*/ 131 h 142"/>
                <a:gd name="T64" fmla="*/ 181 w 256"/>
                <a:gd name="T65" fmla="*/ 127 h 142"/>
                <a:gd name="T66" fmla="*/ 167 w 256"/>
                <a:gd name="T67" fmla="*/ 127 h 142"/>
                <a:gd name="T68" fmla="*/ 155 w 256"/>
                <a:gd name="T69" fmla="*/ 120 h 142"/>
                <a:gd name="T70" fmla="*/ 148 w 256"/>
                <a:gd name="T71" fmla="*/ 111 h 142"/>
                <a:gd name="T72" fmla="*/ 123 w 256"/>
                <a:gd name="T73" fmla="*/ 106 h 142"/>
                <a:gd name="T74" fmla="*/ 111 w 256"/>
                <a:gd name="T75" fmla="*/ 103 h 142"/>
                <a:gd name="T76" fmla="*/ 98 w 256"/>
                <a:gd name="T77" fmla="*/ 104 h 142"/>
                <a:gd name="T78" fmla="*/ 88 w 256"/>
                <a:gd name="T79" fmla="*/ 98 h 142"/>
                <a:gd name="T80" fmla="*/ 77 w 256"/>
                <a:gd name="T81" fmla="*/ 94 h 142"/>
                <a:gd name="T82" fmla="*/ 64 w 256"/>
                <a:gd name="T83" fmla="*/ 88 h 142"/>
                <a:gd name="T84" fmla="*/ 47 w 256"/>
                <a:gd name="T85" fmla="*/ 81 h 142"/>
                <a:gd name="T86" fmla="*/ 33 w 256"/>
                <a:gd name="T87" fmla="*/ 70 h 142"/>
                <a:gd name="T88" fmla="*/ 17 w 256"/>
                <a:gd name="T89" fmla="*/ 61 h 142"/>
                <a:gd name="T90" fmla="*/ 8 w 256"/>
                <a:gd name="T91" fmla="*/ 59 h 142"/>
                <a:gd name="T92" fmla="*/ 2 w 256"/>
                <a:gd name="T93" fmla="*/ 5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6" h="142">
                  <a:moveTo>
                    <a:pt x="2" y="51"/>
                  </a:moveTo>
                  <a:cubicBezTo>
                    <a:pt x="4" y="46"/>
                    <a:pt x="7" y="43"/>
                    <a:pt x="5" y="38"/>
                  </a:cubicBezTo>
                  <a:cubicBezTo>
                    <a:pt x="4" y="35"/>
                    <a:pt x="4" y="34"/>
                    <a:pt x="6" y="31"/>
                  </a:cubicBezTo>
                  <a:cubicBezTo>
                    <a:pt x="8" y="27"/>
                    <a:pt x="5" y="24"/>
                    <a:pt x="8" y="21"/>
                  </a:cubicBezTo>
                  <a:cubicBezTo>
                    <a:pt x="13" y="16"/>
                    <a:pt x="17" y="6"/>
                    <a:pt x="24" y="11"/>
                  </a:cubicBezTo>
                  <a:cubicBezTo>
                    <a:pt x="25" y="12"/>
                    <a:pt x="27" y="16"/>
                    <a:pt x="29" y="14"/>
                  </a:cubicBezTo>
                  <a:cubicBezTo>
                    <a:pt x="32" y="12"/>
                    <a:pt x="32" y="7"/>
                    <a:pt x="32" y="3"/>
                  </a:cubicBezTo>
                  <a:cubicBezTo>
                    <a:pt x="36" y="4"/>
                    <a:pt x="36" y="0"/>
                    <a:pt x="39" y="1"/>
                  </a:cubicBezTo>
                  <a:cubicBezTo>
                    <a:pt x="43" y="2"/>
                    <a:pt x="48" y="1"/>
                    <a:pt x="51" y="5"/>
                  </a:cubicBezTo>
                  <a:cubicBezTo>
                    <a:pt x="57" y="13"/>
                    <a:pt x="70" y="20"/>
                    <a:pt x="78" y="24"/>
                  </a:cubicBezTo>
                  <a:cubicBezTo>
                    <a:pt x="85" y="28"/>
                    <a:pt x="90" y="28"/>
                    <a:pt x="94" y="34"/>
                  </a:cubicBezTo>
                  <a:cubicBezTo>
                    <a:pt x="99" y="40"/>
                    <a:pt x="102" y="45"/>
                    <a:pt x="109" y="41"/>
                  </a:cubicBezTo>
                  <a:cubicBezTo>
                    <a:pt x="113" y="39"/>
                    <a:pt x="117" y="40"/>
                    <a:pt x="120" y="43"/>
                  </a:cubicBezTo>
                  <a:cubicBezTo>
                    <a:pt x="123" y="46"/>
                    <a:pt x="123" y="52"/>
                    <a:pt x="126" y="54"/>
                  </a:cubicBezTo>
                  <a:cubicBezTo>
                    <a:pt x="132" y="57"/>
                    <a:pt x="140" y="64"/>
                    <a:pt x="146" y="64"/>
                  </a:cubicBezTo>
                  <a:cubicBezTo>
                    <a:pt x="150" y="64"/>
                    <a:pt x="152" y="62"/>
                    <a:pt x="154" y="65"/>
                  </a:cubicBezTo>
                  <a:cubicBezTo>
                    <a:pt x="156" y="67"/>
                    <a:pt x="151" y="69"/>
                    <a:pt x="155" y="72"/>
                  </a:cubicBezTo>
                  <a:cubicBezTo>
                    <a:pt x="157" y="74"/>
                    <a:pt x="170" y="78"/>
                    <a:pt x="171" y="72"/>
                  </a:cubicBezTo>
                  <a:cubicBezTo>
                    <a:pt x="173" y="78"/>
                    <a:pt x="179" y="81"/>
                    <a:pt x="182" y="86"/>
                  </a:cubicBezTo>
                  <a:cubicBezTo>
                    <a:pt x="185" y="92"/>
                    <a:pt x="185" y="80"/>
                    <a:pt x="186" y="79"/>
                  </a:cubicBezTo>
                  <a:cubicBezTo>
                    <a:pt x="186" y="82"/>
                    <a:pt x="195" y="90"/>
                    <a:pt x="198" y="85"/>
                  </a:cubicBezTo>
                  <a:cubicBezTo>
                    <a:pt x="199" y="83"/>
                    <a:pt x="198" y="80"/>
                    <a:pt x="201" y="81"/>
                  </a:cubicBezTo>
                  <a:cubicBezTo>
                    <a:pt x="204" y="83"/>
                    <a:pt x="206" y="83"/>
                    <a:pt x="209" y="84"/>
                  </a:cubicBezTo>
                  <a:cubicBezTo>
                    <a:pt x="213" y="86"/>
                    <a:pt x="214" y="88"/>
                    <a:pt x="217" y="89"/>
                  </a:cubicBezTo>
                  <a:cubicBezTo>
                    <a:pt x="220" y="91"/>
                    <a:pt x="223" y="89"/>
                    <a:pt x="226" y="90"/>
                  </a:cubicBezTo>
                  <a:cubicBezTo>
                    <a:pt x="232" y="93"/>
                    <a:pt x="239" y="87"/>
                    <a:pt x="245" y="89"/>
                  </a:cubicBezTo>
                  <a:cubicBezTo>
                    <a:pt x="251" y="91"/>
                    <a:pt x="245" y="107"/>
                    <a:pt x="246" y="111"/>
                  </a:cubicBezTo>
                  <a:cubicBezTo>
                    <a:pt x="247" y="120"/>
                    <a:pt x="256" y="124"/>
                    <a:pt x="253" y="134"/>
                  </a:cubicBezTo>
                  <a:cubicBezTo>
                    <a:pt x="252" y="142"/>
                    <a:pt x="245" y="138"/>
                    <a:pt x="238" y="139"/>
                  </a:cubicBezTo>
                  <a:cubicBezTo>
                    <a:pt x="232" y="140"/>
                    <a:pt x="223" y="142"/>
                    <a:pt x="222" y="134"/>
                  </a:cubicBezTo>
                  <a:cubicBezTo>
                    <a:pt x="217" y="135"/>
                    <a:pt x="215" y="140"/>
                    <a:pt x="209" y="136"/>
                  </a:cubicBezTo>
                  <a:cubicBezTo>
                    <a:pt x="206" y="135"/>
                    <a:pt x="193" y="130"/>
                    <a:pt x="190" y="131"/>
                  </a:cubicBezTo>
                  <a:cubicBezTo>
                    <a:pt x="184" y="134"/>
                    <a:pt x="185" y="131"/>
                    <a:pt x="181" y="127"/>
                  </a:cubicBezTo>
                  <a:cubicBezTo>
                    <a:pt x="176" y="122"/>
                    <a:pt x="173" y="129"/>
                    <a:pt x="167" y="127"/>
                  </a:cubicBezTo>
                  <a:cubicBezTo>
                    <a:pt x="163" y="126"/>
                    <a:pt x="160" y="121"/>
                    <a:pt x="155" y="120"/>
                  </a:cubicBezTo>
                  <a:cubicBezTo>
                    <a:pt x="149" y="118"/>
                    <a:pt x="150" y="116"/>
                    <a:pt x="148" y="111"/>
                  </a:cubicBezTo>
                  <a:cubicBezTo>
                    <a:pt x="145" y="106"/>
                    <a:pt x="120" y="99"/>
                    <a:pt x="123" y="106"/>
                  </a:cubicBezTo>
                  <a:cubicBezTo>
                    <a:pt x="119" y="105"/>
                    <a:pt x="115" y="101"/>
                    <a:pt x="111" y="103"/>
                  </a:cubicBezTo>
                  <a:cubicBezTo>
                    <a:pt x="105" y="106"/>
                    <a:pt x="104" y="106"/>
                    <a:pt x="98" y="104"/>
                  </a:cubicBezTo>
                  <a:cubicBezTo>
                    <a:pt x="95" y="102"/>
                    <a:pt x="90" y="102"/>
                    <a:pt x="88" y="98"/>
                  </a:cubicBezTo>
                  <a:cubicBezTo>
                    <a:pt x="86" y="92"/>
                    <a:pt x="82" y="96"/>
                    <a:pt x="77" y="94"/>
                  </a:cubicBezTo>
                  <a:cubicBezTo>
                    <a:pt x="73" y="91"/>
                    <a:pt x="69" y="89"/>
                    <a:pt x="64" y="88"/>
                  </a:cubicBezTo>
                  <a:cubicBezTo>
                    <a:pt x="57" y="87"/>
                    <a:pt x="53" y="83"/>
                    <a:pt x="47" y="81"/>
                  </a:cubicBezTo>
                  <a:cubicBezTo>
                    <a:pt x="41" y="78"/>
                    <a:pt x="38" y="73"/>
                    <a:pt x="33" y="70"/>
                  </a:cubicBezTo>
                  <a:cubicBezTo>
                    <a:pt x="28" y="66"/>
                    <a:pt x="22" y="64"/>
                    <a:pt x="17" y="61"/>
                  </a:cubicBezTo>
                  <a:cubicBezTo>
                    <a:pt x="17" y="66"/>
                    <a:pt x="11" y="61"/>
                    <a:pt x="8" y="59"/>
                  </a:cubicBezTo>
                  <a:cubicBezTo>
                    <a:pt x="5" y="58"/>
                    <a:pt x="0" y="54"/>
                    <a:pt x="2" y="5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Freeform 668">
              <a:extLst>
                <a:ext uri="{FF2B5EF4-FFF2-40B4-BE49-F238E27FC236}">
                  <a16:creationId xmlns:a16="http://schemas.microsoft.com/office/drawing/2014/main" id="{81258CFC-12EC-4B8F-9BBC-AA4857F77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9117" y="2987181"/>
              <a:ext cx="556138" cy="306989"/>
            </a:xfrm>
            <a:custGeom>
              <a:avLst/>
              <a:gdLst>
                <a:gd name="T0" fmla="*/ 2 w 256"/>
                <a:gd name="T1" fmla="*/ 51 h 142"/>
                <a:gd name="T2" fmla="*/ 5 w 256"/>
                <a:gd name="T3" fmla="*/ 38 h 142"/>
                <a:gd name="T4" fmla="*/ 6 w 256"/>
                <a:gd name="T5" fmla="*/ 31 h 142"/>
                <a:gd name="T6" fmla="*/ 8 w 256"/>
                <a:gd name="T7" fmla="*/ 21 h 142"/>
                <a:gd name="T8" fmla="*/ 24 w 256"/>
                <a:gd name="T9" fmla="*/ 11 h 142"/>
                <a:gd name="T10" fmla="*/ 29 w 256"/>
                <a:gd name="T11" fmla="*/ 14 h 142"/>
                <a:gd name="T12" fmla="*/ 32 w 256"/>
                <a:gd name="T13" fmla="*/ 3 h 142"/>
                <a:gd name="T14" fmla="*/ 39 w 256"/>
                <a:gd name="T15" fmla="*/ 1 h 142"/>
                <a:gd name="T16" fmla="*/ 51 w 256"/>
                <a:gd name="T17" fmla="*/ 5 h 142"/>
                <a:gd name="T18" fmla="*/ 78 w 256"/>
                <a:gd name="T19" fmla="*/ 24 h 142"/>
                <a:gd name="T20" fmla="*/ 94 w 256"/>
                <a:gd name="T21" fmla="*/ 34 h 142"/>
                <a:gd name="T22" fmla="*/ 109 w 256"/>
                <a:gd name="T23" fmla="*/ 41 h 142"/>
                <a:gd name="T24" fmla="*/ 120 w 256"/>
                <a:gd name="T25" fmla="*/ 43 h 142"/>
                <a:gd name="T26" fmla="*/ 126 w 256"/>
                <a:gd name="T27" fmla="*/ 54 h 142"/>
                <a:gd name="T28" fmla="*/ 146 w 256"/>
                <a:gd name="T29" fmla="*/ 64 h 142"/>
                <a:gd name="T30" fmla="*/ 154 w 256"/>
                <a:gd name="T31" fmla="*/ 65 h 142"/>
                <a:gd name="T32" fmla="*/ 155 w 256"/>
                <a:gd name="T33" fmla="*/ 72 h 142"/>
                <a:gd name="T34" fmla="*/ 171 w 256"/>
                <a:gd name="T35" fmla="*/ 72 h 142"/>
                <a:gd name="T36" fmla="*/ 182 w 256"/>
                <a:gd name="T37" fmla="*/ 86 h 142"/>
                <a:gd name="T38" fmla="*/ 186 w 256"/>
                <a:gd name="T39" fmla="*/ 79 h 142"/>
                <a:gd name="T40" fmla="*/ 198 w 256"/>
                <a:gd name="T41" fmla="*/ 85 h 142"/>
                <a:gd name="T42" fmla="*/ 201 w 256"/>
                <a:gd name="T43" fmla="*/ 81 h 142"/>
                <a:gd name="T44" fmla="*/ 209 w 256"/>
                <a:gd name="T45" fmla="*/ 84 h 142"/>
                <a:gd name="T46" fmla="*/ 217 w 256"/>
                <a:gd name="T47" fmla="*/ 89 h 142"/>
                <a:gd name="T48" fmla="*/ 226 w 256"/>
                <a:gd name="T49" fmla="*/ 90 h 142"/>
                <a:gd name="T50" fmla="*/ 245 w 256"/>
                <a:gd name="T51" fmla="*/ 89 h 142"/>
                <a:gd name="T52" fmla="*/ 246 w 256"/>
                <a:gd name="T53" fmla="*/ 111 h 142"/>
                <a:gd name="T54" fmla="*/ 253 w 256"/>
                <a:gd name="T55" fmla="*/ 134 h 142"/>
                <a:gd name="T56" fmla="*/ 238 w 256"/>
                <a:gd name="T57" fmla="*/ 139 h 142"/>
                <a:gd name="T58" fmla="*/ 222 w 256"/>
                <a:gd name="T59" fmla="*/ 134 h 142"/>
                <a:gd name="T60" fmla="*/ 209 w 256"/>
                <a:gd name="T61" fmla="*/ 136 h 142"/>
                <a:gd name="T62" fmla="*/ 190 w 256"/>
                <a:gd name="T63" fmla="*/ 131 h 142"/>
                <a:gd name="T64" fmla="*/ 181 w 256"/>
                <a:gd name="T65" fmla="*/ 127 h 142"/>
                <a:gd name="T66" fmla="*/ 167 w 256"/>
                <a:gd name="T67" fmla="*/ 127 h 142"/>
                <a:gd name="T68" fmla="*/ 155 w 256"/>
                <a:gd name="T69" fmla="*/ 120 h 142"/>
                <a:gd name="T70" fmla="*/ 148 w 256"/>
                <a:gd name="T71" fmla="*/ 111 h 142"/>
                <a:gd name="T72" fmla="*/ 123 w 256"/>
                <a:gd name="T73" fmla="*/ 106 h 142"/>
                <a:gd name="T74" fmla="*/ 111 w 256"/>
                <a:gd name="T75" fmla="*/ 103 h 142"/>
                <a:gd name="T76" fmla="*/ 98 w 256"/>
                <a:gd name="T77" fmla="*/ 104 h 142"/>
                <a:gd name="T78" fmla="*/ 88 w 256"/>
                <a:gd name="T79" fmla="*/ 98 h 142"/>
                <a:gd name="T80" fmla="*/ 77 w 256"/>
                <a:gd name="T81" fmla="*/ 94 h 142"/>
                <a:gd name="T82" fmla="*/ 64 w 256"/>
                <a:gd name="T83" fmla="*/ 88 h 142"/>
                <a:gd name="T84" fmla="*/ 47 w 256"/>
                <a:gd name="T85" fmla="*/ 81 h 142"/>
                <a:gd name="T86" fmla="*/ 33 w 256"/>
                <a:gd name="T87" fmla="*/ 70 h 142"/>
                <a:gd name="T88" fmla="*/ 17 w 256"/>
                <a:gd name="T89" fmla="*/ 61 h 142"/>
                <a:gd name="T90" fmla="*/ 8 w 256"/>
                <a:gd name="T91" fmla="*/ 59 h 142"/>
                <a:gd name="T92" fmla="*/ 2 w 256"/>
                <a:gd name="T93" fmla="*/ 5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6" h="142">
                  <a:moveTo>
                    <a:pt x="2" y="51"/>
                  </a:moveTo>
                  <a:cubicBezTo>
                    <a:pt x="4" y="46"/>
                    <a:pt x="7" y="43"/>
                    <a:pt x="5" y="38"/>
                  </a:cubicBezTo>
                  <a:cubicBezTo>
                    <a:pt x="4" y="35"/>
                    <a:pt x="4" y="34"/>
                    <a:pt x="6" y="31"/>
                  </a:cubicBezTo>
                  <a:cubicBezTo>
                    <a:pt x="8" y="27"/>
                    <a:pt x="5" y="24"/>
                    <a:pt x="8" y="21"/>
                  </a:cubicBezTo>
                  <a:cubicBezTo>
                    <a:pt x="13" y="16"/>
                    <a:pt x="17" y="6"/>
                    <a:pt x="24" y="11"/>
                  </a:cubicBezTo>
                  <a:cubicBezTo>
                    <a:pt x="25" y="12"/>
                    <a:pt x="27" y="16"/>
                    <a:pt x="29" y="14"/>
                  </a:cubicBezTo>
                  <a:cubicBezTo>
                    <a:pt x="32" y="12"/>
                    <a:pt x="32" y="7"/>
                    <a:pt x="32" y="3"/>
                  </a:cubicBezTo>
                  <a:cubicBezTo>
                    <a:pt x="36" y="4"/>
                    <a:pt x="36" y="0"/>
                    <a:pt x="39" y="1"/>
                  </a:cubicBezTo>
                  <a:cubicBezTo>
                    <a:pt x="43" y="2"/>
                    <a:pt x="48" y="1"/>
                    <a:pt x="51" y="5"/>
                  </a:cubicBezTo>
                  <a:cubicBezTo>
                    <a:pt x="57" y="13"/>
                    <a:pt x="70" y="20"/>
                    <a:pt x="78" y="24"/>
                  </a:cubicBezTo>
                  <a:cubicBezTo>
                    <a:pt x="85" y="28"/>
                    <a:pt x="90" y="28"/>
                    <a:pt x="94" y="34"/>
                  </a:cubicBezTo>
                  <a:cubicBezTo>
                    <a:pt x="99" y="40"/>
                    <a:pt x="102" y="45"/>
                    <a:pt x="109" y="41"/>
                  </a:cubicBezTo>
                  <a:cubicBezTo>
                    <a:pt x="113" y="39"/>
                    <a:pt x="117" y="40"/>
                    <a:pt x="120" y="43"/>
                  </a:cubicBezTo>
                  <a:cubicBezTo>
                    <a:pt x="123" y="46"/>
                    <a:pt x="123" y="52"/>
                    <a:pt x="126" y="54"/>
                  </a:cubicBezTo>
                  <a:cubicBezTo>
                    <a:pt x="132" y="57"/>
                    <a:pt x="140" y="64"/>
                    <a:pt x="146" y="64"/>
                  </a:cubicBezTo>
                  <a:cubicBezTo>
                    <a:pt x="150" y="64"/>
                    <a:pt x="152" y="62"/>
                    <a:pt x="154" y="65"/>
                  </a:cubicBezTo>
                  <a:cubicBezTo>
                    <a:pt x="156" y="67"/>
                    <a:pt x="151" y="69"/>
                    <a:pt x="155" y="72"/>
                  </a:cubicBezTo>
                  <a:cubicBezTo>
                    <a:pt x="157" y="74"/>
                    <a:pt x="170" y="78"/>
                    <a:pt x="171" y="72"/>
                  </a:cubicBezTo>
                  <a:cubicBezTo>
                    <a:pt x="173" y="78"/>
                    <a:pt x="179" y="81"/>
                    <a:pt x="182" y="86"/>
                  </a:cubicBezTo>
                  <a:cubicBezTo>
                    <a:pt x="185" y="92"/>
                    <a:pt x="185" y="80"/>
                    <a:pt x="186" y="79"/>
                  </a:cubicBezTo>
                  <a:cubicBezTo>
                    <a:pt x="186" y="82"/>
                    <a:pt x="195" y="90"/>
                    <a:pt x="198" y="85"/>
                  </a:cubicBezTo>
                  <a:cubicBezTo>
                    <a:pt x="199" y="83"/>
                    <a:pt x="198" y="80"/>
                    <a:pt x="201" y="81"/>
                  </a:cubicBezTo>
                  <a:cubicBezTo>
                    <a:pt x="204" y="83"/>
                    <a:pt x="206" y="83"/>
                    <a:pt x="209" y="84"/>
                  </a:cubicBezTo>
                  <a:cubicBezTo>
                    <a:pt x="213" y="86"/>
                    <a:pt x="214" y="88"/>
                    <a:pt x="217" y="89"/>
                  </a:cubicBezTo>
                  <a:cubicBezTo>
                    <a:pt x="220" y="91"/>
                    <a:pt x="223" y="89"/>
                    <a:pt x="226" y="90"/>
                  </a:cubicBezTo>
                  <a:cubicBezTo>
                    <a:pt x="232" y="93"/>
                    <a:pt x="239" y="87"/>
                    <a:pt x="245" y="89"/>
                  </a:cubicBezTo>
                  <a:cubicBezTo>
                    <a:pt x="251" y="91"/>
                    <a:pt x="245" y="107"/>
                    <a:pt x="246" y="111"/>
                  </a:cubicBezTo>
                  <a:cubicBezTo>
                    <a:pt x="247" y="120"/>
                    <a:pt x="256" y="124"/>
                    <a:pt x="253" y="134"/>
                  </a:cubicBezTo>
                  <a:cubicBezTo>
                    <a:pt x="252" y="142"/>
                    <a:pt x="245" y="138"/>
                    <a:pt x="238" y="139"/>
                  </a:cubicBezTo>
                  <a:cubicBezTo>
                    <a:pt x="232" y="140"/>
                    <a:pt x="223" y="142"/>
                    <a:pt x="222" y="134"/>
                  </a:cubicBezTo>
                  <a:cubicBezTo>
                    <a:pt x="217" y="135"/>
                    <a:pt x="215" y="140"/>
                    <a:pt x="209" y="136"/>
                  </a:cubicBezTo>
                  <a:cubicBezTo>
                    <a:pt x="206" y="135"/>
                    <a:pt x="193" y="130"/>
                    <a:pt x="190" y="131"/>
                  </a:cubicBezTo>
                  <a:cubicBezTo>
                    <a:pt x="184" y="134"/>
                    <a:pt x="185" y="131"/>
                    <a:pt x="181" y="127"/>
                  </a:cubicBezTo>
                  <a:cubicBezTo>
                    <a:pt x="176" y="122"/>
                    <a:pt x="173" y="129"/>
                    <a:pt x="167" y="127"/>
                  </a:cubicBezTo>
                  <a:cubicBezTo>
                    <a:pt x="163" y="126"/>
                    <a:pt x="160" y="121"/>
                    <a:pt x="155" y="120"/>
                  </a:cubicBezTo>
                  <a:cubicBezTo>
                    <a:pt x="149" y="118"/>
                    <a:pt x="150" y="116"/>
                    <a:pt x="148" y="111"/>
                  </a:cubicBezTo>
                  <a:cubicBezTo>
                    <a:pt x="145" y="106"/>
                    <a:pt x="120" y="99"/>
                    <a:pt x="123" y="106"/>
                  </a:cubicBezTo>
                  <a:cubicBezTo>
                    <a:pt x="119" y="105"/>
                    <a:pt x="115" y="101"/>
                    <a:pt x="111" y="103"/>
                  </a:cubicBezTo>
                  <a:cubicBezTo>
                    <a:pt x="105" y="106"/>
                    <a:pt x="104" y="106"/>
                    <a:pt x="98" y="104"/>
                  </a:cubicBezTo>
                  <a:cubicBezTo>
                    <a:pt x="95" y="102"/>
                    <a:pt x="90" y="102"/>
                    <a:pt x="88" y="98"/>
                  </a:cubicBezTo>
                  <a:cubicBezTo>
                    <a:pt x="86" y="92"/>
                    <a:pt x="82" y="96"/>
                    <a:pt x="77" y="94"/>
                  </a:cubicBezTo>
                  <a:cubicBezTo>
                    <a:pt x="73" y="91"/>
                    <a:pt x="69" y="89"/>
                    <a:pt x="64" y="88"/>
                  </a:cubicBezTo>
                  <a:cubicBezTo>
                    <a:pt x="57" y="87"/>
                    <a:pt x="53" y="83"/>
                    <a:pt x="47" y="81"/>
                  </a:cubicBezTo>
                  <a:cubicBezTo>
                    <a:pt x="41" y="78"/>
                    <a:pt x="38" y="73"/>
                    <a:pt x="33" y="70"/>
                  </a:cubicBezTo>
                  <a:cubicBezTo>
                    <a:pt x="28" y="66"/>
                    <a:pt x="22" y="64"/>
                    <a:pt x="17" y="61"/>
                  </a:cubicBezTo>
                  <a:cubicBezTo>
                    <a:pt x="17" y="66"/>
                    <a:pt x="11" y="61"/>
                    <a:pt x="8" y="59"/>
                  </a:cubicBezTo>
                  <a:cubicBezTo>
                    <a:pt x="5" y="58"/>
                    <a:pt x="0" y="54"/>
                    <a:pt x="2" y="51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Freeform 669">
              <a:extLst>
                <a:ext uri="{FF2B5EF4-FFF2-40B4-BE49-F238E27FC236}">
                  <a16:creationId xmlns:a16="http://schemas.microsoft.com/office/drawing/2014/main" id="{6D5F3AA1-15B6-4822-BABC-25DA52794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9425" y="4891395"/>
              <a:ext cx="66738" cy="84534"/>
            </a:xfrm>
            <a:custGeom>
              <a:avLst/>
              <a:gdLst>
                <a:gd name="T0" fmla="*/ 0 w 30"/>
                <a:gd name="T1" fmla="*/ 16 h 40"/>
                <a:gd name="T2" fmla="*/ 25 w 30"/>
                <a:gd name="T3" fmla="*/ 2 h 40"/>
                <a:gd name="T4" fmla="*/ 26 w 30"/>
                <a:gd name="T5" fmla="*/ 8 h 40"/>
                <a:gd name="T6" fmla="*/ 22 w 30"/>
                <a:gd name="T7" fmla="*/ 18 h 40"/>
                <a:gd name="T8" fmla="*/ 18 w 30"/>
                <a:gd name="T9" fmla="*/ 35 h 40"/>
                <a:gd name="T10" fmla="*/ 7 w 30"/>
                <a:gd name="T11" fmla="*/ 27 h 40"/>
                <a:gd name="T12" fmla="*/ 0 w 30"/>
                <a:gd name="T13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0">
                  <a:moveTo>
                    <a:pt x="0" y="16"/>
                  </a:moveTo>
                  <a:cubicBezTo>
                    <a:pt x="12" y="16"/>
                    <a:pt x="16" y="6"/>
                    <a:pt x="25" y="2"/>
                  </a:cubicBezTo>
                  <a:cubicBezTo>
                    <a:pt x="30" y="0"/>
                    <a:pt x="28" y="6"/>
                    <a:pt x="26" y="8"/>
                  </a:cubicBezTo>
                  <a:cubicBezTo>
                    <a:pt x="22" y="11"/>
                    <a:pt x="21" y="12"/>
                    <a:pt x="22" y="18"/>
                  </a:cubicBezTo>
                  <a:cubicBezTo>
                    <a:pt x="22" y="18"/>
                    <a:pt x="24" y="40"/>
                    <a:pt x="18" y="35"/>
                  </a:cubicBezTo>
                  <a:cubicBezTo>
                    <a:pt x="15" y="33"/>
                    <a:pt x="9" y="29"/>
                    <a:pt x="7" y="27"/>
                  </a:cubicBezTo>
                  <a:cubicBezTo>
                    <a:pt x="5" y="22"/>
                    <a:pt x="6" y="18"/>
                    <a:pt x="0" y="1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Freeform 670">
              <a:extLst>
                <a:ext uri="{FF2B5EF4-FFF2-40B4-BE49-F238E27FC236}">
                  <a16:creationId xmlns:a16="http://schemas.microsoft.com/office/drawing/2014/main" id="{A7CDC50E-3738-453D-A82F-82E18EE0A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9425" y="4891395"/>
              <a:ext cx="66738" cy="84534"/>
            </a:xfrm>
            <a:custGeom>
              <a:avLst/>
              <a:gdLst>
                <a:gd name="T0" fmla="*/ 0 w 30"/>
                <a:gd name="T1" fmla="*/ 16 h 40"/>
                <a:gd name="T2" fmla="*/ 25 w 30"/>
                <a:gd name="T3" fmla="*/ 2 h 40"/>
                <a:gd name="T4" fmla="*/ 26 w 30"/>
                <a:gd name="T5" fmla="*/ 8 h 40"/>
                <a:gd name="T6" fmla="*/ 22 w 30"/>
                <a:gd name="T7" fmla="*/ 18 h 40"/>
                <a:gd name="T8" fmla="*/ 18 w 30"/>
                <a:gd name="T9" fmla="*/ 35 h 40"/>
                <a:gd name="T10" fmla="*/ 7 w 30"/>
                <a:gd name="T11" fmla="*/ 27 h 40"/>
                <a:gd name="T12" fmla="*/ 0 w 30"/>
                <a:gd name="T13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0">
                  <a:moveTo>
                    <a:pt x="0" y="16"/>
                  </a:moveTo>
                  <a:cubicBezTo>
                    <a:pt x="12" y="16"/>
                    <a:pt x="16" y="6"/>
                    <a:pt x="25" y="2"/>
                  </a:cubicBezTo>
                  <a:cubicBezTo>
                    <a:pt x="30" y="0"/>
                    <a:pt x="28" y="6"/>
                    <a:pt x="26" y="8"/>
                  </a:cubicBezTo>
                  <a:cubicBezTo>
                    <a:pt x="22" y="11"/>
                    <a:pt x="21" y="12"/>
                    <a:pt x="22" y="18"/>
                  </a:cubicBezTo>
                  <a:cubicBezTo>
                    <a:pt x="22" y="18"/>
                    <a:pt x="24" y="40"/>
                    <a:pt x="18" y="35"/>
                  </a:cubicBezTo>
                  <a:cubicBezTo>
                    <a:pt x="15" y="33"/>
                    <a:pt x="9" y="29"/>
                    <a:pt x="7" y="27"/>
                  </a:cubicBezTo>
                  <a:cubicBezTo>
                    <a:pt x="5" y="22"/>
                    <a:pt x="6" y="18"/>
                    <a:pt x="0" y="1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Freeform 671">
              <a:extLst>
                <a:ext uri="{FF2B5EF4-FFF2-40B4-BE49-F238E27FC236}">
                  <a16:creationId xmlns:a16="http://schemas.microsoft.com/office/drawing/2014/main" id="{6725FDE2-6784-4B8F-800E-EB0D8CFBB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7265" y="4900293"/>
              <a:ext cx="22247" cy="44491"/>
            </a:xfrm>
            <a:custGeom>
              <a:avLst/>
              <a:gdLst>
                <a:gd name="T0" fmla="*/ 1 w 10"/>
                <a:gd name="T1" fmla="*/ 7 h 20"/>
                <a:gd name="T2" fmla="*/ 4 w 10"/>
                <a:gd name="T3" fmla="*/ 0 h 20"/>
                <a:gd name="T4" fmla="*/ 10 w 10"/>
                <a:gd name="T5" fmla="*/ 20 h 20"/>
                <a:gd name="T6" fmla="*/ 1 w 10"/>
                <a:gd name="T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1" y="7"/>
                  </a:moveTo>
                  <a:cubicBezTo>
                    <a:pt x="0" y="1"/>
                    <a:pt x="3" y="5"/>
                    <a:pt x="4" y="0"/>
                  </a:cubicBezTo>
                  <a:cubicBezTo>
                    <a:pt x="9" y="6"/>
                    <a:pt x="10" y="14"/>
                    <a:pt x="10" y="20"/>
                  </a:cubicBezTo>
                  <a:cubicBezTo>
                    <a:pt x="3" y="19"/>
                    <a:pt x="1" y="13"/>
                    <a:pt x="1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Freeform 672">
              <a:extLst>
                <a:ext uri="{FF2B5EF4-FFF2-40B4-BE49-F238E27FC236}">
                  <a16:creationId xmlns:a16="http://schemas.microsoft.com/office/drawing/2014/main" id="{22AACA9C-A6D2-490D-AD95-FE149374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7265" y="4900293"/>
              <a:ext cx="22247" cy="44491"/>
            </a:xfrm>
            <a:custGeom>
              <a:avLst/>
              <a:gdLst>
                <a:gd name="T0" fmla="*/ 1 w 10"/>
                <a:gd name="T1" fmla="*/ 7 h 20"/>
                <a:gd name="T2" fmla="*/ 4 w 10"/>
                <a:gd name="T3" fmla="*/ 0 h 20"/>
                <a:gd name="T4" fmla="*/ 10 w 10"/>
                <a:gd name="T5" fmla="*/ 20 h 20"/>
                <a:gd name="T6" fmla="*/ 1 w 10"/>
                <a:gd name="T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0">
                  <a:moveTo>
                    <a:pt x="1" y="7"/>
                  </a:moveTo>
                  <a:cubicBezTo>
                    <a:pt x="0" y="1"/>
                    <a:pt x="3" y="5"/>
                    <a:pt x="4" y="0"/>
                  </a:cubicBezTo>
                  <a:cubicBezTo>
                    <a:pt x="9" y="6"/>
                    <a:pt x="10" y="14"/>
                    <a:pt x="10" y="20"/>
                  </a:cubicBezTo>
                  <a:cubicBezTo>
                    <a:pt x="3" y="19"/>
                    <a:pt x="1" y="13"/>
                    <a:pt x="1" y="7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Freeform 673">
              <a:extLst>
                <a:ext uri="{FF2B5EF4-FFF2-40B4-BE49-F238E27FC236}">
                  <a16:creationId xmlns:a16="http://schemas.microsoft.com/office/drawing/2014/main" id="{31D0AB87-7F57-4A0F-9362-909D06027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9258" y="3565564"/>
              <a:ext cx="48941" cy="48941"/>
            </a:xfrm>
            <a:custGeom>
              <a:avLst/>
              <a:gdLst>
                <a:gd name="T0" fmla="*/ 0 w 22"/>
                <a:gd name="T1" fmla="*/ 9 h 23"/>
                <a:gd name="T2" fmla="*/ 5 w 22"/>
                <a:gd name="T3" fmla="*/ 7 h 23"/>
                <a:gd name="T4" fmla="*/ 2 w 22"/>
                <a:gd name="T5" fmla="*/ 10 h 23"/>
                <a:gd name="T6" fmla="*/ 14 w 22"/>
                <a:gd name="T7" fmla="*/ 15 h 23"/>
                <a:gd name="T8" fmla="*/ 16 w 22"/>
                <a:gd name="T9" fmla="*/ 11 h 23"/>
                <a:gd name="T10" fmla="*/ 10 w 22"/>
                <a:gd name="T11" fmla="*/ 10 h 23"/>
                <a:gd name="T12" fmla="*/ 13 w 22"/>
                <a:gd name="T13" fmla="*/ 8 h 23"/>
                <a:gd name="T14" fmla="*/ 10 w 22"/>
                <a:gd name="T15" fmla="*/ 6 h 23"/>
                <a:gd name="T16" fmla="*/ 21 w 22"/>
                <a:gd name="T17" fmla="*/ 17 h 23"/>
                <a:gd name="T18" fmla="*/ 1 w 22"/>
                <a:gd name="T19" fmla="*/ 18 h 23"/>
                <a:gd name="T20" fmla="*/ 6 w 22"/>
                <a:gd name="T21" fmla="*/ 13 h 23"/>
                <a:gd name="T22" fmla="*/ 1 w 22"/>
                <a:gd name="T23" fmla="*/ 16 h 23"/>
                <a:gd name="T24" fmla="*/ 0 w 22"/>
                <a:gd name="T25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23">
                  <a:moveTo>
                    <a:pt x="0" y="9"/>
                  </a:moveTo>
                  <a:cubicBezTo>
                    <a:pt x="1" y="7"/>
                    <a:pt x="3" y="6"/>
                    <a:pt x="5" y="7"/>
                  </a:cubicBezTo>
                  <a:cubicBezTo>
                    <a:pt x="4" y="8"/>
                    <a:pt x="3" y="9"/>
                    <a:pt x="2" y="10"/>
                  </a:cubicBezTo>
                  <a:cubicBezTo>
                    <a:pt x="5" y="13"/>
                    <a:pt x="10" y="14"/>
                    <a:pt x="14" y="15"/>
                  </a:cubicBezTo>
                  <a:cubicBezTo>
                    <a:pt x="9" y="8"/>
                    <a:pt x="17" y="16"/>
                    <a:pt x="16" y="11"/>
                  </a:cubicBezTo>
                  <a:cubicBezTo>
                    <a:pt x="16" y="8"/>
                    <a:pt x="12" y="9"/>
                    <a:pt x="10" y="10"/>
                  </a:cubicBezTo>
                  <a:cubicBezTo>
                    <a:pt x="11" y="10"/>
                    <a:pt x="12" y="9"/>
                    <a:pt x="13" y="8"/>
                  </a:cubicBezTo>
                  <a:cubicBezTo>
                    <a:pt x="12" y="7"/>
                    <a:pt x="11" y="7"/>
                    <a:pt x="10" y="6"/>
                  </a:cubicBezTo>
                  <a:cubicBezTo>
                    <a:pt x="16" y="0"/>
                    <a:pt x="22" y="12"/>
                    <a:pt x="21" y="17"/>
                  </a:cubicBezTo>
                  <a:cubicBezTo>
                    <a:pt x="19" y="23"/>
                    <a:pt x="4" y="21"/>
                    <a:pt x="1" y="18"/>
                  </a:cubicBezTo>
                  <a:cubicBezTo>
                    <a:pt x="4" y="18"/>
                    <a:pt x="7" y="16"/>
                    <a:pt x="6" y="13"/>
                  </a:cubicBezTo>
                  <a:cubicBezTo>
                    <a:pt x="5" y="14"/>
                    <a:pt x="3" y="15"/>
                    <a:pt x="1" y="16"/>
                  </a:cubicBezTo>
                  <a:cubicBezTo>
                    <a:pt x="1" y="14"/>
                    <a:pt x="0" y="11"/>
                    <a:pt x="0" y="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Freeform 674">
              <a:extLst>
                <a:ext uri="{FF2B5EF4-FFF2-40B4-BE49-F238E27FC236}">
                  <a16:creationId xmlns:a16="http://schemas.microsoft.com/office/drawing/2014/main" id="{2422C1E4-06E7-4026-9A88-2B97D96C1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9258" y="3565564"/>
              <a:ext cx="48941" cy="48941"/>
            </a:xfrm>
            <a:custGeom>
              <a:avLst/>
              <a:gdLst>
                <a:gd name="T0" fmla="*/ 0 w 22"/>
                <a:gd name="T1" fmla="*/ 9 h 23"/>
                <a:gd name="T2" fmla="*/ 5 w 22"/>
                <a:gd name="T3" fmla="*/ 7 h 23"/>
                <a:gd name="T4" fmla="*/ 2 w 22"/>
                <a:gd name="T5" fmla="*/ 10 h 23"/>
                <a:gd name="T6" fmla="*/ 14 w 22"/>
                <a:gd name="T7" fmla="*/ 15 h 23"/>
                <a:gd name="T8" fmla="*/ 16 w 22"/>
                <a:gd name="T9" fmla="*/ 11 h 23"/>
                <a:gd name="T10" fmla="*/ 10 w 22"/>
                <a:gd name="T11" fmla="*/ 10 h 23"/>
                <a:gd name="T12" fmla="*/ 13 w 22"/>
                <a:gd name="T13" fmla="*/ 8 h 23"/>
                <a:gd name="T14" fmla="*/ 10 w 22"/>
                <a:gd name="T15" fmla="*/ 6 h 23"/>
                <a:gd name="T16" fmla="*/ 21 w 22"/>
                <a:gd name="T17" fmla="*/ 17 h 23"/>
                <a:gd name="T18" fmla="*/ 1 w 22"/>
                <a:gd name="T19" fmla="*/ 18 h 23"/>
                <a:gd name="T20" fmla="*/ 6 w 22"/>
                <a:gd name="T21" fmla="*/ 13 h 23"/>
                <a:gd name="T22" fmla="*/ 1 w 22"/>
                <a:gd name="T23" fmla="*/ 16 h 23"/>
                <a:gd name="T24" fmla="*/ 0 w 22"/>
                <a:gd name="T25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23">
                  <a:moveTo>
                    <a:pt x="0" y="9"/>
                  </a:moveTo>
                  <a:cubicBezTo>
                    <a:pt x="1" y="7"/>
                    <a:pt x="3" y="6"/>
                    <a:pt x="5" y="7"/>
                  </a:cubicBezTo>
                  <a:cubicBezTo>
                    <a:pt x="4" y="8"/>
                    <a:pt x="3" y="9"/>
                    <a:pt x="2" y="10"/>
                  </a:cubicBezTo>
                  <a:cubicBezTo>
                    <a:pt x="5" y="13"/>
                    <a:pt x="10" y="14"/>
                    <a:pt x="14" y="15"/>
                  </a:cubicBezTo>
                  <a:cubicBezTo>
                    <a:pt x="9" y="8"/>
                    <a:pt x="17" y="16"/>
                    <a:pt x="16" y="11"/>
                  </a:cubicBezTo>
                  <a:cubicBezTo>
                    <a:pt x="16" y="8"/>
                    <a:pt x="12" y="9"/>
                    <a:pt x="10" y="10"/>
                  </a:cubicBezTo>
                  <a:cubicBezTo>
                    <a:pt x="11" y="10"/>
                    <a:pt x="12" y="9"/>
                    <a:pt x="13" y="8"/>
                  </a:cubicBezTo>
                  <a:cubicBezTo>
                    <a:pt x="12" y="7"/>
                    <a:pt x="11" y="7"/>
                    <a:pt x="10" y="6"/>
                  </a:cubicBezTo>
                  <a:cubicBezTo>
                    <a:pt x="16" y="0"/>
                    <a:pt x="22" y="12"/>
                    <a:pt x="21" y="17"/>
                  </a:cubicBezTo>
                  <a:cubicBezTo>
                    <a:pt x="19" y="23"/>
                    <a:pt x="4" y="21"/>
                    <a:pt x="1" y="18"/>
                  </a:cubicBezTo>
                  <a:cubicBezTo>
                    <a:pt x="4" y="18"/>
                    <a:pt x="7" y="16"/>
                    <a:pt x="6" y="13"/>
                  </a:cubicBezTo>
                  <a:cubicBezTo>
                    <a:pt x="5" y="14"/>
                    <a:pt x="3" y="15"/>
                    <a:pt x="1" y="16"/>
                  </a:cubicBezTo>
                  <a:cubicBezTo>
                    <a:pt x="1" y="14"/>
                    <a:pt x="0" y="11"/>
                    <a:pt x="0" y="9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Freeform 676">
              <a:extLst>
                <a:ext uri="{FF2B5EF4-FFF2-40B4-BE49-F238E27FC236}">
                  <a16:creationId xmlns:a16="http://schemas.microsoft.com/office/drawing/2014/main" id="{3D7F5451-9C3A-4C06-809B-62B287BC1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7262" y="2609006"/>
              <a:ext cx="1833027" cy="2059933"/>
            </a:xfrm>
            <a:custGeom>
              <a:avLst/>
              <a:gdLst>
                <a:gd name="T0" fmla="*/ 69 w 845"/>
                <a:gd name="T1" fmla="*/ 384 h 950"/>
                <a:gd name="T2" fmla="*/ 47 w 845"/>
                <a:gd name="T3" fmla="*/ 310 h 950"/>
                <a:gd name="T4" fmla="*/ 73 w 845"/>
                <a:gd name="T5" fmla="*/ 265 h 950"/>
                <a:gd name="T6" fmla="*/ 140 w 845"/>
                <a:gd name="T7" fmla="*/ 184 h 950"/>
                <a:gd name="T8" fmla="*/ 167 w 845"/>
                <a:gd name="T9" fmla="*/ 115 h 950"/>
                <a:gd name="T10" fmla="*/ 123 w 845"/>
                <a:gd name="T11" fmla="*/ 67 h 950"/>
                <a:gd name="T12" fmla="*/ 135 w 845"/>
                <a:gd name="T13" fmla="*/ 28 h 950"/>
                <a:gd name="T14" fmla="*/ 214 w 845"/>
                <a:gd name="T15" fmla="*/ 1 h 950"/>
                <a:gd name="T16" fmla="*/ 257 w 845"/>
                <a:gd name="T17" fmla="*/ 57 h 950"/>
                <a:gd name="T18" fmla="*/ 268 w 845"/>
                <a:gd name="T19" fmla="*/ 104 h 950"/>
                <a:gd name="T20" fmla="*/ 283 w 845"/>
                <a:gd name="T21" fmla="*/ 141 h 950"/>
                <a:gd name="T22" fmla="*/ 329 w 845"/>
                <a:gd name="T23" fmla="*/ 172 h 950"/>
                <a:gd name="T24" fmla="*/ 344 w 845"/>
                <a:gd name="T25" fmla="*/ 236 h 950"/>
                <a:gd name="T26" fmla="*/ 425 w 845"/>
                <a:gd name="T27" fmla="*/ 278 h 950"/>
                <a:gd name="T28" fmla="*/ 504 w 845"/>
                <a:gd name="T29" fmla="*/ 300 h 950"/>
                <a:gd name="T30" fmla="*/ 581 w 845"/>
                <a:gd name="T31" fmla="*/ 309 h 950"/>
                <a:gd name="T32" fmla="*/ 599 w 845"/>
                <a:gd name="T33" fmla="*/ 284 h 950"/>
                <a:gd name="T34" fmla="*/ 672 w 845"/>
                <a:gd name="T35" fmla="*/ 301 h 950"/>
                <a:gd name="T36" fmla="*/ 691 w 845"/>
                <a:gd name="T37" fmla="*/ 266 h 950"/>
                <a:gd name="T38" fmla="*/ 767 w 845"/>
                <a:gd name="T39" fmla="*/ 220 h 950"/>
                <a:gd name="T40" fmla="*/ 802 w 845"/>
                <a:gd name="T41" fmla="*/ 225 h 950"/>
                <a:gd name="T42" fmla="*/ 842 w 845"/>
                <a:gd name="T43" fmla="*/ 256 h 950"/>
                <a:gd name="T44" fmla="*/ 803 w 845"/>
                <a:gd name="T45" fmla="*/ 298 h 950"/>
                <a:gd name="T46" fmla="*/ 790 w 845"/>
                <a:gd name="T47" fmla="*/ 334 h 950"/>
                <a:gd name="T48" fmla="*/ 755 w 845"/>
                <a:gd name="T49" fmla="*/ 398 h 950"/>
                <a:gd name="T50" fmla="*/ 739 w 845"/>
                <a:gd name="T51" fmla="*/ 461 h 950"/>
                <a:gd name="T52" fmla="*/ 708 w 845"/>
                <a:gd name="T53" fmla="*/ 417 h 950"/>
                <a:gd name="T54" fmla="*/ 690 w 845"/>
                <a:gd name="T55" fmla="*/ 394 h 950"/>
                <a:gd name="T56" fmla="*/ 685 w 845"/>
                <a:gd name="T57" fmla="*/ 357 h 950"/>
                <a:gd name="T58" fmla="*/ 605 w 845"/>
                <a:gd name="T59" fmla="*/ 314 h 950"/>
                <a:gd name="T60" fmla="*/ 590 w 845"/>
                <a:gd name="T61" fmla="*/ 336 h 950"/>
                <a:gd name="T62" fmla="*/ 592 w 845"/>
                <a:gd name="T63" fmla="*/ 365 h 950"/>
                <a:gd name="T64" fmla="*/ 621 w 845"/>
                <a:gd name="T65" fmla="*/ 432 h 950"/>
                <a:gd name="T66" fmla="*/ 626 w 845"/>
                <a:gd name="T67" fmla="*/ 475 h 950"/>
                <a:gd name="T68" fmla="*/ 614 w 845"/>
                <a:gd name="T69" fmla="*/ 471 h 950"/>
                <a:gd name="T70" fmla="*/ 595 w 845"/>
                <a:gd name="T71" fmla="*/ 454 h 950"/>
                <a:gd name="T72" fmla="*/ 566 w 845"/>
                <a:gd name="T73" fmla="*/ 527 h 950"/>
                <a:gd name="T74" fmla="*/ 531 w 845"/>
                <a:gd name="T75" fmla="*/ 549 h 950"/>
                <a:gd name="T76" fmla="*/ 447 w 845"/>
                <a:gd name="T77" fmla="*/ 640 h 950"/>
                <a:gd name="T78" fmla="*/ 406 w 845"/>
                <a:gd name="T79" fmla="*/ 684 h 950"/>
                <a:gd name="T80" fmla="*/ 391 w 845"/>
                <a:gd name="T81" fmla="*/ 760 h 950"/>
                <a:gd name="T82" fmla="*/ 389 w 845"/>
                <a:gd name="T83" fmla="*/ 849 h 950"/>
                <a:gd name="T84" fmla="*/ 368 w 845"/>
                <a:gd name="T85" fmla="*/ 888 h 950"/>
                <a:gd name="T86" fmla="*/ 327 w 845"/>
                <a:gd name="T87" fmla="*/ 946 h 950"/>
                <a:gd name="T88" fmla="*/ 288 w 845"/>
                <a:gd name="T89" fmla="*/ 900 h 950"/>
                <a:gd name="T90" fmla="*/ 250 w 845"/>
                <a:gd name="T91" fmla="*/ 815 h 950"/>
                <a:gd name="T92" fmla="*/ 210 w 845"/>
                <a:gd name="T93" fmla="*/ 714 h 950"/>
                <a:gd name="T94" fmla="*/ 179 w 845"/>
                <a:gd name="T95" fmla="*/ 660 h 950"/>
                <a:gd name="T96" fmla="*/ 158 w 845"/>
                <a:gd name="T97" fmla="*/ 578 h 950"/>
                <a:gd name="T98" fmla="*/ 153 w 845"/>
                <a:gd name="T99" fmla="*/ 555 h 950"/>
                <a:gd name="T100" fmla="*/ 141 w 845"/>
                <a:gd name="T101" fmla="*/ 490 h 950"/>
                <a:gd name="T102" fmla="*/ 131 w 845"/>
                <a:gd name="T103" fmla="*/ 454 h 950"/>
                <a:gd name="T104" fmla="*/ 127 w 845"/>
                <a:gd name="T105" fmla="*/ 489 h 950"/>
                <a:gd name="T106" fmla="*/ 32 w 845"/>
                <a:gd name="T107" fmla="*/ 451 h 950"/>
                <a:gd name="T108" fmla="*/ 67 w 845"/>
                <a:gd name="T109" fmla="*/ 434 h 950"/>
                <a:gd name="T110" fmla="*/ 18 w 845"/>
                <a:gd name="T111" fmla="*/ 403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45" h="950">
                  <a:moveTo>
                    <a:pt x="1" y="406"/>
                  </a:moveTo>
                  <a:cubicBezTo>
                    <a:pt x="0" y="399"/>
                    <a:pt x="8" y="399"/>
                    <a:pt x="13" y="399"/>
                  </a:cubicBezTo>
                  <a:cubicBezTo>
                    <a:pt x="18" y="399"/>
                    <a:pt x="16" y="390"/>
                    <a:pt x="15" y="387"/>
                  </a:cubicBezTo>
                  <a:cubicBezTo>
                    <a:pt x="19" y="389"/>
                    <a:pt x="28" y="389"/>
                    <a:pt x="32" y="388"/>
                  </a:cubicBezTo>
                  <a:cubicBezTo>
                    <a:pt x="39" y="385"/>
                    <a:pt x="46" y="395"/>
                    <a:pt x="53" y="392"/>
                  </a:cubicBezTo>
                  <a:cubicBezTo>
                    <a:pt x="55" y="391"/>
                    <a:pt x="66" y="379"/>
                    <a:pt x="69" y="384"/>
                  </a:cubicBezTo>
                  <a:cubicBezTo>
                    <a:pt x="73" y="392"/>
                    <a:pt x="78" y="388"/>
                    <a:pt x="85" y="383"/>
                  </a:cubicBezTo>
                  <a:cubicBezTo>
                    <a:pt x="79" y="382"/>
                    <a:pt x="84" y="374"/>
                    <a:pt x="82" y="370"/>
                  </a:cubicBezTo>
                  <a:cubicBezTo>
                    <a:pt x="78" y="363"/>
                    <a:pt x="74" y="356"/>
                    <a:pt x="69" y="349"/>
                  </a:cubicBezTo>
                  <a:cubicBezTo>
                    <a:pt x="66" y="345"/>
                    <a:pt x="70" y="337"/>
                    <a:pt x="62" y="339"/>
                  </a:cubicBezTo>
                  <a:cubicBezTo>
                    <a:pt x="56" y="341"/>
                    <a:pt x="49" y="333"/>
                    <a:pt x="49" y="327"/>
                  </a:cubicBezTo>
                  <a:cubicBezTo>
                    <a:pt x="50" y="323"/>
                    <a:pt x="51" y="313"/>
                    <a:pt x="47" y="310"/>
                  </a:cubicBezTo>
                  <a:cubicBezTo>
                    <a:pt x="41" y="304"/>
                    <a:pt x="30" y="309"/>
                    <a:pt x="27" y="299"/>
                  </a:cubicBezTo>
                  <a:cubicBezTo>
                    <a:pt x="25" y="291"/>
                    <a:pt x="32" y="284"/>
                    <a:pt x="36" y="279"/>
                  </a:cubicBezTo>
                  <a:cubicBezTo>
                    <a:pt x="38" y="275"/>
                    <a:pt x="40" y="270"/>
                    <a:pt x="42" y="266"/>
                  </a:cubicBezTo>
                  <a:cubicBezTo>
                    <a:pt x="44" y="263"/>
                    <a:pt x="47" y="256"/>
                    <a:pt x="51" y="257"/>
                  </a:cubicBezTo>
                  <a:cubicBezTo>
                    <a:pt x="57" y="259"/>
                    <a:pt x="57" y="268"/>
                    <a:pt x="63" y="269"/>
                  </a:cubicBezTo>
                  <a:cubicBezTo>
                    <a:pt x="66" y="269"/>
                    <a:pt x="70" y="267"/>
                    <a:pt x="73" y="265"/>
                  </a:cubicBezTo>
                  <a:cubicBezTo>
                    <a:pt x="77" y="264"/>
                    <a:pt x="80" y="264"/>
                    <a:pt x="84" y="263"/>
                  </a:cubicBezTo>
                  <a:cubicBezTo>
                    <a:pt x="94" y="262"/>
                    <a:pt x="92" y="255"/>
                    <a:pt x="97" y="249"/>
                  </a:cubicBezTo>
                  <a:cubicBezTo>
                    <a:pt x="104" y="242"/>
                    <a:pt x="100" y="234"/>
                    <a:pt x="109" y="228"/>
                  </a:cubicBezTo>
                  <a:cubicBezTo>
                    <a:pt x="118" y="224"/>
                    <a:pt x="121" y="218"/>
                    <a:pt x="124" y="208"/>
                  </a:cubicBezTo>
                  <a:cubicBezTo>
                    <a:pt x="126" y="201"/>
                    <a:pt x="124" y="192"/>
                    <a:pt x="132" y="189"/>
                  </a:cubicBezTo>
                  <a:cubicBezTo>
                    <a:pt x="135" y="188"/>
                    <a:pt x="139" y="187"/>
                    <a:pt x="140" y="184"/>
                  </a:cubicBezTo>
                  <a:cubicBezTo>
                    <a:pt x="143" y="180"/>
                    <a:pt x="137" y="179"/>
                    <a:pt x="137" y="177"/>
                  </a:cubicBezTo>
                  <a:cubicBezTo>
                    <a:pt x="137" y="175"/>
                    <a:pt x="144" y="166"/>
                    <a:pt x="145" y="163"/>
                  </a:cubicBezTo>
                  <a:cubicBezTo>
                    <a:pt x="148" y="159"/>
                    <a:pt x="155" y="157"/>
                    <a:pt x="157" y="152"/>
                  </a:cubicBezTo>
                  <a:cubicBezTo>
                    <a:pt x="151" y="152"/>
                    <a:pt x="152" y="146"/>
                    <a:pt x="152" y="142"/>
                  </a:cubicBezTo>
                  <a:cubicBezTo>
                    <a:pt x="152" y="137"/>
                    <a:pt x="148" y="133"/>
                    <a:pt x="148" y="129"/>
                  </a:cubicBezTo>
                  <a:cubicBezTo>
                    <a:pt x="148" y="121"/>
                    <a:pt x="163" y="120"/>
                    <a:pt x="167" y="115"/>
                  </a:cubicBezTo>
                  <a:cubicBezTo>
                    <a:pt x="174" y="106"/>
                    <a:pt x="153" y="106"/>
                    <a:pt x="150" y="104"/>
                  </a:cubicBezTo>
                  <a:cubicBezTo>
                    <a:pt x="146" y="103"/>
                    <a:pt x="148" y="97"/>
                    <a:pt x="144" y="95"/>
                  </a:cubicBezTo>
                  <a:cubicBezTo>
                    <a:pt x="141" y="94"/>
                    <a:pt x="138" y="94"/>
                    <a:pt x="135" y="93"/>
                  </a:cubicBezTo>
                  <a:cubicBezTo>
                    <a:pt x="136" y="89"/>
                    <a:pt x="135" y="88"/>
                    <a:pt x="132" y="86"/>
                  </a:cubicBezTo>
                  <a:cubicBezTo>
                    <a:pt x="130" y="85"/>
                    <a:pt x="122" y="80"/>
                    <a:pt x="124" y="76"/>
                  </a:cubicBezTo>
                  <a:cubicBezTo>
                    <a:pt x="126" y="73"/>
                    <a:pt x="127" y="69"/>
                    <a:pt x="123" y="67"/>
                  </a:cubicBezTo>
                  <a:cubicBezTo>
                    <a:pt x="121" y="65"/>
                    <a:pt x="117" y="61"/>
                    <a:pt x="120" y="58"/>
                  </a:cubicBezTo>
                  <a:cubicBezTo>
                    <a:pt x="122" y="57"/>
                    <a:pt x="130" y="51"/>
                    <a:pt x="123" y="51"/>
                  </a:cubicBezTo>
                  <a:cubicBezTo>
                    <a:pt x="122" y="51"/>
                    <a:pt x="111" y="51"/>
                    <a:pt x="114" y="47"/>
                  </a:cubicBezTo>
                  <a:cubicBezTo>
                    <a:pt x="118" y="42"/>
                    <a:pt x="113" y="42"/>
                    <a:pt x="110" y="40"/>
                  </a:cubicBezTo>
                  <a:cubicBezTo>
                    <a:pt x="106" y="37"/>
                    <a:pt x="112" y="29"/>
                    <a:pt x="115" y="27"/>
                  </a:cubicBezTo>
                  <a:cubicBezTo>
                    <a:pt x="121" y="23"/>
                    <a:pt x="128" y="26"/>
                    <a:pt x="135" y="28"/>
                  </a:cubicBezTo>
                  <a:cubicBezTo>
                    <a:pt x="142" y="30"/>
                    <a:pt x="150" y="31"/>
                    <a:pt x="157" y="33"/>
                  </a:cubicBezTo>
                  <a:cubicBezTo>
                    <a:pt x="164" y="35"/>
                    <a:pt x="167" y="31"/>
                    <a:pt x="173" y="29"/>
                  </a:cubicBezTo>
                  <a:cubicBezTo>
                    <a:pt x="178" y="27"/>
                    <a:pt x="183" y="27"/>
                    <a:pt x="188" y="26"/>
                  </a:cubicBezTo>
                  <a:cubicBezTo>
                    <a:pt x="190" y="25"/>
                    <a:pt x="199" y="16"/>
                    <a:pt x="198" y="15"/>
                  </a:cubicBezTo>
                  <a:cubicBezTo>
                    <a:pt x="196" y="12"/>
                    <a:pt x="205" y="7"/>
                    <a:pt x="208" y="5"/>
                  </a:cubicBezTo>
                  <a:cubicBezTo>
                    <a:pt x="210" y="4"/>
                    <a:pt x="212" y="2"/>
                    <a:pt x="214" y="1"/>
                  </a:cubicBezTo>
                  <a:cubicBezTo>
                    <a:pt x="217" y="0"/>
                    <a:pt x="217" y="2"/>
                    <a:pt x="219" y="1"/>
                  </a:cubicBezTo>
                  <a:cubicBezTo>
                    <a:pt x="225" y="0"/>
                    <a:pt x="223" y="7"/>
                    <a:pt x="226" y="10"/>
                  </a:cubicBezTo>
                  <a:cubicBezTo>
                    <a:pt x="230" y="16"/>
                    <a:pt x="231" y="22"/>
                    <a:pt x="236" y="27"/>
                  </a:cubicBezTo>
                  <a:cubicBezTo>
                    <a:pt x="241" y="33"/>
                    <a:pt x="251" y="34"/>
                    <a:pt x="257" y="38"/>
                  </a:cubicBezTo>
                  <a:cubicBezTo>
                    <a:pt x="259" y="40"/>
                    <a:pt x="262" y="43"/>
                    <a:pt x="259" y="45"/>
                  </a:cubicBezTo>
                  <a:cubicBezTo>
                    <a:pt x="253" y="50"/>
                    <a:pt x="255" y="51"/>
                    <a:pt x="257" y="57"/>
                  </a:cubicBezTo>
                  <a:cubicBezTo>
                    <a:pt x="259" y="63"/>
                    <a:pt x="261" y="69"/>
                    <a:pt x="265" y="73"/>
                  </a:cubicBezTo>
                  <a:cubicBezTo>
                    <a:pt x="269" y="77"/>
                    <a:pt x="276" y="77"/>
                    <a:pt x="279" y="81"/>
                  </a:cubicBezTo>
                  <a:cubicBezTo>
                    <a:pt x="280" y="82"/>
                    <a:pt x="280" y="85"/>
                    <a:pt x="281" y="87"/>
                  </a:cubicBezTo>
                  <a:cubicBezTo>
                    <a:pt x="282" y="89"/>
                    <a:pt x="283" y="90"/>
                    <a:pt x="285" y="92"/>
                  </a:cubicBezTo>
                  <a:cubicBezTo>
                    <a:pt x="290" y="98"/>
                    <a:pt x="284" y="100"/>
                    <a:pt x="281" y="103"/>
                  </a:cubicBezTo>
                  <a:cubicBezTo>
                    <a:pt x="277" y="106"/>
                    <a:pt x="272" y="112"/>
                    <a:pt x="268" y="104"/>
                  </a:cubicBezTo>
                  <a:cubicBezTo>
                    <a:pt x="266" y="98"/>
                    <a:pt x="261" y="98"/>
                    <a:pt x="256" y="102"/>
                  </a:cubicBezTo>
                  <a:cubicBezTo>
                    <a:pt x="258" y="104"/>
                    <a:pt x="258" y="107"/>
                    <a:pt x="259" y="110"/>
                  </a:cubicBezTo>
                  <a:cubicBezTo>
                    <a:pt x="260" y="113"/>
                    <a:pt x="263" y="115"/>
                    <a:pt x="265" y="117"/>
                  </a:cubicBezTo>
                  <a:cubicBezTo>
                    <a:pt x="270" y="123"/>
                    <a:pt x="269" y="128"/>
                    <a:pt x="273" y="133"/>
                  </a:cubicBezTo>
                  <a:cubicBezTo>
                    <a:pt x="275" y="135"/>
                    <a:pt x="271" y="146"/>
                    <a:pt x="278" y="145"/>
                  </a:cubicBezTo>
                  <a:cubicBezTo>
                    <a:pt x="281" y="145"/>
                    <a:pt x="280" y="142"/>
                    <a:pt x="283" y="141"/>
                  </a:cubicBezTo>
                  <a:cubicBezTo>
                    <a:pt x="286" y="140"/>
                    <a:pt x="287" y="144"/>
                    <a:pt x="289" y="146"/>
                  </a:cubicBezTo>
                  <a:cubicBezTo>
                    <a:pt x="291" y="149"/>
                    <a:pt x="297" y="156"/>
                    <a:pt x="301" y="156"/>
                  </a:cubicBezTo>
                  <a:cubicBezTo>
                    <a:pt x="305" y="157"/>
                    <a:pt x="308" y="155"/>
                    <a:pt x="312" y="159"/>
                  </a:cubicBezTo>
                  <a:cubicBezTo>
                    <a:pt x="314" y="161"/>
                    <a:pt x="317" y="160"/>
                    <a:pt x="320" y="162"/>
                  </a:cubicBezTo>
                  <a:cubicBezTo>
                    <a:pt x="321" y="164"/>
                    <a:pt x="321" y="166"/>
                    <a:pt x="322" y="168"/>
                  </a:cubicBezTo>
                  <a:cubicBezTo>
                    <a:pt x="323" y="171"/>
                    <a:pt x="326" y="171"/>
                    <a:pt x="329" y="172"/>
                  </a:cubicBezTo>
                  <a:cubicBezTo>
                    <a:pt x="336" y="175"/>
                    <a:pt x="343" y="177"/>
                    <a:pt x="349" y="183"/>
                  </a:cubicBezTo>
                  <a:cubicBezTo>
                    <a:pt x="341" y="183"/>
                    <a:pt x="339" y="195"/>
                    <a:pt x="333" y="199"/>
                  </a:cubicBezTo>
                  <a:cubicBezTo>
                    <a:pt x="333" y="199"/>
                    <a:pt x="334" y="205"/>
                    <a:pt x="333" y="206"/>
                  </a:cubicBezTo>
                  <a:cubicBezTo>
                    <a:pt x="331" y="211"/>
                    <a:pt x="334" y="213"/>
                    <a:pt x="333" y="217"/>
                  </a:cubicBezTo>
                  <a:cubicBezTo>
                    <a:pt x="332" y="221"/>
                    <a:pt x="325" y="226"/>
                    <a:pt x="330" y="230"/>
                  </a:cubicBezTo>
                  <a:cubicBezTo>
                    <a:pt x="333" y="233"/>
                    <a:pt x="344" y="241"/>
                    <a:pt x="344" y="236"/>
                  </a:cubicBezTo>
                  <a:cubicBezTo>
                    <a:pt x="348" y="239"/>
                    <a:pt x="354" y="243"/>
                    <a:pt x="360" y="245"/>
                  </a:cubicBezTo>
                  <a:cubicBezTo>
                    <a:pt x="366" y="247"/>
                    <a:pt x="369" y="252"/>
                    <a:pt x="375" y="256"/>
                  </a:cubicBezTo>
                  <a:cubicBezTo>
                    <a:pt x="376" y="257"/>
                    <a:pt x="385" y="264"/>
                    <a:pt x="388" y="263"/>
                  </a:cubicBezTo>
                  <a:cubicBezTo>
                    <a:pt x="394" y="261"/>
                    <a:pt x="399" y="266"/>
                    <a:pt x="404" y="268"/>
                  </a:cubicBezTo>
                  <a:cubicBezTo>
                    <a:pt x="406" y="269"/>
                    <a:pt x="413" y="269"/>
                    <a:pt x="414" y="271"/>
                  </a:cubicBezTo>
                  <a:cubicBezTo>
                    <a:pt x="418" y="275"/>
                    <a:pt x="418" y="277"/>
                    <a:pt x="425" y="278"/>
                  </a:cubicBezTo>
                  <a:cubicBezTo>
                    <a:pt x="429" y="279"/>
                    <a:pt x="433" y="282"/>
                    <a:pt x="437" y="280"/>
                  </a:cubicBezTo>
                  <a:cubicBezTo>
                    <a:pt x="442" y="276"/>
                    <a:pt x="444" y="279"/>
                    <a:pt x="450" y="281"/>
                  </a:cubicBezTo>
                  <a:cubicBezTo>
                    <a:pt x="446" y="272"/>
                    <a:pt x="469" y="282"/>
                    <a:pt x="470" y="282"/>
                  </a:cubicBezTo>
                  <a:cubicBezTo>
                    <a:pt x="477" y="284"/>
                    <a:pt x="473" y="292"/>
                    <a:pt x="478" y="294"/>
                  </a:cubicBezTo>
                  <a:cubicBezTo>
                    <a:pt x="483" y="295"/>
                    <a:pt x="491" y="297"/>
                    <a:pt x="494" y="301"/>
                  </a:cubicBezTo>
                  <a:cubicBezTo>
                    <a:pt x="496" y="305"/>
                    <a:pt x="501" y="300"/>
                    <a:pt x="504" y="300"/>
                  </a:cubicBezTo>
                  <a:cubicBezTo>
                    <a:pt x="511" y="299"/>
                    <a:pt x="508" y="310"/>
                    <a:pt x="517" y="306"/>
                  </a:cubicBezTo>
                  <a:cubicBezTo>
                    <a:pt x="520" y="305"/>
                    <a:pt x="532" y="309"/>
                    <a:pt x="535" y="311"/>
                  </a:cubicBezTo>
                  <a:cubicBezTo>
                    <a:pt x="541" y="315"/>
                    <a:pt x="543" y="311"/>
                    <a:pt x="549" y="309"/>
                  </a:cubicBezTo>
                  <a:cubicBezTo>
                    <a:pt x="550" y="313"/>
                    <a:pt x="557" y="318"/>
                    <a:pt x="561" y="314"/>
                  </a:cubicBezTo>
                  <a:cubicBezTo>
                    <a:pt x="562" y="313"/>
                    <a:pt x="572" y="314"/>
                    <a:pt x="574" y="314"/>
                  </a:cubicBezTo>
                  <a:cubicBezTo>
                    <a:pt x="579" y="314"/>
                    <a:pt x="580" y="314"/>
                    <a:pt x="581" y="309"/>
                  </a:cubicBezTo>
                  <a:cubicBezTo>
                    <a:pt x="582" y="300"/>
                    <a:pt x="578" y="297"/>
                    <a:pt x="575" y="289"/>
                  </a:cubicBezTo>
                  <a:cubicBezTo>
                    <a:pt x="573" y="285"/>
                    <a:pt x="573" y="280"/>
                    <a:pt x="574" y="275"/>
                  </a:cubicBezTo>
                  <a:cubicBezTo>
                    <a:pt x="574" y="270"/>
                    <a:pt x="573" y="266"/>
                    <a:pt x="573" y="261"/>
                  </a:cubicBezTo>
                  <a:cubicBezTo>
                    <a:pt x="578" y="260"/>
                    <a:pt x="584" y="256"/>
                    <a:pt x="589" y="257"/>
                  </a:cubicBezTo>
                  <a:cubicBezTo>
                    <a:pt x="600" y="260"/>
                    <a:pt x="591" y="273"/>
                    <a:pt x="595" y="279"/>
                  </a:cubicBezTo>
                  <a:cubicBezTo>
                    <a:pt x="596" y="280"/>
                    <a:pt x="600" y="282"/>
                    <a:pt x="599" y="284"/>
                  </a:cubicBezTo>
                  <a:cubicBezTo>
                    <a:pt x="597" y="286"/>
                    <a:pt x="595" y="286"/>
                    <a:pt x="597" y="290"/>
                  </a:cubicBezTo>
                  <a:cubicBezTo>
                    <a:pt x="602" y="298"/>
                    <a:pt x="608" y="298"/>
                    <a:pt x="616" y="299"/>
                  </a:cubicBezTo>
                  <a:cubicBezTo>
                    <a:pt x="621" y="300"/>
                    <a:pt x="625" y="304"/>
                    <a:pt x="630" y="304"/>
                  </a:cubicBezTo>
                  <a:cubicBezTo>
                    <a:pt x="632" y="304"/>
                    <a:pt x="636" y="304"/>
                    <a:pt x="638" y="302"/>
                  </a:cubicBezTo>
                  <a:cubicBezTo>
                    <a:pt x="640" y="301"/>
                    <a:pt x="644" y="296"/>
                    <a:pt x="647" y="298"/>
                  </a:cubicBezTo>
                  <a:cubicBezTo>
                    <a:pt x="654" y="303"/>
                    <a:pt x="663" y="301"/>
                    <a:pt x="672" y="301"/>
                  </a:cubicBezTo>
                  <a:cubicBezTo>
                    <a:pt x="674" y="301"/>
                    <a:pt x="678" y="298"/>
                    <a:pt x="680" y="299"/>
                  </a:cubicBezTo>
                  <a:cubicBezTo>
                    <a:pt x="682" y="302"/>
                    <a:pt x="689" y="299"/>
                    <a:pt x="693" y="299"/>
                  </a:cubicBezTo>
                  <a:cubicBezTo>
                    <a:pt x="701" y="298"/>
                    <a:pt x="691" y="291"/>
                    <a:pt x="692" y="287"/>
                  </a:cubicBezTo>
                  <a:cubicBezTo>
                    <a:pt x="696" y="276"/>
                    <a:pt x="684" y="281"/>
                    <a:pt x="679" y="275"/>
                  </a:cubicBezTo>
                  <a:cubicBezTo>
                    <a:pt x="676" y="272"/>
                    <a:pt x="675" y="266"/>
                    <a:pt x="681" y="268"/>
                  </a:cubicBezTo>
                  <a:cubicBezTo>
                    <a:pt x="685" y="269"/>
                    <a:pt x="687" y="267"/>
                    <a:pt x="691" y="266"/>
                  </a:cubicBezTo>
                  <a:cubicBezTo>
                    <a:pt x="697" y="264"/>
                    <a:pt x="708" y="267"/>
                    <a:pt x="706" y="257"/>
                  </a:cubicBezTo>
                  <a:cubicBezTo>
                    <a:pt x="705" y="252"/>
                    <a:pt x="718" y="248"/>
                    <a:pt x="718" y="242"/>
                  </a:cubicBezTo>
                  <a:cubicBezTo>
                    <a:pt x="719" y="232"/>
                    <a:pt x="731" y="237"/>
                    <a:pt x="737" y="232"/>
                  </a:cubicBezTo>
                  <a:cubicBezTo>
                    <a:pt x="741" y="227"/>
                    <a:pt x="744" y="222"/>
                    <a:pt x="749" y="218"/>
                  </a:cubicBezTo>
                  <a:cubicBezTo>
                    <a:pt x="751" y="217"/>
                    <a:pt x="753" y="215"/>
                    <a:pt x="755" y="214"/>
                  </a:cubicBezTo>
                  <a:cubicBezTo>
                    <a:pt x="756" y="213"/>
                    <a:pt x="765" y="219"/>
                    <a:pt x="767" y="220"/>
                  </a:cubicBezTo>
                  <a:cubicBezTo>
                    <a:pt x="765" y="218"/>
                    <a:pt x="765" y="218"/>
                    <a:pt x="769" y="220"/>
                  </a:cubicBezTo>
                  <a:cubicBezTo>
                    <a:pt x="772" y="221"/>
                    <a:pt x="775" y="223"/>
                    <a:pt x="778" y="223"/>
                  </a:cubicBezTo>
                  <a:cubicBezTo>
                    <a:pt x="782" y="223"/>
                    <a:pt x="781" y="219"/>
                    <a:pt x="782" y="217"/>
                  </a:cubicBezTo>
                  <a:cubicBezTo>
                    <a:pt x="785" y="213"/>
                    <a:pt x="792" y="211"/>
                    <a:pt x="796" y="209"/>
                  </a:cubicBezTo>
                  <a:cubicBezTo>
                    <a:pt x="796" y="209"/>
                    <a:pt x="805" y="216"/>
                    <a:pt x="806" y="217"/>
                  </a:cubicBezTo>
                  <a:cubicBezTo>
                    <a:pt x="800" y="220"/>
                    <a:pt x="801" y="221"/>
                    <a:pt x="802" y="225"/>
                  </a:cubicBezTo>
                  <a:cubicBezTo>
                    <a:pt x="803" y="228"/>
                    <a:pt x="810" y="223"/>
                    <a:pt x="811" y="222"/>
                  </a:cubicBezTo>
                  <a:cubicBezTo>
                    <a:pt x="810" y="226"/>
                    <a:pt x="818" y="229"/>
                    <a:pt x="816" y="232"/>
                  </a:cubicBezTo>
                  <a:cubicBezTo>
                    <a:pt x="814" y="237"/>
                    <a:pt x="812" y="239"/>
                    <a:pt x="811" y="244"/>
                  </a:cubicBezTo>
                  <a:cubicBezTo>
                    <a:pt x="810" y="248"/>
                    <a:pt x="818" y="245"/>
                    <a:pt x="819" y="244"/>
                  </a:cubicBezTo>
                  <a:cubicBezTo>
                    <a:pt x="824" y="243"/>
                    <a:pt x="828" y="248"/>
                    <a:pt x="834" y="247"/>
                  </a:cubicBezTo>
                  <a:cubicBezTo>
                    <a:pt x="839" y="245"/>
                    <a:pt x="842" y="252"/>
                    <a:pt x="842" y="256"/>
                  </a:cubicBezTo>
                  <a:cubicBezTo>
                    <a:pt x="842" y="257"/>
                    <a:pt x="845" y="258"/>
                    <a:pt x="844" y="259"/>
                  </a:cubicBezTo>
                  <a:cubicBezTo>
                    <a:pt x="844" y="262"/>
                    <a:pt x="840" y="265"/>
                    <a:pt x="838" y="267"/>
                  </a:cubicBezTo>
                  <a:cubicBezTo>
                    <a:pt x="828" y="277"/>
                    <a:pt x="842" y="281"/>
                    <a:pt x="844" y="290"/>
                  </a:cubicBezTo>
                  <a:cubicBezTo>
                    <a:pt x="838" y="293"/>
                    <a:pt x="836" y="284"/>
                    <a:pt x="831" y="283"/>
                  </a:cubicBezTo>
                  <a:cubicBezTo>
                    <a:pt x="826" y="281"/>
                    <a:pt x="813" y="285"/>
                    <a:pt x="810" y="290"/>
                  </a:cubicBezTo>
                  <a:cubicBezTo>
                    <a:pt x="808" y="293"/>
                    <a:pt x="806" y="295"/>
                    <a:pt x="803" y="298"/>
                  </a:cubicBezTo>
                  <a:cubicBezTo>
                    <a:pt x="802" y="300"/>
                    <a:pt x="800" y="301"/>
                    <a:pt x="798" y="300"/>
                  </a:cubicBezTo>
                  <a:cubicBezTo>
                    <a:pt x="796" y="302"/>
                    <a:pt x="798" y="303"/>
                    <a:pt x="795" y="304"/>
                  </a:cubicBezTo>
                  <a:cubicBezTo>
                    <a:pt x="792" y="306"/>
                    <a:pt x="789" y="304"/>
                    <a:pt x="788" y="309"/>
                  </a:cubicBezTo>
                  <a:cubicBezTo>
                    <a:pt x="787" y="312"/>
                    <a:pt x="787" y="316"/>
                    <a:pt x="788" y="319"/>
                  </a:cubicBezTo>
                  <a:cubicBezTo>
                    <a:pt x="789" y="321"/>
                    <a:pt x="791" y="323"/>
                    <a:pt x="792" y="325"/>
                  </a:cubicBezTo>
                  <a:cubicBezTo>
                    <a:pt x="793" y="329"/>
                    <a:pt x="789" y="330"/>
                    <a:pt x="790" y="334"/>
                  </a:cubicBezTo>
                  <a:cubicBezTo>
                    <a:pt x="792" y="342"/>
                    <a:pt x="777" y="347"/>
                    <a:pt x="781" y="354"/>
                  </a:cubicBezTo>
                  <a:cubicBezTo>
                    <a:pt x="782" y="356"/>
                    <a:pt x="784" y="357"/>
                    <a:pt x="785" y="360"/>
                  </a:cubicBezTo>
                  <a:cubicBezTo>
                    <a:pt x="787" y="364"/>
                    <a:pt x="784" y="369"/>
                    <a:pt x="782" y="373"/>
                  </a:cubicBezTo>
                  <a:cubicBezTo>
                    <a:pt x="778" y="382"/>
                    <a:pt x="774" y="393"/>
                    <a:pt x="774" y="403"/>
                  </a:cubicBezTo>
                  <a:cubicBezTo>
                    <a:pt x="771" y="401"/>
                    <a:pt x="764" y="398"/>
                    <a:pt x="760" y="398"/>
                  </a:cubicBezTo>
                  <a:cubicBezTo>
                    <a:pt x="758" y="398"/>
                    <a:pt x="756" y="398"/>
                    <a:pt x="755" y="398"/>
                  </a:cubicBezTo>
                  <a:cubicBezTo>
                    <a:pt x="752" y="398"/>
                    <a:pt x="752" y="396"/>
                    <a:pt x="749" y="396"/>
                  </a:cubicBezTo>
                  <a:cubicBezTo>
                    <a:pt x="752" y="405"/>
                    <a:pt x="754" y="412"/>
                    <a:pt x="754" y="420"/>
                  </a:cubicBezTo>
                  <a:cubicBezTo>
                    <a:pt x="754" y="424"/>
                    <a:pt x="755" y="436"/>
                    <a:pt x="748" y="431"/>
                  </a:cubicBezTo>
                  <a:cubicBezTo>
                    <a:pt x="749" y="439"/>
                    <a:pt x="748" y="444"/>
                    <a:pt x="751" y="452"/>
                  </a:cubicBezTo>
                  <a:cubicBezTo>
                    <a:pt x="753" y="454"/>
                    <a:pt x="755" y="463"/>
                    <a:pt x="749" y="460"/>
                  </a:cubicBezTo>
                  <a:cubicBezTo>
                    <a:pt x="746" y="472"/>
                    <a:pt x="747" y="464"/>
                    <a:pt x="739" y="461"/>
                  </a:cubicBezTo>
                  <a:cubicBezTo>
                    <a:pt x="740" y="464"/>
                    <a:pt x="739" y="466"/>
                    <a:pt x="737" y="468"/>
                  </a:cubicBezTo>
                  <a:cubicBezTo>
                    <a:pt x="734" y="461"/>
                    <a:pt x="734" y="455"/>
                    <a:pt x="732" y="448"/>
                  </a:cubicBezTo>
                  <a:cubicBezTo>
                    <a:pt x="731" y="441"/>
                    <a:pt x="726" y="434"/>
                    <a:pt x="724" y="426"/>
                  </a:cubicBezTo>
                  <a:cubicBezTo>
                    <a:pt x="722" y="420"/>
                    <a:pt x="720" y="415"/>
                    <a:pt x="719" y="409"/>
                  </a:cubicBezTo>
                  <a:cubicBezTo>
                    <a:pt x="718" y="403"/>
                    <a:pt x="712" y="411"/>
                    <a:pt x="709" y="408"/>
                  </a:cubicBezTo>
                  <a:cubicBezTo>
                    <a:pt x="710" y="412"/>
                    <a:pt x="712" y="414"/>
                    <a:pt x="708" y="417"/>
                  </a:cubicBezTo>
                  <a:cubicBezTo>
                    <a:pt x="705" y="420"/>
                    <a:pt x="707" y="424"/>
                    <a:pt x="708" y="427"/>
                  </a:cubicBezTo>
                  <a:cubicBezTo>
                    <a:pt x="708" y="431"/>
                    <a:pt x="704" y="435"/>
                    <a:pt x="701" y="433"/>
                  </a:cubicBezTo>
                  <a:cubicBezTo>
                    <a:pt x="698" y="430"/>
                    <a:pt x="699" y="425"/>
                    <a:pt x="695" y="423"/>
                  </a:cubicBezTo>
                  <a:cubicBezTo>
                    <a:pt x="695" y="425"/>
                    <a:pt x="695" y="427"/>
                    <a:pt x="694" y="429"/>
                  </a:cubicBezTo>
                  <a:cubicBezTo>
                    <a:pt x="692" y="423"/>
                    <a:pt x="689" y="417"/>
                    <a:pt x="687" y="411"/>
                  </a:cubicBezTo>
                  <a:cubicBezTo>
                    <a:pt x="685" y="405"/>
                    <a:pt x="692" y="399"/>
                    <a:pt x="690" y="394"/>
                  </a:cubicBezTo>
                  <a:cubicBezTo>
                    <a:pt x="693" y="394"/>
                    <a:pt x="699" y="395"/>
                    <a:pt x="698" y="391"/>
                  </a:cubicBezTo>
                  <a:cubicBezTo>
                    <a:pt x="700" y="394"/>
                    <a:pt x="703" y="389"/>
                    <a:pt x="706" y="391"/>
                  </a:cubicBezTo>
                  <a:cubicBezTo>
                    <a:pt x="707" y="384"/>
                    <a:pt x="717" y="376"/>
                    <a:pt x="713" y="367"/>
                  </a:cubicBezTo>
                  <a:cubicBezTo>
                    <a:pt x="714" y="367"/>
                    <a:pt x="722" y="367"/>
                    <a:pt x="718" y="364"/>
                  </a:cubicBezTo>
                  <a:cubicBezTo>
                    <a:pt x="714" y="359"/>
                    <a:pt x="707" y="357"/>
                    <a:pt x="701" y="357"/>
                  </a:cubicBezTo>
                  <a:cubicBezTo>
                    <a:pt x="696" y="357"/>
                    <a:pt x="691" y="358"/>
                    <a:pt x="685" y="357"/>
                  </a:cubicBezTo>
                  <a:cubicBezTo>
                    <a:pt x="679" y="356"/>
                    <a:pt x="673" y="358"/>
                    <a:pt x="666" y="357"/>
                  </a:cubicBezTo>
                  <a:cubicBezTo>
                    <a:pt x="658" y="356"/>
                    <a:pt x="636" y="358"/>
                    <a:pt x="637" y="346"/>
                  </a:cubicBezTo>
                  <a:cubicBezTo>
                    <a:pt x="638" y="340"/>
                    <a:pt x="635" y="322"/>
                    <a:pt x="627" y="323"/>
                  </a:cubicBezTo>
                  <a:cubicBezTo>
                    <a:pt x="628" y="325"/>
                    <a:pt x="627" y="327"/>
                    <a:pt x="626" y="330"/>
                  </a:cubicBezTo>
                  <a:cubicBezTo>
                    <a:pt x="622" y="328"/>
                    <a:pt x="617" y="327"/>
                    <a:pt x="614" y="323"/>
                  </a:cubicBezTo>
                  <a:cubicBezTo>
                    <a:pt x="612" y="320"/>
                    <a:pt x="611" y="313"/>
                    <a:pt x="605" y="314"/>
                  </a:cubicBezTo>
                  <a:cubicBezTo>
                    <a:pt x="607" y="316"/>
                    <a:pt x="608" y="318"/>
                    <a:pt x="609" y="320"/>
                  </a:cubicBezTo>
                  <a:cubicBezTo>
                    <a:pt x="606" y="319"/>
                    <a:pt x="603" y="319"/>
                    <a:pt x="600" y="318"/>
                  </a:cubicBezTo>
                  <a:cubicBezTo>
                    <a:pt x="598" y="317"/>
                    <a:pt x="597" y="314"/>
                    <a:pt x="596" y="313"/>
                  </a:cubicBezTo>
                  <a:cubicBezTo>
                    <a:pt x="593" y="311"/>
                    <a:pt x="591" y="309"/>
                    <a:pt x="588" y="308"/>
                  </a:cubicBezTo>
                  <a:cubicBezTo>
                    <a:pt x="585" y="313"/>
                    <a:pt x="592" y="311"/>
                    <a:pt x="594" y="315"/>
                  </a:cubicBezTo>
                  <a:cubicBezTo>
                    <a:pt x="585" y="319"/>
                    <a:pt x="579" y="332"/>
                    <a:pt x="590" y="336"/>
                  </a:cubicBezTo>
                  <a:cubicBezTo>
                    <a:pt x="594" y="338"/>
                    <a:pt x="596" y="343"/>
                    <a:pt x="599" y="345"/>
                  </a:cubicBezTo>
                  <a:cubicBezTo>
                    <a:pt x="602" y="347"/>
                    <a:pt x="607" y="344"/>
                    <a:pt x="608" y="348"/>
                  </a:cubicBezTo>
                  <a:cubicBezTo>
                    <a:pt x="608" y="353"/>
                    <a:pt x="616" y="351"/>
                    <a:pt x="613" y="357"/>
                  </a:cubicBezTo>
                  <a:cubicBezTo>
                    <a:pt x="610" y="356"/>
                    <a:pt x="606" y="356"/>
                    <a:pt x="603" y="357"/>
                  </a:cubicBezTo>
                  <a:cubicBezTo>
                    <a:pt x="600" y="357"/>
                    <a:pt x="599" y="357"/>
                    <a:pt x="599" y="361"/>
                  </a:cubicBezTo>
                  <a:cubicBezTo>
                    <a:pt x="598" y="364"/>
                    <a:pt x="595" y="370"/>
                    <a:pt x="592" y="365"/>
                  </a:cubicBezTo>
                  <a:cubicBezTo>
                    <a:pt x="591" y="371"/>
                    <a:pt x="586" y="375"/>
                    <a:pt x="592" y="380"/>
                  </a:cubicBezTo>
                  <a:cubicBezTo>
                    <a:pt x="597" y="384"/>
                    <a:pt x="602" y="386"/>
                    <a:pt x="608" y="387"/>
                  </a:cubicBezTo>
                  <a:cubicBezTo>
                    <a:pt x="619" y="387"/>
                    <a:pt x="601" y="414"/>
                    <a:pt x="614" y="415"/>
                  </a:cubicBezTo>
                  <a:cubicBezTo>
                    <a:pt x="618" y="415"/>
                    <a:pt x="616" y="420"/>
                    <a:pt x="616" y="423"/>
                  </a:cubicBezTo>
                  <a:cubicBezTo>
                    <a:pt x="617" y="424"/>
                    <a:pt x="620" y="424"/>
                    <a:pt x="621" y="424"/>
                  </a:cubicBezTo>
                  <a:cubicBezTo>
                    <a:pt x="624" y="425"/>
                    <a:pt x="620" y="430"/>
                    <a:pt x="621" y="432"/>
                  </a:cubicBezTo>
                  <a:cubicBezTo>
                    <a:pt x="621" y="435"/>
                    <a:pt x="624" y="438"/>
                    <a:pt x="624" y="441"/>
                  </a:cubicBezTo>
                  <a:cubicBezTo>
                    <a:pt x="625" y="446"/>
                    <a:pt x="625" y="449"/>
                    <a:pt x="627" y="454"/>
                  </a:cubicBezTo>
                  <a:cubicBezTo>
                    <a:pt x="630" y="458"/>
                    <a:pt x="632" y="465"/>
                    <a:pt x="630" y="470"/>
                  </a:cubicBezTo>
                  <a:cubicBezTo>
                    <a:pt x="629" y="469"/>
                    <a:pt x="628" y="468"/>
                    <a:pt x="626" y="468"/>
                  </a:cubicBezTo>
                  <a:cubicBezTo>
                    <a:pt x="627" y="469"/>
                    <a:pt x="634" y="477"/>
                    <a:pt x="632" y="479"/>
                  </a:cubicBezTo>
                  <a:cubicBezTo>
                    <a:pt x="629" y="481"/>
                    <a:pt x="626" y="477"/>
                    <a:pt x="626" y="475"/>
                  </a:cubicBezTo>
                  <a:cubicBezTo>
                    <a:pt x="625" y="478"/>
                    <a:pt x="623" y="481"/>
                    <a:pt x="621" y="477"/>
                  </a:cubicBezTo>
                  <a:cubicBezTo>
                    <a:pt x="619" y="472"/>
                    <a:pt x="621" y="467"/>
                    <a:pt x="621" y="462"/>
                  </a:cubicBezTo>
                  <a:cubicBezTo>
                    <a:pt x="619" y="464"/>
                    <a:pt x="622" y="466"/>
                    <a:pt x="618" y="469"/>
                  </a:cubicBezTo>
                  <a:cubicBezTo>
                    <a:pt x="619" y="466"/>
                    <a:pt x="617" y="463"/>
                    <a:pt x="619" y="460"/>
                  </a:cubicBezTo>
                  <a:cubicBezTo>
                    <a:pt x="613" y="464"/>
                    <a:pt x="618" y="478"/>
                    <a:pt x="617" y="483"/>
                  </a:cubicBezTo>
                  <a:cubicBezTo>
                    <a:pt x="616" y="480"/>
                    <a:pt x="617" y="473"/>
                    <a:pt x="614" y="471"/>
                  </a:cubicBezTo>
                  <a:cubicBezTo>
                    <a:pt x="614" y="471"/>
                    <a:pt x="615" y="481"/>
                    <a:pt x="613" y="480"/>
                  </a:cubicBezTo>
                  <a:cubicBezTo>
                    <a:pt x="612" y="480"/>
                    <a:pt x="612" y="479"/>
                    <a:pt x="612" y="478"/>
                  </a:cubicBezTo>
                  <a:cubicBezTo>
                    <a:pt x="608" y="473"/>
                    <a:pt x="611" y="485"/>
                    <a:pt x="608" y="476"/>
                  </a:cubicBezTo>
                  <a:cubicBezTo>
                    <a:pt x="610" y="478"/>
                    <a:pt x="610" y="480"/>
                    <a:pt x="609" y="482"/>
                  </a:cubicBezTo>
                  <a:cubicBezTo>
                    <a:pt x="605" y="479"/>
                    <a:pt x="605" y="471"/>
                    <a:pt x="604" y="466"/>
                  </a:cubicBezTo>
                  <a:cubicBezTo>
                    <a:pt x="604" y="459"/>
                    <a:pt x="598" y="460"/>
                    <a:pt x="595" y="454"/>
                  </a:cubicBezTo>
                  <a:cubicBezTo>
                    <a:pt x="596" y="460"/>
                    <a:pt x="606" y="459"/>
                    <a:pt x="602" y="467"/>
                  </a:cubicBezTo>
                  <a:cubicBezTo>
                    <a:pt x="596" y="476"/>
                    <a:pt x="591" y="479"/>
                    <a:pt x="582" y="482"/>
                  </a:cubicBezTo>
                  <a:cubicBezTo>
                    <a:pt x="576" y="484"/>
                    <a:pt x="569" y="487"/>
                    <a:pt x="568" y="493"/>
                  </a:cubicBezTo>
                  <a:cubicBezTo>
                    <a:pt x="567" y="497"/>
                    <a:pt x="571" y="510"/>
                    <a:pt x="574" y="514"/>
                  </a:cubicBezTo>
                  <a:cubicBezTo>
                    <a:pt x="572" y="515"/>
                    <a:pt x="569" y="517"/>
                    <a:pt x="568" y="519"/>
                  </a:cubicBezTo>
                  <a:cubicBezTo>
                    <a:pt x="567" y="523"/>
                    <a:pt x="570" y="523"/>
                    <a:pt x="566" y="527"/>
                  </a:cubicBezTo>
                  <a:cubicBezTo>
                    <a:pt x="560" y="531"/>
                    <a:pt x="558" y="540"/>
                    <a:pt x="552" y="531"/>
                  </a:cubicBezTo>
                  <a:cubicBezTo>
                    <a:pt x="553" y="534"/>
                    <a:pt x="556" y="536"/>
                    <a:pt x="559" y="538"/>
                  </a:cubicBezTo>
                  <a:cubicBezTo>
                    <a:pt x="551" y="542"/>
                    <a:pt x="542" y="546"/>
                    <a:pt x="532" y="547"/>
                  </a:cubicBezTo>
                  <a:cubicBezTo>
                    <a:pt x="535" y="546"/>
                    <a:pt x="536" y="538"/>
                    <a:pt x="531" y="540"/>
                  </a:cubicBezTo>
                  <a:cubicBezTo>
                    <a:pt x="527" y="542"/>
                    <a:pt x="522" y="549"/>
                    <a:pt x="524" y="554"/>
                  </a:cubicBezTo>
                  <a:cubicBezTo>
                    <a:pt x="525" y="552"/>
                    <a:pt x="529" y="546"/>
                    <a:pt x="531" y="549"/>
                  </a:cubicBezTo>
                  <a:cubicBezTo>
                    <a:pt x="528" y="550"/>
                    <a:pt x="523" y="557"/>
                    <a:pt x="520" y="560"/>
                  </a:cubicBezTo>
                  <a:cubicBezTo>
                    <a:pt x="514" y="566"/>
                    <a:pt x="511" y="574"/>
                    <a:pt x="506" y="581"/>
                  </a:cubicBezTo>
                  <a:cubicBezTo>
                    <a:pt x="502" y="589"/>
                    <a:pt x="497" y="596"/>
                    <a:pt x="488" y="600"/>
                  </a:cubicBezTo>
                  <a:cubicBezTo>
                    <a:pt x="481" y="603"/>
                    <a:pt x="481" y="613"/>
                    <a:pt x="474" y="616"/>
                  </a:cubicBezTo>
                  <a:cubicBezTo>
                    <a:pt x="478" y="619"/>
                    <a:pt x="456" y="629"/>
                    <a:pt x="453" y="632"/>
                  </a:cubicBezTo>
                  <a:cubicBezTo>
                    <a:pt x="451" y="634"/>
                    <a:pt x="448" y="637"/>
                    <a:pt x="447" y="640"/>
                  </a:cubicBezTo>
                  <a:cubicBezTo>
                    <a:pt x="445" y="645"/>
                    <a:pt x="451" y="646"/>
                    <a:pt x="449" y="652"/>
                  </a:cubicBezTo>
                  <a:cubicBezTo>
                    <a:pt x="445" y="663"/>
                    <a:pt x="432" y="662"/>
                    <a:pt x="422" y="663"/>
                  </a:cubicBezTo>
                  <a:cubicBezTo>
                    <a:pt x="418" y="663"/>
                    <a:pt x="418" y="666"/>
                    <a:pt x="417" y="669"/>
                  </a:cubicBezTo>
                  <a:cubicBezTo>
                    <a:pt x="416" y="672"/>
                    <a:pt x="412" y="679"/>
                    <a:pt x="412" y="682"/>
                  </a:cubicBezTo>
                  <a:cubicBezTo>
                    <a:pt x="409" y="681"/>
                    <a:pt x="409" y="678"/>
                    <a:pt x="408" y="675"/>
                  </a:cubicBezTo>
                  <a:cubicBezTo>
                    <a:pt x="409" y="678"/>
                    <a:pt x="407" y="681"/>
                    <a:pt x="406" y="684"/>
                  </a:cubicBezTo>
                  <a:cubicBezTo>
                    <a:pt x="408" y="674"/>
                    <a:pt x="394" y="680"/>
                    <a:pt x="392" y="685"/>
                  </a:cubicBezTo>
                  <a:cubicBezTo>
                    <a:pt x="388" y="692"/>
                    <a:pt x="383" y="702"/>
                    <a:pt x="386" y="710"/>
                  </a:cubicBezTo>
                  <a:cubicBezTo>
                    <a:pt x="388" y="716"/>
                    <a:pt x="391" y="723"/>
                    <a:pt x="391" y="730"/>
                  </a:cubicBezTo>
                  <a:cubicBezTo>
                    <a:pt x="391" y="741"/>
                    <a:pt x="393" y="750"/>
                    <a:pt x="396" y="760"/>
                  </a:cubicBezTo>
                  <a:cubicBezTo>
                    <a:pt x="395" y="759"/>
                    <a:pt x="391" y="750"/>
                    <a:pt x="391" y="757"/>
                  </a:cubicBezTo>
                  <a:cubicBezTo>
                    <a:pt x="389" y="752"/>
                    <a:pt x="389" y="759"/>
                    <a:pt x="391" y="760"/>
                  </a:cubicBezTo>
                  <a:cubicBezTo>
                    <a:pt x="393" y="761"/>
                    <a:pt x="396" y="761"/>
                    <a:pt x="398" y="764"/>
                  </a:cubicBezTo>
                  <a:cubicBezTo>
                    <a:pt x="401" y="769"/>
                    <a:pt x="398" y="782"/>
                    <a:pt x="397" y="788"/>
                  </a:cubicBezTo>
                  <a:cubicBezTo>
                    <a:pt x="396" y="797"/>
                    <a:pt x="390" y="805"/>
                    <a:pt x="387" y="814"/>
                  </a:cubicBezTo>
                  <a:cubicBezTo>
                    <a:pt x="385" y="821"/>
                    <a:pt x="388" y="831"/>
                    <a:pt x="383" y="837"/>
                  </a:cubicBezTo>
                  <a:cubicBezTo>
                    <a:pt x="384" y="836"/>
                    <a:pt x="385" y="836"/>
                    <a:pt x="386" y="835"/>
                  </a:cubicBezTo>
                  <a:cubicBezTo>
                    <a:pt x="389" y="839"/>
                    <a:pt x="389" y="844"/>
                    <a:pt x="389" y="849"/>
                  </a:cubicBezTo>
                  <a:cubicBezTo>
                    <a:pt x="389" y="857"/>
                    <a:pt x="391" y="864"/>
                    <a:pt x="391" y="872"/>
                  </a:cubicBezTo>
                  <a:cubicBezTo>
                    <a:pt x="389" y="872"/>
                    <a:pt x="387" y="871"/>
                    <a:pt x="385" y="871"/>
                  </a:cubicBezTo>
                  <a:cubicBezTo>
                    <a:pt x="392" y="874"/>
                    <a:pt x="384" y="872"/>
                    <a:pt x="383" y="872"/>
                  </a:cubicBezTo>
                  <a:cubicBezTo>
                    <a:pt x="380" y="871"/>
                    <a:pt x="376" y="870"/>
                    <a:pt x="374" y="873"/>
                  </a:cubicBezTo>
                  <a:cubicBezTo>
                    <a:pt x="373" y="875"/>
                    <a:pt x="372" y="877"/>
                    <a:pt x="373" y="879"/>
                  </a:cubicBezTo>
                  <a:cubicBezTo>
                    <a:pt x="374" y="883"/>
                    <a:pt x="370" y="886"/>
                    <a:pt x="368" y="888"/>
                  </a:cubicBezTo>
                  <a:cubicBezTo>
                    <a:pt x="366" y="893"/>
                    <a:pt x="360" y="903"/>
                    <a:pt x="368" y="906"/>
                  </a:cubicBezTo>
                  <a:cubicBezTo>
                    <a:pt x="370" y="907"/>
                    <a:pt x="373" y="907"/>
                    <a:pt x="375" y="906"/>
                  </a:cubicBezTo>
                  <a:cubicBezTo>
                    <a:pt x="376" y="906"/>
                    <a:pt x="379" y="911"/>
                    <a:pt x="380" y="912"/>
                  </a:cubicBezTo>
                  <a:cubicBezTo>
                    <a:pt x="372" y="903"/>
                    <a:pt x="359" y="909"/>
                    <a:pt x="351" y="913"/>
                  </a:cubicBezTo>
                  <a:cubicBezTo>
                    <a:pt x="339" y="918"/>
                    <a:pt x="345" y="929"/>
                    <a:pt x="339" y="937"/>
                  </a:cubicBezTo>
                  <a:cubicBezTo>
                    <a:pt x="336" y="941"/>
                    <a:pt x="331" y="944"/>
                    <a:pt x="327" y="946"/>
                  </a:cubicBezTo>
                  <a:cubicBezTo>
                    <a:pt x="320" y="950"/>
                    <a:pt x="316" y="946"/>
                    <a:pt x="310" y="942"/>
                  </a:cubicBezTo>
                  <a:cubicBezTo>
                    <a:pt x="308" y="939"/>
                    <a:pt x="289" y="919"/>
                    <a:pt x="295" y="918"/>
                  </a:cubicBezTo>
                  <a:cubicBezTo>
                    <a:pt x="290" y="920"/>
                    <a:pt x="288" y="909"/>
                    <a:pt x="286" y="905"/>
                  </a:cubicBezTo>
                  <a:cubicBezTo>
                    <a:pt x="283" y="898"/>
                    <a:pt x="280" y="891"/>
                    <a:pt x="282" y="884"/>
                  </a:cubicBezTo>
                  <a:cubicBezTo>
                    <a:pt x="284" y="886"/>
                    <a:pt x="284" y="889"/>
                    <a:pt x="284" y="892"/>
                  </a:cubicBezTo>
                  <a:cubicBezTo>
                    <a:pt x="285" y="885"/>
                    <a:pt x="284" y="899"/>
                    <a:pt x="288" y="900"/>
                  </a:cubicBezTo>
                  <a:cubicBezTo>
                    <a:pt x="287" y="896"/>
                    <a:pt x="288" y="891"/>
                    <a:pt x="286" y="888"/>
                  </a:cubicBezTo>
                  <a:cubicBezTo>
                    <a:pt x="285" y="885"/>
                    <a:pt x="281" y="883"/>
                    <a:pt x="281" y="879"/>
                  </a:cubicBezTo>
                  <a:cubicBezTo>
                    <a:pt x="281" y="886"/>
                    <a:pt x="279" y="879"/>
                    <a:pt x="279" y="878"/>
                  </a:cubicBezTo>
                  <a:cubicBezTo>
                    <a:pt x="279" y="874"/>
                    <a:pt x="277" y="873"/>
                    <a:pt x="275" y="869"/>
                  </a:cubicBezTo>
                  <a:cubicBezTo>
                    <a:pt x="272" y="862"/>
                    <a:pt x="270" y="854"/>
                    <a:pt x="267" y="847"/>
                  </a:cubicBezTo>
                  <a:cubicBezTo>
                    <a:pt x="266" y="844"/>
                    <a:pt x="249" y="817"/>
                    <a:pt x="250" y="815"/>
                  </a:cubicBezTo>
                  <a:cubicBezTo>
                    <a:pt x="240" y="802"/>
                    <a:pt x="232" y="787"/>
                    <a:pt x="229" y="770"/>
                  </a:cubicBezTo>
                  <a:cubicBezTo>
                    <a:pt x="227" y="765"/>
                    <a:pt x="227" y="759"/>
                    <a:pt x="225" y="754"/>
                  </a:cubicBezTo>
                  <a:cubicBezTo>
                    <a:pt x="223" y="750"/>
                    <a:pt x="222" y="747"/>
                    <a:pt x="220" y="743"/>
                  </a:cubicBezTo>
                  <a:cubicBezTo>
                    <a:pt x="219" y="741"/>
                    <a:pt x="215" y="734"/>
                    <a:pt x="220" y="735"/>
                  </a:cubicBezTo>
                  <a:cubicBezTo>
                    <a:pt x="214" y="734"/>
                    <a:pt x="216" y="726"/>
                    <a:pt x="213" y="722"/>
                  </a:cubicBezTo>
                  <a:cubicBezTo>
                    <a:pt x="211" y="720"/>
                    <a:pt x="202" y="715"/>
                    <a:pt x="210" y="714"/>
                  </a:cubicBezTo>
                  <a:cubicBezTo>
                    <a:pt x="205" y="716"/>
                    <a:pt x="203" y="710"/>
                    <a:pt x="202" y="707"/>
                  </a:cubicBezTo>
                  <a:cubicBezTo>
                    <a:pt x="201" y="705"/>
                    <a:pt x="200" y="702"/>
                    <a:pt x="199" y="700"/>
                  </a:cubicBezTo>
                  <a:cubicBezTo>
                    <a:pt x="197" y="697"/>
                    <a:pt x="193" y="696"/>
                    <a:pt x="198" y="695"/>
                  </a:cubicBezTo>
                  <a:cubicBezTo>
                    <a:pt x="196" y="695"/>
                    <a:pt x="194" y="691"/>
                    <a:pt x="194" y="689"/>
                  </a:cubicBezTo>
                  <a:cubicBezTo>
                    <a:pt x="194" y="686"/>
                    <a:pt x="191" y="685"/>
                    <a:pt x="189" y="682"/>
                  </a:cubicBezTo>
                  <a:cubicBezTo>
                    <a:pt x="184" y="676"/>
                    <a:pt x="181" y="668"/>
                    <a:pt x="179" y="660"/>
                  </a:cubicBezTo>
                  <a:cubicBezTo>
                    <a:pt x="177" y="654"/>
                    <a:pt x="175" y="649"/>
                    <a:pt x="175" y="643"/>
                  </a:cubicBezTo>
                  <a:cubicBezTo>
                    <a:pt x="175" y="637"/>
                    <a:pt x="172" y="631"/>
                    <a:pt x="171" y="625"/>
                  </a:cubicBezTo>
                  <a:cubicBezTo>
                    <a:pt x="170" y="620"/>
                    <a:pt x="167" y="615"/>
                    <a:pt x="166" y="610"/>
                  </a:cubicBezTo>
                  <a:cubicBezTo>
                    <a:pt x="164" y="606"/>
                    <a:pt x="158" y="595"/>
                    <a:pt x="164" y="597"/>
                  </a:cubicBezTo>
                  <a:cubicBezTo>
                    <a:pt x="163" y="596"/>
                    <a:pt x="155" y="586"/>
                    <a:pt x="162" y="589"/>
                  </a:cubicBezTo>
                  <a:cubicBezTo>
                    <a:pt x="161" y="585"/>
                    <a:pt x="156" y="582"/>
                    <a:pt x="158" y="578"/>
                  </a:cubicBezTo>
                  <a:cubicBezTo>
                    <a:pt x="159" y="578"/>
                    <a:pt x="160" y="579"/>
                    <a:pt x="160" y="580"/>
                  </a:cubicBezTo>
                  <a:cubicBezTo>
                    <a:pt x="161" y="577"/>
                    <a:pt x="160" y="575"/>
                    <a:pt x="158" y="574"/>
                  </a:cubicBezTo>
                  <a:cubicBezTo>
                    <a:pt x="162" y="572"/>
                    <a:pt x="160" y="568"/>
                    <a:pt x="159" y="565"/>
                  </a:cubicBezTo>
                  <a:cubicBezTo>
                    <a:pt x="159" y="568"/>
                    <a:pt x="158" y="570"/>
                    <a:pt x="156" y="571"/>
                  </a:cubicBezTo>
                  <a:cubicBezTo>
                    <a:pt x="153" y="566"/>
                    <a:pt x="154" y="555"/>
                    <a:pt x="161" y="563"/>
                  </a:cubicBezTo>
                  <a:cubicBezTo>
                    <a:pt x="160" y="560"/>
                    <a:pt x="149" y="559"/>
                    <a:pt x="153" y="555"/>
                  </a:cubicBezTo>
                  <a:cubicBezTo>
                    <a:pt x="154" y="553"/>
                    <a:pt x="149" y="547"/>
                    <a:pt x="148" y="546"/>
                  </a:cubicBezTo>
                  <a:cubicBezTo>
                    <a:pt x="147" y="541"/>
                    <a:pt x="147" y="536"/>
                    <a:pt x="148" y="531"/>
                  </a:cubicBezTo>
                  <a:cubicBezTo>
                    <a:pt x="149" y="524"/>
                    <a:pt x="154" y="516"/>
                    <a:pt x="151" y="508"/>
                  </a:cubicBezTo>
                  <a:cubicBezTo>
                    <a:pt x="151" y="507"/>
                    <a:pt x="148" y="494"/>
                    <a:pt x="145" y="499"/>
                  </a:cubicBezTo>
                  <a:cubicBezTo>
                    <a:pt x="146" y="495"/>
                    <a:pt x="145" y="495"/>
                    <a:pt x="142" y="499"/>
                  </a:cubicBezTo>
                  <a:cubicBezTo>
                    <a:pt x="146" y="494"/>
                    <a:pt x="140" y="493"/>
                    <a:pt x="141" y="490"/>
                  </a:cubicBezTo>
                  <a:cubicBezTo>
                    <a:pt x="141" y="488"/>
                    <a:pt x="142" y="486"/>
                    <a:pt x="142" y="484"/>
                  </a:cubicBezTo>
                  <a:cubicBezTo>
                    <a:pt x="143" y="481"/>
                    <a:pt x="153" y="479"/>
                    <a:pt x="155" y="475"/>
                  </a:cubicBezTo>
                  <a:cubicBezTo>
                    <a:pt x="147" y="481"/>
                    <a:pt x="130" y="476"/>
                    <a:pt x="142" y="468"/>
                  </a:cubicBezTo>
                  <a:cubicBezTo>
                    <a:pt x="138" y="470"/>
                    <a:pt x="133" y="467"/>
                    <a:pt x="136" y="462"/>
                  </a:cubicBezTo>
                  <a:cubicBezTo>
                    <a:pt x="138" y="459"/>
                    <a:pt x="142" y="462"/>
                    <a:pt x="145" y="459"/>
                  </a:cubicBezTo>
                  <a:cubicBezTo>
                    <a:pt x="141" y="460"/>
                    <a:pt x="133" y="458"/>
                    <a:pt x="131" y="454"/>
                  </a:cubicBezTo>
                  <a:cubicBezTo>
                    <a:pt x="130" y="456"/>
                    <a:pt x="126" y="457"/>
                    <a:pt x="126" y="457"/>
                  </a:cubicBezTo>
                  <a:cubicBezTo>
                    <a:pt x="126" y="458"/>
                    <a:pt x="129" y="459"/>
                    <a:pt x="129" y="462"/>
                  </a:cubicBezTo>
                  <a:cubicBezTo>
                    <a:pt x="129" y="466"/>
                    <a:pt x="126" y="467"/>
                    <a:pt x="123" y="468"/>
                  </a:cubicBezTo>
                  <a:cubicBezTo>
                    <a:pt x="124" y="469"/>
                    <a:pt x="125" y="470"/>
                    <a:pt x="125" y="471"/>
                  </a:cubicBezTo>
                  <a:cubicBezTo>
                    <a:pt x="123" y="470"/>
                    <a:pt x="121" y="471"/>
                    <a:pt x="121" y="474"/>
                  </a:cubicBezTo>
                  <a:cubicBezTo>
                    <a:pt x="129" y="476"/>
                    <a:pt x="132" y="481"/>
                    <a:pt x="127" y="489"/>
                  </a:cubicBezTo>
                  <a:cubicBezTo>
                    <a:pt x="125" y="492"/>
                    <a:pt x="126" y="495"/>
                    <a:pt x="122" y="497"/>
                  </a:cubicBezTo>
                  <a:cubicBezTo>
                    <a:pt x="118" y="498"/>
                    <a:pt x="114" y="501"/>
                    <a:pt x="110" y="504"/>
                  </a:cubicBezTo>
                  <a:cubicBezTo>
                    <a:pt x="103" y="508"/>
                    <a:pt x="94" y="514"/>
                    <a:pt x="86" y="511"/>
                  </a:cubicBezTo>
                  <a:cubicBezTo>
                    <a:pt x="77" y="508"/>
                    <a:pt x="67" y="500"/>
                    <a:pt x="61" y="492"/>
                  </a:cubicBezTo>
                  <a:cubicBezTo>
                    <a:pt x="54" y="481"/>
                    <a:pt x="42" y="474"/>
                    <a:pt x="33" y="464"/>
                  </a:cubicBezTo>
                  <a:cubicBezTo>
                    <a:pt x="31" y="461"/>
                    <a:pt x="24" y="452"/>
                    <a:pt x="32" y="451"/>
                  </a:cubicBezTo>
                  <a:cubicBezTo>
                    <a:pt x="34" y="451"/>
                    <a:pt x="34" y="455"/>
                    <a:pt x="35" y="456"/>
                  </a:cubicBezTo>
                  <a:cubicBezTo>
                    <a:pt x="38" y="458"/>
                    <a:pt x="44" y="456"/>
                    <a:pt x="45" y="452"/>
                  </a:cubicBezTo>
                  <a:cubicBezTo>
                    <a:pt x="48" y="457"/>
                    <a:pt x="62" y="448"/>
                    <a:pt x="65" y="446"/>
                  </a:cubicBezTo>
                  <a:cubicBezTo>
                    <a:pt x="67" y="443"/>
                    <a:pt x="67" y="439"/>
                    <a:pt x="68" y="436"/>
                  </a:cubicBezTo>
                  <a:cubicBezTo>
                    <a:pt x="70" y="433"/>
                    <a:pt x="75" y="431"/>
                    <a:pt x="71" y="428"/>
                  </a:cubicBezTo>
                  <a:cubicBezTo>
                    <a:pt x="69" y="430"/>
                    <a:pt x="71" y="435"/>
                    <a:pt x="67" y="434"/>
                  </a:cubicBezTo>
                  <a:cubicBezTo>
                    <a:pt x="63" y="434"/>
                    <a:pt x="59" y="435"/>
                    <a:pt x="55" y="436"/>
                  </a:cubicBezTo>
                  <a:cubicBezTo>
                    <a:pt x="52" y="438"/>
                    <a:pt x="50" y="441"/>
                    <a:pt x="46" y="441"/>
                  </a:cubicBezTo>
                  <a:cubicBezTo>
                    <a:pt x="41" y="440"/>
                    <a:pt x="36" y="438"/>
                    <a:pt x="32" y="436"/>
                  </a:cubicBezTo>
                  <a:cubicBezTo>
                    <a:pt x="28" y="434"/>
                    <a:pt x="23" y="432"/>
                    <a:pt x="19" y="429"/>
                  </a:cubicBezTo>
                  <a:cubicBezTo>
                    <a:pt x="16" y="427"/>
                    <a:pt x="16" y="421"/>
                    <a:pt x="12" y="420"/>
                  </a:cubicBezTo>
                  <a:cubicBezTo>
                    <a:pt x="0" y="415"/>
                    <a:pt x="14" y="406"/>
                    <a:pt x="18" y="403"/>
                  </a:cubicBezTo>
                  <a:cubicBezTo>
                    <a:pt x="11" y="402"/>
                    <a:pt x="7" y="415"/>
                    <a:pt x="0" y="412"/>
                  </a:cubicBezTo>
                  <a:cubicBezTo>
                    <a:pt x="2" y="410"/>
                    <a:pt x="2" y="408"/>
                    <a:pt x="1" y="40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0" name="Freeform 677">
              <a:extLst>
                <a:ext uri="{FF2B5EF4-FFF2-40B4-BE49-F238E27FC236}">
                  <a16:creationId xmlns:a16="http://schemas.microsoft.com/office/drawing/2014/main" id="{D8D56419-6590-4236-861D-081A69914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7262" y="2609006"/>
              <a:ext cx="1833027" cy="2059933"/>
            </a:xfrm>
            <a:custGeom>
              <a:avLst/>
              <a:gdLst>
                <a:gd name="T0" fmla="*/ 69 w 845"/>
                <a:gd name="T1" fmla="*/ 384 h 950"/>
                <a:gd name="T2" fmla="*/ 47 w 845"/>
                <a:gd name="T3" fmla="*/ 310 h 950"/>
                <a:gd name="T4" fmla="*/ 73 w 845"/>
                <a:gd name="T5" fmla="*/ 265 h 950"/>
                <a:gd name="T6" fmla="*/ 140 w 845"/>
                <a:gd name="T7" fmla="*/ 184 h 950"/>
                <a:gd name="T8" fmla="*/ 167 w 845"/>
                <a:gd name="T9" fmla="*/ 115 h 950"/>
                <a:gd name="T10" fmla="*/ 123 w 845"/>
                <a:gd name="T11" fmla="*/ 67 h 950"/>
                <a:gd name="T12" fmla="*/ 135 w 845"/>
                <a:gd name="T13" fmla="*/ 28 h 950"/>
                <a:gd name="T14" fmla="*/ 214 w 845"/>
                <a:gd name="T15" fmla="*/ 1 h 950"/>
                <a:gd name="T16" fmla="*/ 257 w 845"/>
                <a:gd name="T17" fmla="*/ 57 h 950"/>
                <a:gd name="T18" fmla="*/ 268 w 845"/>
                <a:gd name="T19" fmla="*/ 104 h 950"/>
                <a:gd name="T20" fmla="*/ 283 w 845"/>
                <a:gd name="T21" fmla="*/ 141 h 950"/>
                <a:gd name="T22" fmla="*/ 329 w 845"/>
                <a:gd name="T23" fmla="*/ 172 h 950"/>
                <a:gd name="T24" fmla="*/ 344 w 845"/>
                <a:gd name="T25" fmla="*/ 236 h 950"/>
                <a:gd name="T26" fmla="*/ 425 w 845"/>
                <a:gd name="T27" fmla="*/ 278 h 950"/>
                <a:gd name="T28" fmla="*/ 504 w 845"/>
                <a:gd name="T29" fmla="*/ 300 h 950"/>
                <a:gd name="T30" fmla="*/ 581 w 845"/>
                <a:gd name="T31" fmla="*/ 309 h 950"/>
                <a:gd name="T32" fmla="*/ 599 w 845"/>
                <a:gd name="T33" fmla="*/ 284 h 950"/>
                <a:gd name="T34" fmla="*/ 672 w 845"/>
                <a:gd name="T35" fmla="*/ 301 h 950"/>
                <a:gd name="T36" fmla="*/ 691 w 845"/>
                <a:gd name="T37" fmla="*/ 266 h 950"/>
                <a:gd name="T38" fmla="*/ 767 w 845"/>
                <a:gd name="T39" fmla="*/ 220 h 950"/>
                <a:gd name="T40" fmla="*/ 802 w 845"/>
                <a:gd name="T41" fmla="*/ 225 h 950"/>
                <a:gd name="T42" fmla="*/ 842 w 845"/>
                <a:gd name="T43" fmla="*/ 256 h 950"/>
                <a:gd name="T44" fmla="*/ 803 w 845"/>
                <a:gd name="T45" fmla="*/ 298 h 950"/>
                <a:gd name="T46" fmla="*/ 790 w 845"/>
                <a:gd name="T47" fmla="*/ 334 h 950"/>
                <a:gd name="T48" fmla="*/ 755 w 845"/>
                <a:gd name="T49" fmla="*/ 398 h 950"/>
                <a:gd name="T50" fmla="*/ 739 w 845"/>
                <a:gd name="T51" fmla="*/ 461 h 950"/>
                <a:gd name="T52" fmla="*/ 708 w 845"/>
                <a:gd name="T53" fmla="*/ 417 h 950"/>
                <a:gd name="T54" fmla="*/ 690 w 845"/>
                <a:gd name="T55" fmla="*/ 394 h 950"/>
                <a:gd name="T56" fmla="*/ 685 w 845"/>
                <a:gd name="T57" fmla="*/ 357 h 950"/>
                <a:gd name="T58" fmla="*/ 605 w 845"/>
                <a:gd name="T59" fmla="*/ 314 h 950"/>
                <a:gd name="T60" fmla="*/ 590 w 845"/>
                <a:gd name="T61" fmla="*/ 336 h 950"/>
                <a:gd name="T62" fmla="*/ 592 w 845"/>
                <a:gd name="T63" fmla="*/ 365 h 950"/>
                <a:gd name="T64" fmla="*/ 621 w 845"/>
                <a:gd name="T65" fmla="*/ 432 h 950"/>
                <a:gd name="T66" fmla="*/ 626 w 845"/>
                <a:gd name="T67" fmla="*/ 475 h 950"/>
                <a:gd name="T68" fmla="*/ 614 w 845"/>
                <a:gd name="T69" fmla="*/ 471 h 950"/>
                <a:gd name="T70" fmla="*/ 595 w 845"/>
                <a:gd name="T71" fmla="*/ 454 h 950"/>
                <a:gd name="T72" fmla="*/ 566 w 845"/>
                <a:gd name="T73" fmla="*/ 527 h 950"/>
                <a:gd name="T74" fmla="*/ 531 w 845"/>
                <a:gd name="T75" fmla="*/ 549 h 950"/>
                <a:gd name="T76" fmla="*/ 447 w 845"/>
                <a:gd name="T77" fmla="*/ 640 h 950"/>
                <a:gd name="T78" fmla="*/ 406 w 845"/>
                <a:gd name="T79" fmla="*/ 684 h 950"/>
                <a:gd name="T80" fmla="*/ 391 w 845"/>
                <a:gd name="T81" fmla="*/ 760 h 950"/>
                <a:gd name="T82" fmla="*/ 389 w 845"/>
                <a:gd name="T83" fmla="*/ 849 h 950"/>
                <a:gd name="T84" fmla="*/ 368 w 845"/>
                <a:gd name="T85" fmla="*/ 888 h 950"/>
                <a:gd name="T86" fmla="*/ 327 w 845"/>
                <a:gd name="T87" fmla="*/ 946 h 950"/>
                <a:gd name="T88" fmla="*/ 288 w 845"/>
                <a:gd name="T89" fmla="*/ 900 h 950"/>
                <a:gd name="T90" fmla="*/ 250 w 845"/>
                <a:gd name="T91" fmla="*/ 815 h 950"/>
                <a:gd name="T92" fmla="*/ 210 w 845"/>
                <a:gd name="T93" fmla="*/ 714 h 950"/>
                <a:gd name="T94" fmla="*/ 179 w 845"/>
                <a:gd name="T95" fmla="*/ 660 h 950"/>
                <a:gd name="T96" fmla="*/ 158 w 845"/>
                <a:gd name="T97" fmla="*/ 578 h 950"/>
                <a:gd name="T98" fmla="*/ 153 w 845"/>
                <a:gd name="T99" fmla="*/ 555 h 950"/>
                <a:gd name="T100" fmla="*/ 141 w 845"/>
                <a:gd name="T101" fmla="*/ 490 h 950"/>
                <a:gd name="T102" fmla="*/ 131 w 845"/>
                <a:gd name="T103" fmla="*/ 454 h 950"/>
                <a:gd name="T104" fmla="*/ 127 w 845"/>
                <a:gd name="T105" fmla="*/ 489 h 950"/>
                <a:gd name="T106" fmla="*/ 32 w 845"/>
                <a:gd name="T107" fmla="*/ 451 h 950"/>
                <a:gd name="T108" fmla="*/ 67 w 845"/>
                <a:gd name="T109" fmla="*/ 434 h 950"/>
                <a:gd name="T110" fmla="*/ 18 w 845"/>
                <a:gd name="T111" fmla="*/ 403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45" h="950">
                  <a:moveTo>
                    <a:pt x="1" y="406"/>
                  </a:moveTo>
                  <a:cubicBezTo>
                    <a:pt x="0" y="399"/>
                    <a:pt x="8" y="399"/>
                    <a:pt x="13" y="399"/>
                  </a:cubicBezTo>
                  <a:cubicBezTo>
                    <a:pt x="18" y="399"/>
                    <a:pt x="16" y="390"/>
                    <a:pt x="15" y="387"/>
                  </a:cubicBezTo>
                  <a:cubicBezTo>
                    <a:pt x="19" y="389"/>
                    <a:pt x="28" y="389"/>
                    <a:pt x="32" y="388"/>
                  </a:cubicBezTo>
                  <a:cubicBezTo>
                    <a:pt x="39" y="385"/>
                    <a:pt x="46" y="395"/>
                    <a:pt x="53" y="392"/>
                  </a:cubicBezTo>
                  <a:cubicBezTo>
                    <a:pt x="55" y="391"/>
                    <a:pt x="66" y="379"/>
                    <a:pt x="69" y="384"/>
                  </a:cubicBezTo>
                  <a:cubicBezTo>
                    <a:pt x="73" y="392"/>
                    <a:pt x="78" y="388"/>
                    <a:pt x="85" y="383"/>
                  </a:cubicBezTo>
                  <a:cubicBezTo>
                    <a:pt x="79" y="382"/>
                    <a:pt x="84" y="374"/>
                    <a:pt x="82" y="370"/>
                  </a:cubicBezTo>
                  <a:cubicBezTo>
                    <a:pt x="78" y="363"/>
                    <a:pt x="74" y="356"/>
                    <a:pt x="69" y="349"/>
                  </a:cubicBezTo>
                  <a:cubicBezTo>
                    <a:pt x="66" y="345"/>
                    <a:pt x="70" y="337"/>
                    <a:pt x="62" y="339"/>
                  </a:cubicBezTo>
                  <a:cubicBezTo>
                    <a:pt x="56" y="341"/>
                    <a:pt x="49" y="333"/>
                    <a:pt x="49" y="327"/>
                  </a:cubicBezTo>
                  <a:cubicBezTo>
                    <a:pt x="50" y="323"/>
                    <a:pt x="51" y="313"/>
                    <a:pt x="47" y="310"/>
                  </a:cubicBezTo>
                  <a:cubicBezTo>
                    <a:pt x="41" y="304"/>
                    <a:pt x="30" y="309"/>
                    <a:pt x="27" y="299"/>
                  </a:cubicBezTo>
                  <a:cubicBezTo>
                    <a:pt x="25" y="291"/>
                    <a:pt x="32" y="284"/>
                    <a:pt x="36" y="279"/>
                  </a:cubicBezTo>
                  <a:cubicBezTo>
                    <a:pt x="38" y="275"/>
                    <a:pt x="40" y="270"/>
                    <a:pt x="42" y="266"/>
                  </a:cubicBezTo>
                  <a:cubicBezTo>
                    <a:pt x="44" y="263"/>
                    <a:pt x="47" y="256"/>
                    <a:pt x="51" y="257"/>
                  </a:cubicBezTo>
                  <a:cubicBezTo>
                    <a:pt x="57" y="259"/>
                    <a:pt x="57" y="268"/>
                    <a:pt x="63" y="269"/>
                  </a:cubicBezTo>
                  <a:cubicBezTo>
                    <a:pt x="66" y="269"/>
                    <a:pt x="70" y="267"/>
                    <a:pt x="73" y="265"/>
                  </a:cubicBezTo>
                  <a:cubicBezTo>
                    <a:pt x="77" y="264"/>
                    <a:pt x="80" y="264"/>
                    <a:pt x="84" y="263"/>
                  </a:cubicBezTo>
                  <a:cubicBezTo>
                    <a:pt x="94" y="262"/>
                    <a:pt x="92" y="255"/>
                    <a:pt x="97" y="249"/>
                  </a:cubicBezTo>
                  <a:cubicBezTo>
                    <a:pt x="104" y="242"/>
                    <a:pt x="100" y="234"/>
                    <a:pt x="109" y="228"/>
                  </a:cubicBezTo>
                  <a:cubicBezTo>
                    <a:pt x="118" y="224"/>
                    <a:pt x="121" y="218"/>
                    <a:pt x="124" y="208"/>
                  </a:cubicBezTo>
                  <a:cubicBezTo>
                    <a:pt x="126" y="201"/>
                    <a:pt x="124" y="192"/>
                    <a:pt x="132" y="189"/>
                  </a:cubicBezTo>
                  <a:cubicBezTo>
                    <a:pt x="135" y="188"/>
                    <a:pt x="139" y="187"/>
                    <a:pt x="140" y="184"/>
                  </a:cubicBezTo>
                  <a:cubicBezTo>
                    <a:pt x="143" y="180"/>
                    <a:pt x="137" y="179"/>
                    <a:pt x="137" y="177"/>
                  </a:cubicBezTo>
                  <a:cubicBezTo>
                    <a:pt x="137" y="175"/>
                    <a:pt x="144" y="166"/>
                    <a:pt x="145" y="163"/>
                  </a:cubicBezTo>
                  <a:cubicBezTo>
                    <a:pt x="148" y="159"/>
                    <a:pt x="155" y="157"/>
                    <a:pt x="157" y="152"/>
                  </a:cubicBezTo>
                  <a:cubicBezTo>
                    <a:pt x="151" y="152"/>
                    <a:pt x="152" y="146"/>
                    <a:pt x="152" y="142"/>
                  </a:cubicBezTo>
                  <a:cubicBezTo>
                    <a:pt x="152" y="137"/>
                    <a:pt x="148" y="133"/>
                    <a:pt x="148" y="129"/>
                  </a:cubicBezTo>
                  <a:cubicBezTo>
                    <a:pt x="148" y="121"/>
                    <a:pt x="163" y="120"/>
                    <a:pt x="167" y="115"/>
                  </a:cubicBezTo>
                  <a:cubicBezTo>
                    <a:pt x="174" y="106"/>
                    <a:pt x="153" y="106"/>
                    <a:pt x="150" y="104"/>
                  </a:cubicBezTo>
                  <a:cubicBezTo>
                    <a:pt x="146" y="103"/>
                    <a:pt x="148" y="97"/>
                    <a:pt x="144" y="95"/>
                  </a:cubicBezTo>
                  <a:cubicBezTo>
                    <a:pt x="141" y="94"/>
                    <a:pt x="138" y="94"/>
                    <a:pt x="135" y="93"/>
                  </a:cubicBezTo>
                  <a:cubicBezTo>
                    <a:pt x="136" y="89"/>
                    <a:pt x="135" y="88"/>
                    <a:pt x="132" y="86"/>
                  </a:cubicBezTo>
                  <a:cubicBezTo>
                    <a:pt x="130" y="85"/>
                    <a:pt x="122" y="80"/>
                    <a:pt x="124" y="76"/>
                  </a:cubicBezTo>
                  <a:cubicBezTo>
                    <a:pt x="126" y="73"/>
                    <a:pt x="127" y="69"/>
                    <a:pt x="123" y="67"/>
                  </a:cubicBezTo>
                  <a:cubicBezTo>
                    <a:pt x="121" y="65"/>
                    <a:pt x="117" y="61"/>
                    <a:pt x="120" y="58"/>
                  </a:cubicBezTo>
                  <a:cubicBezTo>
                    <a:pt x="122" y="57"/>
                    <a:pt x="130" y="51"/>
                    <a:pt x="123" y="51"/>
                  </a:cubicBezTo>
                  <a:cubicBezTo>
                    <a:pt x="122" y="51"/>
                    <a:pt x="111" y="51"/>
                    <a:pt x="114" y="47"/>
                  </a:cubicBezTo>
                  <a:cubicBezTo>
                    <a:pt x="118" y="42"/>
                    <a:pt x="113" y="42"/>
                    <a:pt x="110" y="40"/>
                  </a:cubicBezTo>
                  <a:cubicBezTo>
                    <a:pt x="106" y="37"/>
                    <a:pt x="112" y="29"/>
                    <a:pt x="115" y="27"/>
                  </a:cubicBezTo>
                  <a:cubicBezTo>
                    <a:pt x="121" y="23"/>
                    <a:pt x="128" y="26"/>
                    <a:pt x="135" y="28"/>
                  </a:cubicBezTo>
                  <a:cubicBezTo>
                    <a:pt x="142" y="30"/>
                    <a:pt x="150" y="31"/>
                    <a:pt x="157" y="33"/>
                  </a:cubicBezTo>
                  <a:cubicBezTo>
                    <a:pt x="164" y="35"/>
                    <a:pt x="167" y="31"/>
                    <a:pt x="173" y="29"/>
                  </a:cubicBezTo>
                  <a:cubicBezTo>
                    <a:pt x="178" y="27"/>
                    <a:pt x="183" y="27"/>
                    <a:pt x="188" y="26"/>
                  </a:cubicBezTo>
                  <a:cubicBezTo>
                    <a:pt x="190" y="25"/>
                    <a:pt x="199" y="16"/>
                    <a:pt x="198" y="15"/>
                  </a:cubicBezTo>
                  <a:cubicBezTo>
                    <a:pt x="196" y="12"/>
                    <a:pt x="205" y="7"/>
                    <a:pt x="208" y="5"/>
                  </a:cubicBezTo>
                  <a:cubicBezTo>
                    <a:pt x="210" y="4"/>
                    <a:pt x="212" y="2"/>
                    <a:pt x="214" y="1"/>
                  </a:cubicBezTo>
                  <a:cubicBezTo>
                    <a:pt x="217" y="0"/>
                    <a:pt x="217" y="2"/>
                    <a:pt x="219" y="1"/>
                  </a:cubicBezTo>
                  <a:cubicBezTo>
                    <a:pt x="225" y="0"/>
                    <a:pt x="223" y="7"/>
                    <a:pt x="226" y="10"/>
                  </a:cubicBezTo>
                  <a:cubicBezTo>
                    <a:pt x="230" y="16"/>
                    <a:pt x="231" y="22"/>
                    <a:pt x="236" y="27"/>
                  </a:cubicBezTo>
                  <a:cubicBezTo>
                    <a:pt x="241" y="33"/>
                    <a:pt x="251" y="34"/>
                    <a:pt x="257" y="38"/>
                  </a:cubicBezTo>
                  <a:cubicBezTo>
                    <a:pt x="259" y="40"/>
                    <a:pt x="262" y="43"/>
                    <a:pt x="259" y="45"/>
                  </a:cubicBezTo>
                  <a:cubicBezTo>
                    <a:pt x="253" y="50"/>
                    <a:pt x="255" y="51"/>
                    <a:pt x="257" y="57"/>
                  </a:cubicBezTo>
                  <a:cubicBezTo>
                    <a:pt x="259" y="63"/>
                    <a:pt x="261" y="69"/>
                    <a:pt x="265" y="73"/>
                  </a:cubicBezTo>
                  <a:cubicBezTo>
                    <a:pt x="269" y="77"/>
                    <a:pt x="276" y="77"/>
                    <a:pt x="279" y="81"/>
                  </a:cubicBezTo>
                  <a:cubicBezTo>
                    <a:pt x="280" y="82"/>
                    <a:pt x="280" y="85"/>
                    <a:pt x="281" y="87"/>
                  </a:cubicBezTo>
                  <a:cubicBezTo>
                    <a:pt x="282" y="89"/>
                    <a:pt x="283" y="90"/>
                    <a:pt x="285" y="92"/>
                  </a:cubicBezTo>
                  <a:cubicBezTo>
                    <a:pt x="290" y="98"/>
                    <a:pt x="284" y="100"/>
                    <a:pt x="281" y="103"/>
                  </a:cubicBezTo>
                  <a:cubicBezTo>
                    <a:pt x="277" y="106"/>
                    <a:pt x="272" y="112"/>
                    <a:pt x="268" y="104"/>
                  </a:cubicBezTo>
                  <a:cubicBezTo>
                    <a:pt x="266" y="98"/>
                    <a:pt x="261" y="98"/>
                    <a:pt x="256" y="102"/>
                  </a:cubicBezTo>
                  <a:cubicBezTo>
                    <a:pt x="258" y="104"/>
                    <a:pt x="258" y="107"/>
                    <a:pt x="259" y="110"/>
                  </a:cubicBezTo>
                  <a:cubicBezTo>
                    <a:pt x="260" y="113"/>
                    <a:pt x="263" y="115"/>
                    <a:pt x="265" y="117"/>
                  </a:cubicBezTo>
                  <a:cubicBezTo>
                    <a:pt x="270" y="123"/>
                    <a:pt x="269" y="128"/>
                    <a:pt x="273" y="133"/>
                  </a:cubicBezTo>
                  <a:cubicBezTo>
                    <a:pt x="275" y="135"/>
                    <a:pt x="271" y="146"/>
                    <a:pt x="278" y="145"/>
                  </a:cubicBezTo>
                  <a:cubicBezTo>
                    <a:pt x="281" y="145"/>
                    <a:pt x="280" y="142"/>
                    <a:pt x="283" y="141"/>
                  </a:cubicBezTo>
                  <a:cubicBezTo>
                    <a:pt x="286" y="140"/>
                    <a:pt x="287" y="144"/>
                    <a:pt x="289" y="146"/>
                  </a:cubicBezTo>
                  <a:cubicBezTo>
                    <a:pt x="291" y="149"/>
                    <a:pt x="297" y="156"/>
                    <a:pt x="301" y="156"/>
                  </a:cubicBezTo>
                  <a:cubicBezTo>
                    <a:pt x="305" y="157"/>
                    <a:pt x="308" y="155"/>
                    <a:pt x="312" y="159"/>
                  </a:cubicBezTo>
                  <a:cubicBezTo>
                    <a:pt x="314" y="161"/>
                    <a:pt x="317" y="160"/>
                    <a:pt x="320" y="162"/>
                  </a:cubicBezTo>
                  <a:cubicBezTo>
                    <a:pt x="321" y="164"/>
                    <a:pt x="321" y="166"/>
                    <a:pt x="322" y="168"/>
                  </a:cubicBezTo>
                  <a:cubicBezTo>
                    <a:pt x="323" y="171"/>
                    <a:pt x="326" y="171"/>
                    <a:pt x="329" y="172"/>
                  </a:cubicBezTo>
                  <a:cubicBezTo>
                    <a:pt x="336" y="175"/>
                    <a:pt x="343" y="177"/>
                    <a:pt x="349" y="183"/>
                  </a:cubicBezTo>
                  <a:cubicBezTo>
                    <a:pt x="341" y="183"/>
                    <a:pt x="339" y="195"/>
                    <a:pt x="333" y="199"/>
                  </a:cubicBezTo>
                  <a:cubicBezTo>
                    <a:pt x="333" y="199"/>
                    <a:pt x="334" y="205"/>
                    <a:pt x="333" y="206"/>
                  </a:cubicBezTo>
                  <a:cubicBezTo>
                    <a:pt x="331" y="211"/>
                    <a:pt x="334" y="213"/>
                    <a:pt x="333" y="217"/>
                  </a:cubicBezTo>
                  <a:cubicBezTo>
                    <a:pt x="332" y="221"/>
                    <a:pt x="325" y="226"/>
                    <a:pt x="330" y="230"/>
                  </a:cubicBezTo>
                  <a:cubicBezTo>
                    <a:pt x="333" y="233"/>
                    <a:pt x="344" y="241"/>
                    <a:pt x="344" y="236"/>
                  </a:cubicBezTo>
                  <a:cubicBezTo>
                    <a:pt x="348" y="239"/>
                    <a:pt x="354" y="243"/>
                    <a:pt x="360" y="245"/>
                  </a:cubicBezTo>
                  <a:cubicBezTo>
                    <a:pt x="366" y="247"/>
                    <a:pt x="369" y="252"/>
                    <a:pt x="375" y="256"/>
                  </a:cubicBezTo>
                  <a:cubicBezTo>
                    <a:pt x="376" y="257"/>
                    <a:pt x="385" y="264"/>
                    <a:pt x="388" y="263"/>
                  </a:cubicBezTo>
                  <a:cubicBezTo>
                    <a:pt x="394" y="261"/>
                    <a:pt x="399" y="266"/>
                    <a:pt x="404" y="268"/>
                  </a:cubicBezTo>
                  <a:cubicBezTo>
                    <a:pt x="406" y="269"/>
                    <a:pt x="413" y="269"/>
                    <a:pt x="414" y="271"/>
                  </a:cubicBezTo>
                  <a:cubicBezTo>
                    <a:pt x="418" y="275"/>
                    <a:pt x="418" y="277"/>
                    <a:pt x="425" y="278"/>
                  </a:cubicBezTo>
                  <a:cubicBezTo>
                    <a:pt x="429" y="279"/>
                    <a:pt x="433" y="282"/>
                    <a:pt x="437" y="280"/>
                  </a:cubicBezTo>
                  <a:cubicBezTo>
                    <a:pt x="442" y="276"/>
                    <a:pt x="444" y="279"/>
                    <a:pt x="450" y="281"/>
                  </a:cubicBezTo>
                  <a:cubicBezTo>
                    <a:pt x="446" y="272"/>
                    <a:pt x="469" y="282"/>
                    <a:pt x="470" y="282"/>
                  </a:cubicBezTo>
                  <a:cubicBezTo>
                    <a:pt x="477" y="284"/>
                    <a:pt x="473" y="292"/>
                    <a:pt x="478" y="294"/>
                  </a:cubicBezTo>
                  <a:cubicBezTo>
                    <a:pt x="483" y="295"/>
                    <a:pt x="491" y="297"/>
                    <a:pt x="494" y="301"/>
                  </a:cubicBezTo>
                  <a:cubicBezTo>
                    <a:pt x="496" y="305"/>
                    <a:pt x="501" y="300"/>
                    <a:pt x="504" y="300"/>
                  </a:cubicBezTo>
                  <a:cubicBezTo>
                    <a:pt x="511" y="299"/>
                    <a:pt x="508" y="310"/>
                    <a:pt x="517" y="306"/>
                  </a:cubicBezTo>
                  <a:cubicBezTo>
                    <a:pt x="520" y="305"/>
                    <a:pt x="532" y="309"/>
                    <a:pt x="535" y="311"/>
                  </a:cubicBezTo>
                  <a:cubicBezTo>
                    <a:pt x="541" y="315"/>
                    <a:pt x="543" y="311"/>
                    <a:pt x="549" y="309"/>
                  </a:cubicBezTo>
                  <a:cubicBezTo>
                    <a:pt x="550" y="313"/>
                    <a:pt x="557" y="318"/>
                    <a:pt x="561" y="314"/>
                  </a:cubicBezTo>
                  <a:cubicBezTo>
                    <a:pt x="562" y="313"/>
                    <a:pt x="572" y="314"/>
                    <a:pt x="574" y="314"/>
                  </a:cubicBezTo>
                  <a:cubicBezTo>
                    <a:pt x="579" y="314"/>
                    <a:pt x="580" y="314"/>
                    <a:pt x="581" y="309"/>
                  </a:cubicBezTo>
                  <a:cubicBezTo>
                    <a:pt x="582" y="300"/>
                    <a:pt x="578" y="297"/>
                    <a:pt x="575" y="289"/>
                  </a:cubicBezTo>
                  <a:cubicBezTo>
                    <a:pt x="573" y="285"/>
                    <a:pt x="573" y="280"/>
                    <a:pt x="574" y="275"/>
                  </a:cubicBezTo>
                  <a:cubicBezTo>
                    <a:pt x="574" y="270"/>
                    <a:pt x="573" y="266"/>
                    <a:pt x="573" y="261"/>
                  </a:cubicBezTo>
                  <a:cubicBezTo>
                    <a:pt x="578" y="260"/>
                    <a:pt x="584" y="256"/>
                    <a:pt x="589" y="257"/>
                  </a:cubicBezTo>
                  <a:cubicBezTo>
                    <a:pt x="600" y="260"/>
                    <a:pt x="591" y="273"/>
                    <a:pt x="595" y="279"/>
                  </a:cubicBezTo>
                  <a:cubicBezTo>
                    <a:pt x="596" y="280"/>
                    <a:pt x="600" y="282"/>
                    <a:pt x="599" y="284"/>
                  </a:cubicBezTo>
                  <a:cubicBezTo>
                    <a:pt x="597" y="286"/>
                    <a:pt x="595" y="286"/>
                    <a:pt x="597" y="290"/>
                  </a:cubicBezTo>
                  <a:cubicBezTo>
                    <a:pt x="602" y="298"/>
                    <a:pt x="608" y="298"/>
                    <a:pt x="616" y="299"/>
                  </a:cubicBezTo>
                  <a:cubicBezTo>
                    <a:pt x="621" y="300"/>
                    <a:pt x="625" y="304"/>
                    <a:pt x="630" y="304"/>
                  </a:cubicBezTo>
                  <a:cubicBezTo>
                    <a:pt x="632" y="304"/>
                    <a:pt x="636" y="304"/>
                    <a:pt x="638" y="302"/>
                  </a:cubicBezTo>
                  <a:cubicBezTo>
                    <a:pt x="640" y="301"/>
                    <a:pt x="644" y="296"/>
                    <a:pt x="647" y="298"/>
                  </a:cubicBezTo>
                  <a:cubicBezTo>
                    <a:pt x="654" y="303"/>
                    <a:pt x="663" y="301"/>
                    <a:pt x="672" y="301"/>
                  </a:cubicBezTo>
                  <a:cubicBezTo>
                    <a:pt x="674" y="301"/>
                    <a:pt x="678" y="298"/>
                    <a:pt x="680" y="299"/>
                  </a:cubicBezTo>
                  <a:cubicBezTo>
                    <a:pt x="682" y="302"/>
                    <a:pt x="689" y="299"/>
                    <a:pt x="693" y="299"/>
                  </a:cubicBezTo>
                  <a:cubicBezTo>
                    <a:pt x="701" y="298"/>
                    <a:pt x="691" y="291"/>
                    <a:pt x="692" y="287"/>
                  </a:cubicBezTo>
                  <a:cubicBezTo>
                    <a:pt x="696" y="276"/>
                    <a:pt x="684" y="281"/>
                    <a:pt x="679" y="275"/>
                  </a:cubicBezTo>
                  <a:cubicBezTo>
                    <a:pt x="676" y="272"/>
                    <a:pt x="675" y="266"/>
                    <a:pt x="681" y="268"/>
                  </a:cubicBezTo>
                  <a:cubicBezTo>
                    <a:pt x="685" y="269"/>
                    <a:pt x="687" y="267"/>
                    <a:pt x="691" y="266"/>
                  </a:cubicBezTo>
                  <a:cubicBezTo>
                    <a:pt x="697" y="264"/>
                    <a:pt x="708" y="267"/>
                    <a:pt x="706" y="257"/>
                  </a:cubicBezTo>
                  <a:cubicBezTo>
                    <a:pt x="705" y="252"/>
                    <a:pt x="718" y="248"/>
                    <a:pt x="718" y="242"/>
                  </a:cubicBezTo>
                  <a:cubicBezTo>
                    <a:pt x="719" y="232"/>
                    <a:pt x="731" y="237"/>
                    <a:pt x="737" y="232"/>
                  </a:cubicBezTo>
                  <a:cubicBezTo>
                    <a:pt x="741" y="227"/>
                    <a:pt x="744" y="222"/>
                    <a:pt x="749" y="218"/>
                  </a:cubicBezTo>
                  <a:cubicBezTo>
                    <a:pt x="751" y="217"/>
                    <a:pt x="753" y="215"/>
                    <a:pt x="755" y="214"/>
                  </a:cubicBezTo>
                  <a:cubicBezTo>
                    <a:pt x="756" y="213"/>
                    <a:pt x="765" y="219"/>
                    <a:pt x="767" y="220"/>
                  </a:cubicBezTo>
                  <a:cubicBezTo>
                    <a:pt x="765" y="218"/>
                    <a:pt x="765" y="218"/>
                    <a:pt x="769" y="220"/>
                  </a:cubicBezTo>
                  <a:cubicBezTo>
                    <a:pt x="772" y="221"/>
                    <a:pt x="775" y="223"/>
                    <a:pt x="778" y="223"/>
                  </a:cubicBezTo>
                  <a:cubicBezTo>
                    <a:pt x="782" y="223"/>
                    <a:pt x="781" y="219"/>
                    <a:pt x="782" y="217"/>
                  </a:cubicBezTo>
                  <a:cubicBezTo>
                    <a:pt x="785" y="213"/>
                    <a:pt x="792" y="211"/>
                    <a:pt x="796" y="209"/>
                  </a:cubicBezTo>
                  <a:cubicBezTo>
                    <a:pt x="796" y="209"/>
                    <a:pt x="805" y="216"/>
                    <a:pt x="806" y="217"/>
                  </a:cubicBezTo>
                  <a:cubicBezTo>
                    <a:pt x="800" y="220"/>
                    <a:pt x="801" y="221"/>
                    <a:pt x="802" y="225"/>
                  </a:cubicBezTo>
                  <a:cubicBezTo>
                    <a:pt x="803" y="228"/>
                    <a:pt x="810" y="223"/>
                    <a:pt x="811" y="222"/>
                  </a:cubicBezTo>
                  <a:cubicBezTo>
                    <a:pt x="810" y="226"/>
                    <a:pt x="818" y="229"/>
                    <a:pt x="816" y="232"/>
                  </a:cubicBezTo>
                  <a:cubicBezTo>
                    <a:pt x="814" y="237"/>
                    <a:pt x="812" y="239"/>
                    <a:pt x="811" y="244"/>
                  </a:cubicBezTo>
                  <a:cubicBezTo>
                    <a:pt x="810" y="248"/>
                    <a:pt x="818" y="245"/>
                    <a:pt x="819" y="244"/>
                  </a:cubicBezTo>
                  <a:cubicBezTo>
                    <a:pt x="824" y="243"/>
                    <a:pt x="828" y="248"/>
                    <a:pt x="834" y="247"/>
                  </a:cubicBezTo>
                  <a:cubicBezTo>
                    <a:pt x="839" y="245"/>
                    <a:pt x="842" y="252"/>
                    <a:pt x="842" y="256"/>
                  </a:cubicBezTo>
                  <a:cubicBezTo>
                    <a:pt x="842" y="257"/>
                    <a:pt x="845" y="258"/>
                    <a:pt x="844" y="259"/>
                  </a:cubicBezTo>
                  <a:cubicBezTo>
                    <a:pt x="844" y="262"/>
                    <a:pt x="840" y="265"/>
                    <a:pt x="838" y="267"/>
                  </a:cubicBezTo>
                  <a:cubicBezTo>
                    <a:pt x="828" y="277"/>
                    <a:pt x="842" y="281"/>
                    <a:pt x="844" y="290"/>
                  </a:cubicBezTo>
                  <a:cubicBezTo>
                    <a:pt x="838" y="293"/>
                    <a:pt x="836" y="284"/>
                    <a:pt x="831" y="283"/>
                  </a:cubicBezTo>
                  <a:cubicBezTo>
                    <a:pt x="826" y="281"/>
                    <a:pt x="813" y="285"/>
                    <a:pt x="810" y="290"/>
                  </a:cubicBezTo>
                  <a:cubicBezTo>
                    <a:pt x="808" y="293"/>
                    <a:pt x="806" y="295"/>
                    <a:pt x="803" y="298"/>
                  </a:cubicBezTo>
                  <a:cubicBezTo>
                    <a:pt x="802" y="300"/>
                    <a:pt x="800" y="301"/>
                    <a:pt x="798" y="300"/>
                  </a:cubicBezTo>
                  <a:cubicBezTo>
                    <a:pt x="796" y="302"/>
                    <a:pt x="798" y="303"/>
                    <a:pt x="795" y="304"/>
                  </a:cubicBezTo>
                  <a:cubicBezTo>
                    <a:pt x="792" y="306"/>
                    <a:pt x="789" y="304"/>
                    <a:pt x="788" y="309"/>
                  </a:cubicBezTo>
                  <a:cubicBezTo>
                    <a:pt x="787" y="312"/>
                    <a:pt x="787" y="316"/>
                    <a:pt x="788" y="319"/>
                  </a:cubicBezTo>
                  <a:cubicBezTo>
                    <a:pt x="789" y="321"/>
                    <a:pt x="791" y="323"/>
                    <a:pt x="792" y="325"/>
                  </a:cubicBezTo>
                  <a:cubicBezTo>
                    <a:pt x="793" y="329"/>
                    <a:pt x="789" y="330"/>
                    <a:pt x="790" y="334"/>
                  </a:cubicBezTo>
                  <a:cubicBezTo>
                    <a:pt x="792" y="342"/>
                    <a:pt x="777" y="347"/>
                    <a:pt x="781" y="354"/>
                  </a:cubicBezTo>
                  <a:cubicBezTo>
                    <a:pt x="782" y="356"/>
                    <a:pt x="784" y="357"/>
                    <a:pt x="785" y="360"/>
                  </a:cubicBezTo>
                  <a:cubicBezTo>
                    <a:pt x="787" y="364"/>
                    <a:pt x="784" y="369"/>
                    <a:pt x="782" y="373"/>
                  </a:cubicBezTo>
                  <a:cubicBezTo>
                    <a:pt x="778" y="382"/>
                    <a:pt x="774" y="393"/>
                    <a:pt x="774" y="403"/>
                  </a:cubicBezTo>
                  <a:cubicBezTo>
                    <a:pt x="771" y="401"/>
                    <a:pt x="764" y="398"/>
                    <a:pt x="760" y="398"/>
                  </a:cubicBezTo>
                  <a:cubicBezTo>
                    <a:pt x="758" y="398"/>
                    <a:pt x="756" y="398"/>
                    <a:pt x="755" y="398"/>
                  </a:cubicBezTo>
                  <a:cubicBezTo>
                    <a:pt x="752" y="398"/>
                    <a:pt x="752" y="396"/>
                    <a:pt x="749" y="396"/>
                  </a:cubicBezTo>
                  <a:cubicBezTo>
                    <a:pt x="752" y="405"/>
                    <a:pt x="754" y="412"/>
                    <a:pt x="754" y="420"/>
                  </a:cubicBezTo>
                  <a:cubicBezTo>
                    <a:pt x="754" y="424"/>
                    <a:pt x="755" y="436"/>
                    <a:pt x="748" y="431"/>
                  </a:cubicBezTo>
                  <a:cubicBezTo>
                    <a:pt x="749" y="439"/>
                    <a:pt x="748" y="444"/>
                    <a:pt x="751" y="452"/>
                  </a:cubicBezTo>
                  <a:cubicBezTo>
                    <a:pt x="753" y="454"/>
                    <a:pt x="755" y="463"/>
                    <a:pt x="749" y="460"/>
                  </a:cubicBezTo>
                  <a:cubicBezTo>
                    <a:pt x="746" y="472"/>
                    <a:pt x="747" y="464"/>
                    <a:pt x="739" y="461"/>
                  </a:cubicBezTo>
                  <a:cubicBezTo>
                    <a:pt x="740" y="464"/>
                    <a:pt x="739" y="466"/>
                    <a:pt x="737" y="468"/>
                  </a:cubicBezTo>
                  <a:cubicBezTo>
                    <a:pt x="734" y="461"/>
                    <a:pt x="734" y="455"/>
                    <a:pt x="732" y="448"/>
                  </a:cubicBezTo>
                  <a:cubicBezTo>
                    <a:pt x="731" y="441"/>
                    <a:pt x="726" y="434"/>
                    <a:pt x="724" y="426"/>
                  </a:cubicBezTo>
                  <a:cubicBezTo>
                    <a:pt x="722" y="420"/>
                    <a:pt x="720" y="415"/>
                    <a:pt x="719" y="409"/>
                  </a:cubicBezTo>
                  <a:cubicBezTo>
                    <a:pt x="718" y="403"/>
                    <a:pt x="712" y="411"/>
                    <a:pt x="709" y="408"/>
                  </a:cubicBezTo>
                  <a:cubicBezTo>
                    <a:pt x="710" y="412"/>
                    <a:pt x="712" y="414"/>
                    <a:pt x="708" y="417"/>
                  </a:cubicBezTo>
                  <a:cubicBezTo>
                    <a:pt x="705" y="420"/>
                    <a:pt x="707" y="424"/>
                    <a:pt x="708" y="427"/>
                  </a:cubicBezTo>
                  <a:cubicBezTo>
                    <a:pt x="708" y="431"/>
                    <a:pt x="704" y="435"/>
                    <a:pt x="701" y="433"/>
                  </a:cubicBezTo>
                  <a:cubicBezTo>
                    <a:pt x="698" y="430"/>
                    <a:pt x="699" y="425"/>
                    <a:pt x="695" y="423"/>
                  </a:cubicBezTo>
                  <a:cubicBezTo>
                    <a:pt x="695" y="425"/>
                    <a:pt x="695" y="427"/>
                    <a:pt x="694" y="429"/>
                  </a:cubicBezTo>
                  <a:cubicBezTo>
                    <a:pt x="692" y="423"/>
                    <a:pt x="689" y="417"/>
                    <a:pt x="687" y="411"/>
                  </a:cubicBezTo>
                  <a:cubicBezTo>
                    <a:pt x="685" y="405"/>
                    <a:pt x="692" y="399"/>
                    <a:pt x="690" y="394"/>
                  </a:cubicBezTo>
                  <a:cubicBezTo>
                    <a:pt x="693" y="394"/>
                    <a:pt x="699" y="395"/>
                    <a:pt x="698" y="391"/>
                  </a:cubicBezTo>
                  <a:cubicBezTo>
                    <a:pt x="700" y="394"/>
                    <a:pt x="703" y="389"/>
                    <a:pt x="706" y="391"/>
                  </a:cubicBezTo>
                  <a:cubicBezTo>
                    <a:pt x="707" y="384"/>
                    <a:pt x="717" y="376"/>
                    <a:pt x="713" y="367"/>
                  </a:cubicBezTo>
                  <a:cubicBezTo>
                    <a:pt x="714" y="367"/>
                    <a:pt x="722" y="367"/>
                    <a:pt x="718" y="364"/>
                  </a:cubicBezTo>
                  <a:cubicBezTo>
                    <a:pt x="714" y="359"/>
                    <a:pt x="707" y="357"/>
                    <a:pt x="701" y="357"/>
                  </a:cubicBezTo>
                  <a:cubicBezTo>
                    <a:pt x="696" y="357"/>
                    <a:pt x="691" y="358"/>
                    <a:pt x="685" y="357"/>
                  </a:cubicBezTo>
                  <a:cubicBezTo>
                    <a:pt x="679" y="356"/>
                    <a:pt x="673" y="358"/>
                    <a:pt x="666" y="357"/>
                  </a:cubicBezTo>
                  <a:cubicBezTo>
                    <a:pt x="658" y="356"/>
                    <a:pt x="636" y="358"/>
                    <a:pt x="637" y="346"/>
                  </a:cubicBezTo>
                  <a:cubicBezTo>
                    <a:pt x="638" y="340"/>
                    <a:pt x="635" y="322"/>
                    <a:pt x="627" y="323"/>
                  </a:cubicBezTo>
                  <a:cubicBezTo>
                    <a:pt x="628" y="325"/>
                    <a:pt x="627" y="327"/>
                    <a:pt x="626" y="330"/>
                  </a:cubicBezTo>
                  <a:cubicBezTo>
                    <a:pt x="622" y="328"/>
                    <a:pt x="617" y="327"/>
                    <a:pt x="614" y="323"/>
                  </a:cubicBezTo>
                  <a:cubicBezTo>
                    <a:pt x="612" y="320"/>
                    <a:pt x="611" y="313"/>
                    <a:pt x="605" y="314"/>
                  </a:cubicBezTo>
                  <a:cubicBezTo>
                    <a:pt x="607" y="316"/>
                    <a:pt x="608" y="318"/>
                    <a:pt x="609" y="320"/>
                  </a:cubicBezTo>
                  <a:cubicBezTo>
                    <a:pt x="606" y="319"/>
                    <a:pt x="603" y="319"/>
                    <a:pt x="600" y="318"/>
                  </a:cubicBezTo>
                  <a:cubicBezTo>
                    <a:pt x="598" y="317"/>
                    <a:pt x="597" y="314"/>
                    <a:pt x="596" y="313"/>
                  </a:cubicBezTo>
                  <a:cubicBezTo>
                    <a:pt x="593" y="311"/>
                    <a:pt x="591" y="309"/>
                    <a:pt x="588" y="308"/>
                  </a:cubicBezTo>
                  <a:cubicBezTo>
                    <a:pt x="585" y="313"/>
                    <a:pt x="592" y="311"/>
                    <a:pt x="594" y="315"/>
                  </a:cubicBezTo>
                  <a:cubicBezTo>
                    <a:pt x="585" y="319"/>
                    <a:pt x="579" y="332"/>
                    <a:pt x="590" y="336"/>
                  </a:cubicBezTo>
                  <a:cubicBezTo>
                    <a:pt x="594" y="338"/>
                    <a:pt x="596" y="343"/>
                    <a:pt x="599" y="345"/>
                  </a:cubicBezTo>
                  <a:cubicBezTo>
                    <a:pt x="602" y="347"/>
                    <a:pt x="607" y="344"/>
                    <a:pt x="608" y="348"/>
                  </a:cubicBezTo>
                  <a:cubicBezTo>
                    <a:pt x="608" y="353"/>
                    <a:pt x="616" y="351"/>
                    <a:pt x="613" y="357"/>
                  </a:cubicBezTo>
                  <a:cubicBezTo>
                    <a:pt x="610" y="356"/>
                    <a:pt x="606" y="356"/>
                    <a:pt x="603" y="357"/>
                  </a:cubicBezTo>
                  <a:cubicBezTo>
                    <a:pt x="600" y="357"/>
                    <a:pt x="599" y="357"/>
                    <a:pt x="599" y="361"/>
                  </a:cubicBezTo>
                  <a:cubicBezTo>
                    <a:pt x="598" y="364"/>
                    <a:pt x="595" y="370"/>
                    <a:pt x="592" y="365"/>
                  </a:cubicBezTo>
                  <a:cubicBezTo>
                    <a:pt x="591" y="371"/>
                    <a:pt x="586" y="375"/>
                    <a:pt x="592" y="380"/>
                  </a:cubicBezTo>
                  <a:cubicBezTo>
                    <a:pt x="597" y="384"/>
                    <a:pt x="602" y="386"/>
                    <a:pt x="608" y="387"/>
                  </a:cubicBezTo>
                  <a:cubicBezTo>
                    <a:pt x="619" y="387"/>
                    <a:pt x="601" y="414"/>
                    <a:pt x="614" y="415"/>
                  </a:cubicBezTo>
                  <a:cubicBezTo>
                    <a:pt x="618" y="415"/>
                    <a:pt x="616" y="420"/>
                    <a:pt x="616" y="423"/>
                  </a:cubicBezTo>
                  <a:cubicBezTo>
                    <a:pt x="617" y="424"/>
                    <a:pt x="620" y="424"/>
                    <a:pt x="621" y="424"/>
                  </a:cubicBezTo>
                  <a:cubicBezTo>
                    <a:pt x="624" y="425"/>
                    <a:pt x="620" y="430"/>
                    <a:pt x="621" y="432"/>
                  </a:cubicBezTo>
                  <a:cubicBezTo>
                    <a:pt x="621" y="435"/>
                    <a:pt x="624" y="438"/>
                    <a:pt x="624" y="441"/>
                  </a:cubicBezTo>
                  <a:cubicBezTo>
                    <a:pt x="625" y="446"/>
                    <a:pt x="625" y="449"/>
                    <a:pt x="627" y="454"/>
                  </a:cubicBezTo>
                  <a:cubicBezTo>
                    <a:pt x="630" y="458"/>
                    <a:pt x="632" y="465"/>
                    <a:pt x="630" y="470"/>
                  </a:cubicBezTo>
                  <a:cubicBezTo>
                    <a:pt x="629" y="469"/>
                    <a:pt x="628" y="468"/>
                    <a:pt x="626" y="468"/>
                  </a:cubicBezTo>
                  <a:cubicBezTo>
                    <a:pt x="627" y="469"/>
                    <a:pt x="634" y="477"/>
                    <a:pt x="632" y="479"/>
                  </a:cubicBezTo>
                  <a:cubicBezTo>
                    <a:pt x="629" y="481"/>
                    <a:pt x="626" y="477"/>
                    <a:pt x="626" y="475"/>
                  </a:cubicBezTo>
                  <a:cubicBezTo>
                    <a:pt x="625" y="478"/>
                    <a:pt x="623" y="481"/>
                    <a:pt x="621" y="477"/>
                  </a:cubicBezTo>
                  <a:cubicBezTo>
                    <a:pt x="619" y="472"/>
                    <a:pt x="621" y="467"/>
                    <a:pt x="621" y="462"/>
                  </a:cubicBezTo>
                  <a:cubicBezTo>
                    <a:pt x="619" y="464"/>
                    <a:pt x="622" y="466"/>
                    <a:pt x="618" y="469"/>
                  </a:cubicBezTo>
                  <a:cubicBezTo>
                    <a:pt x="619" y="466"/>
                    <a:pt x="617" y="463"/>
                    <a:pt x="619" y="460"/>
                  </a:cubicBezTo>
                  <a:cubicBezTo>
                    <a:pt x="613" y="464"/>
                    <a:pt x="618" y="478"/>
                    <a:pt x="617" y="483"/>
                  </a:cubicBezTo>
                  <a:cubicBezTo>
                    <a:pt x="616" y="480"/>
                    <a:pt x="617" y="473"/>
                    <a:pt x="614" y="471"/>
                  </a:cubicBezTo>
                  <a:cubicBezTo>
                    <a:pt x="614" y="471"/>
                    <a:pt x="615" y="481"/>
                    <a:pt x="613" y="480"/>
                  </a:cubicBezTo>
                  <a:cubicBezTo>
                    <a:pt x="612" y="480"/>
                    <a:pt x="612" y="479"/>
                    <a:pt x="612" y="478"/>
                  </a:cubicBezTo>
                  <a:cubicBezTo>
                    <a:pt x="608" y="473"/>
                    <a:pt x="611" y="485"/>
                    <a:pt x="608" y="476"/>
                  </a:cubicBezTo>
                  <a:cubicBezTo>
                    <a:pt x="610" y="478"/>
                    <a:pt x="610" y="480"/>
                    <a:pt x="609" y="482"/>
                  </a:cubicBezTo>
                  <a:cubicBezTo>
                    <a:pt x="605" y="479"/>
                    <a:pt x="605" y="471"/>
                    <a:pt x="604" y="466"/>
                  </a:cubicBezTo>
                  <a:cubicBezTo>
                    <a:pt x="604" y="459"/>
                    <a:pt x="598" y="460"/>
                    <a:pt x="595" y="454"/>
                  </a:cubicBezTo>
                  <a:cubicBezTo>
                    <a:pt x="596" y="460"/>
                    <a:pt x="606" y="459"/>
                    <a:pt x="602" y="467"/>
                  </a:cubicBezTo>
                  <a:cubicBezTo>
                    <a:pt x="596" y="476"/>
                    <a:pt x="591" y="479"/>
                    <a:pt x="582" y="482"/>
                  </a:cubicBezTo>
                  <a:cubicBezTo>
                    <a:pt x="576" y="484"/>
                    <a:pt x="569" y="487"/>
                    <a:pt x="568" y="493"/>
                  </a:cubicBezTo>
                  <a:cubicBezTo>
                    <a:pt x="567" y="497"/>
                    <a:pt x="571" y="510"/>
                    <a:pt x="574" y="514"/>
                  </a:cubicBezTo>
                  <a:cubicBezTo>
                    <a:pt x="572" y="515"/>
                    <a:pt x="569" y="517"/>
                    <a:pt x="568" y="519"/>
                  </a:cubicBezTo>
                  <a:cubicBezTo>
                    <a:pt x="567" y="523"/>
                    <a:pt x="570" y="523"/>
                    <a:pt x="566" y="527"/>
                  </a:cubicBezTo>
                  <a:cubicBezTo>
                    <a:pt x="560" y="531"/>
                    <a:pt x="558" y="540"/>
                    <a:pt x="552" y="531"/>
                  </a:cubicBezTo>
                  <a:cubicBezTo>
                    <a:pt x="553" y="534"/>
                    <a:pt x="556" y="536"/>
                    <a:pt x="559" y="538"/>
                  </a:cubicBezTo>
                  <a:cubicBezTo>
                    <a:pt x="551" y="542"/>
                    <a:pt x="542" y="546"/>
                    <a:pt x="532" y="547"/>
                  </a:cubicBezTo>
                  <a:cubicBezTo>
                    <a:pt x="535" y="546"/>
                    <a:pt x="536" y="538"/>
                    <a:pt x="531" y="540"/>
                  </a:cubicBezTo>
                  <a:cubicBezTo>
                    <a:pt x="527" y="542"/>
                    <a:pt x="522" y="549"/>
                    <a:pt x="524" y="554"/>
                  </a:cubicBezTo>
                  <a:cubicBezTo>
                    <a:pt x="525" y="552"/>
                    <a:pt x="529" y="546"/>
                    <a:pt x="531" y="549"/>
                  </a:cubicBezTo>
                  <a:cubicBezTo>
                    <a:pt x="528" y="550"/>
                    <a:pt x="523" y="557"/>
                    <a:pt x="520" y="560"/>
                  </a:cubicBezTo>
                  <a:cubicBezTo>
                    <a:pt x="514" y="566"/>
                    <a:pt x="511" y="574"/>
                    <a:pt x="506" y="581"/>
                  </a:cubicBezTo>
                  <a:cubicBezTo>
                    <a:pt x="502" y="589"/>
                    <a:pt x="497" y="596"/>
                    <a:pt x="488" y="600"/>
                  </a:cubicBezTo>
                  <a:cubicBezTo>
                    <a:pt x="481" y="603"/>
                    <a:pt x="481" y="613"/>
                    <a:pt x="474" y="616"/>
                  </a:cubicBezTo>
                  <a:cubicBezTo>
                    <a:pt x="478" y="619"/>
                    <a:pt x="456" y="629"/>
                    <a:pt x="453" y="632"/>
                  </a:cubicBezTo>
                  <a:cubicBezTo>
                    <a:pt x="451" y="634"/>
                    <a:pt x="448" y="637"/>
                    <a:pt x="447" y="640"/>
                  </a:cubicBezTo>
                  <a:cubicBezTo>
                    <a:pt x="445" y="645"/>
                    <a:pt x="451" y="646"/>
                    <a:pt x="449" y="652"/>
                  </a:cubicBezTo>
                  <a:cubicBezTo>
                    <a:pt x="445" y="663"/>
                    <a:pt x="432" y="662"/>
                    <a:pt x="422" y="663"/>
                  </a:cubicBezTo>
                  <a:cubicBezTo>
                    <a:pt x="418" y="663"/>
                    <a:pt x="418" y="666"/>
                    <a:pt x="417" y="669"/>
                  </a:cubicBezTo>
                  <a:cubicBezTo>
                    <a:pt x="416" y="672"/>
                    <a:pt x="412" y="679"/>
                    <a:pt x="412" y="682"/>
                  </a:cubicBezTo>
                  <a:cubicBezTo>
                    <a:pt x="409" y="681"/>
                    <a:pt x="409" y="678"/>
                    <a:pt x="408" y="675"/>
                  </a:cubicBezTo>
                  <a:cubicBezTo>
                    <a:pt x="409" y="678"/>
                    <a:pt x="407" y="681"/>
                    <a:pt x="406" y="684"/>
                  </a:cubicBezTo>
                  <a:cubicBezTo>
                    <a:pt x="408" y="674"/>
                    <a:pt x="394" y="680"/>
                    <a:pt x="392" y="685"/>
                  </a:cubicBezTo>
                  <a:cubicBezTo>
                    <a:pt x="388" y="692"/>
                    <a:pt x="383" y="702"/>
                    <a:pt x="386" y="710"/>
                  </a:cubicBezTo>
                  <a:cubicBezTo>
                    <a:pt x="388" y="716"/>
                    <a:pt x="391" y="723"/>
                    <a:pt x="391" y="730"/>
                  </a:cubicBezTo>
                  <a:cubicBezTo>
                    <a:pt x="391" y="741"/>
                    <a:pt x="393" y="750"/>
                    <a:pt x="396" y="760"/>
                  </a:cubicBezTo>
                  <a:cubicBezTo>
                    <a:pt x="395" y="759"/>
                    <a:pt x="391" y="750"/>
                    <a:pt x="391" y="757"/>
                  </a:cubicBezTo>
                  <a:cubicBezTo>
                    <a:pt x="389" y="752"/>
                    <a:pt x="389" y="759"/>
                    <a:pt x="391" y="760"/>
                  </a:cubicBezTo>
                  <a:cubicBezTo>
                    <a:pt x="393" y="761"/>
                    <a:pt x="396" y="761"/>
                    <a:pt x="398" y="764"/>
                  </a:cubicBezTo>
                  <a:cubicBezTo>
                    <a:pt x="401" y="769"/>
                    <a:pt x="398" y="782"/>
                    <a:pt x="397" y="788"/>
                  </a:cubicBezTo>
                  <a:cubicBezTo>
                    <a:pt x="396" y="797"/>
                    <a:pt x="390" y="805"/>
                    <a:pt x="387" y="814"/>
                  </a:cubicBezTo>
                  <a:cubicBezTo>
                    <a:pt x="385" y="821"/>
                    <a:pt x="388" y="831"/>
                    <a:pt x="383" y="837"/>
                  </a:cubicBezTo>
                  <a:cubicBezTo>
                    <a:pt x="384" y="836"/>
                    <a:pt x="385" y="836"/>
                    <a:pt x="386" y="835"/>
                  </a:cubicBezTo>
                  <a:cubicBezTo>
                    <a:pt x="389" y="839"/>
                    <a:pt x="389" y="844"/>
                    <a:pt x="389" y="849"/>
                  </a:cubicBezTo>
                  <a:cubicBezTo>
                    <a:pt x="389" y="857"/>
                    <a:pt x="391" y="864"/>
                    <a:pt x="391" y="872"/>
                  </a:cubicBezTo>
                  <a:cubicBezTo>
                    <a:pt x="389" y="872"/>
                    <a:pt x="387" y="871"/>
                    <a:pt x="385" y="871"/>
                  </a:cubicBezTo>
                  <a:cubicBezTo>
                    <a:pt x="392" y="874"/>
                    <a:pt x="384" y="872"/>
                    <a:pt x="383" y="872"/>
                  </a:cubicBezTo>
                  <a:cubicBezTo>
                    <a:pt x="380" y="871"/>
                    <a:pt x="376" y="870"/>
                    <a:pt x="374" y="873"/>
                  </a:cubicBezTo>
                  <a:cubicBezTo>
                    <a:pt x="373" y="875"/>
                    <a:pt x="372" y="877"/>
                    <a:pt x="373" y="879"/>
                  </a:cubicBezTo>
                  <a:cubicBezTo>
                    <a:pt x="374" y="883"/>
                    <a:pt x="370" y="886"/>
                    <a:pt x="368" y="888"/>
                  </a:cubicBezTo>
                  <a:cubicBezTo>
                    <a:pt x="366" y="893"/>
                    <a:pt x="360" y="903"/>
                    <a:pt x="368" y="906"/>
                  </a:cubicBezTo>
                  <a:cubicBezTo>
                    <a:pt x="370" y="907"/>
                    <a:pt x="373" y="907"/>
                    <a:pt x="375" y="906"/>
                  </a:cubicBezTo>
                  <a:cubicBezTo>
                    <a:pt x="376" y="906"/>
                    <a:pt x="379" y="911"/>
                    <a:pt x="380" y="912"/>
                  </a:cubicBezTo>
                  <a:cubicBezTo>
                    <a:pt x="372" y="903"/>
                    <a:pt x="359" y="909"/>
                    <a:pt x="351" y="913"/>
                  </a:cubicBezTo>
                  <a:cubicBezTo>
                    <a:pt x="339" y="918"/>
                    <a:pt x="345" y="929"/>
                    <a:pt x="339" y="937"/>
                  </a:cubicBezTo>
                  <a:cubicBezTo>
                    <a:pt x="336" y="941"/>
                    <a:pt x="331" y="944"/>
                    <a:pt x="327" y="946"/>
                  </a:cubicBezTo>
                  <a:cubicBezTo>
                    <a:pt x="320" y="950"/>
                    <a:pt x="316" y="946"/>
                    <a:pt x="310" y="942"/>
                  </a:cubicBezTo>
                  <a:cubicBezTo>
                    <a:pt x="308" y="939"/>
                    <a:pt x="289" y="919"/>
                    <a:pt x="295" y="918"/>
                  </a:cubicBezTo>
                  <a:cubicBezTo>
                    <a:pt x="290" y="920"/>
                    <a:pt x="288" y="909"/>
                    <a:pt x="286" y="905"/>
                  </a:cubicBezTo>
                  <a:cubicBezTo>
                    <a:pt x="283" y="898"/>
                    <a:pt x="280" y="891"/>
                    <a:pt x="282" y="884"/>
                  </a:cubicBezTo>
                  <a:cubicBezTo>
                    <a:pt x="284" y="886"/>
                    <a:pt x="284" y="889"/>
                    <a:pt x="284" y="892"/>
                  </a:cubicBezTo>
                  <a:cubicBezTo>
                    <a:pt x="285" y="885"/>
                    <a:pt x="284" y="899"/>
                    <a:pt x="288" y="900"/>
                  </a:cubicBezTo>
                  <a:cubicBezTo>
                    <a:pt x="287" y="896"/>
                    <a:pt x="288" y="891"/>
                    <a:pt x="286" y="888"/>
                  </a:cubicBezTo>
                  <a:cubicBezTo>
                    <a:pt x="285" y="885"/>
                    <a:pt x="281" y="883"/>
                    <a:pt x="281" y="879"/>
                  </a:cubicBezTo>
                  <a:cubicBezTo>
                    <a:pt x="281" y="886"/>
                    <a:pt x="279" y="879"/>
                    <a:pt x="279" y="878"/>
                  </a:cubicBezTo>
                  <a:cubicBezTo>
                    <a:pt x="279" y="874"/>
                    <a:pt x="277" y="873"/>
                    <a:pt x="275" y="869"/>
                  </a:cubicBezTo>
                  <a:cubicBezTo>
                    <a:pt x="272" y="862"/>
                    <a:pt x="270" y="854"/>
                    <a:pt x="267" y="847"/>
                  </a:cubicBezTo>
                  <a:cubicBezTo>
                    <a:pt x="266" y="844"/>
                    <a:pt x="249" y="817"/>
                    <a:pt x="250" y="815"/>
                  </a:cubicBezTo>
                  <a:cubicBezTo>
                    <a:pt x="240" y="802"/>
                    <a:pt x="232" y="787"/>
                    <a:pt x="229" y="770"/>
                  </a:cubicBezTo>
                  <a:cubicBezTo>
                    <a:pt x="227" y="765"/>
                    <a:pt x="227" y="759"/>
                    <a:pt x="225" y="754"/>
                  </a:cubicBezTo>
                  <a:cubicBezTo>
                    <a:pt x="223" y="750"/>
                    <a:pt x="222" y="747"/>
                    <a:pt x="220" y="743"/>
                  </a:cubicBezTo>
                  <a:cubicBezTo>
                    <a:pt x="219" y="741"/>
                    <a:pt x="215" y="734"/>
                    <a:pt x="220" y="735"/>
                  </a:cubicBezTo>
                  <a:cubicBezTo>
                    <a:pt x="214" y="734"/>
                    <a:pt x="216" y="726"/>
                    <a:pt x="213" y="722"/>
                  </a:cubicBezTo>
                  <a:cubicBezTo>
                    <a:pt x="211" y="720"/>
                    <a:pt x="202" y="715"/>
                    <a:pt x="210" y="714"/>
                  </a:cubicBezTo>
                  <a:cubicBezTo>
                    <a:pt x="205" y="716"/>
                    <a:pt x="203" y="710"/>
                    <a:pt x="202" y="707"/>
                  </a:cubicBezTo>
                  <a:cubicBezTo>
                    <a:pt x="201" y="705"/>
                    <a:pt x="200" y="702"/>
                    <a:pt x="199" y="700"/>
                  </a:cubicBezTo>
                  <a:cubicBezTo>
                    <a:pt x="197" y="697"/>
                    <a:pt x="193" y="696"/>
                    <a:pt x="198" y="695"/>
                  </a:cubicBezTo>
                  <a:cubicBezTo>
                    <a:pt x="196" y="695"/>
                    <a:pt x="194" y="691"/>
                    <a:pt x="194" y="689"/>
                  </a:cubicBezTo>
                  <a:cubicBezTo>
                    <a:pt x="194" y="686"/>
                    <a:pt x="191" y="685"/>
                    <a:pt x="189" y="682"/>
                  </a:cubicBezTo>
                  <a:cubicBezTo>
                    <a:pt x="184" y="676"/>
                    <a:pt x="181" y="668"/>
                    <a:pt x="179" y="660"/>
                  </a:cubicBezTo>
                  <a:cubicBezTo>
                    <a:pt x="177" y="654"/>
                    <a:pt x="175" y="649"/>
                    <a:pt x="175" y="643"/>
                  </a:cubicBezTo>
                  <a:cubicBezTo>
                    <a:pt x="175" y="637"/>
                    <a:pt x="172" y="631"/>
                    <a:pt x="171" y="625"/>
                  </a:cubicBezTo>
                  <a:cubicBezTo>
                    <a:pt x="170" y="620"/>
                    <a:pt x="167" y="615"/>
                    <a:pt x="166" y="610"/>
                  </a:cubicBezTo>
                  <a:cubicBezTo>
                    <a:pt x="164" y="606"/>
                    <a:pt x="158" y="595"/>
                    <a:pt x="164" y="597"/>
                  </a:cubicBezTo>
                  <a:cubicBezTo>
                    <a:pt x="163" y="596"/>
                    <a:pt x="155" y="586"/>
                    <a:pt x="162" y="589"/>
                  </a:cubicBezTo>
                  <a:cubicBezTo>
                    <a:pt x="161" y="585"/>
                    <a:pt x="156" y="582"/>
                    <a:pt x="158" y="578"/>
                  </a:cubicBezTo>
                  <a:cubicBezTo>
                    <a:pt x="159" y="578"/>
                    <a:pt x="160" y="579"/>
                    <a:pt x="160" y="580"/>
                  </a:cubicBezTo>
                  <a:cubicBezTo>
                    <a:pt x="161" y="577"/>
                    <a:pt x="160" y="575"/>
                    <a:pt x="158" y="574"/>
                  </a:cubicBezTo>
                  <a:cubicBezTo>
                    <a:pt x="162" y="572"/>
                    <a:pt x="160" y="568"/>
                    <a:pt x="159" y="565"/>
                  </a:cubicBezTo>
                  <a:cubicBezTo>
                    <a:pt x="159" y="568"/>
                    <a:pt x="158" y="570"/>
                    <a:pt x="156" y="571"/>
                  </a:cubicBezTo>
                  <a:cubicBezTo>
                    <a:pt x="153" y="566"/>
                    <a:pt x="154" y="555"/>
                    <a:pt x="161" y="563"/>
                  </a:cubicBezTo>
                  <a:cubicBezTo>
                    <a:pt x="160" y="560"/>
                    <a:pt x="149" y="559"/>
                    <a:pt x="153" y="555"/>
                  </a:cubicBezTo>
                  <a:cubicBezTo>
                    <a:pt x="154" y="553"/>
                    <a:pt x="149" y="547"/>
                    <a:pt x="148" y="546"/>
                  </a:cubicBezTo>
                  <a:cubicBezTo>
                    <a:pt x="147" y="541"/>
                    <a:pt x="147" y="536"/>
                    <a:pt x="148" y="531"/>
                  </a:cubicBezTo>
                  <a:cubicBezTo>
                    <a:pt x="149" y="524"/>
                    <a:pt x="154" y="516"/>
                    <a:pt x="151" y="508"/>
                  </a:cubicBezTo>
                  <a:cubicBezTo>
                    <a:pt x="151" y="507"/>
                    <a:pt x="148" y="494"/>
                    <a:pt x="145" y="499"/>
                  </a:cubicBezTo>
                  <a:cubicBezTo>
                    <a:pt x="146" y="495"/>
                    <a:pt x="145" y="495"/>
                    <a:pt x="142" y="499"/>
                  </a:cubicBezTo>
                  <a:cubicBezTo>
                    <a:pt x="146" y="494"/>
                    <a:pt x="140" y="493"/>
                    <a:pt x="141" y="490"/>
                  </a:cubicBezTo>
                  <a:cubicBezTo>
                    <a:pt x="141" y="488"/>
                    <a:pt x="142" y="486"/>
                    <a:pt x="142" y="484"/>
                  </a:cubicBezTo>
                  <a:cubicBezTo>
                    <a:pt x="143" y="481"/>
                    <a:pt x="153" y="479"/>
                    <a:pt x="155" y="475"/>
                  </a:cubicBezTo>
                  <a:cubicBezTo>
                    <a:pt x="147" y="481"/>
                    <a:pt x="130" y="476"/>
                    <a:pt x="142" y="468"/>
                  </a:cubicBezTo>
                  <a:cubicBezTo>
                    <a:pt x="138" y="470"/>
                    <a:pt x="133" y="467"/>
                    <a:pt x="136" y="462"/>
                  </a:cubicBezTo>
                  <a:cubicBezTo>
                    <a:pt x="138" y="459"/>
                    <a:pt x="142" y="462"/>
                    <a:pt x="145" y="459"/>
                  </a:cubicBezTo>
                  <a:cubicBezTo>
                    <a:pt x="141" y="460"/>
                    <a:pt x="133" y="458"/>
                    <a:pt x="131" y="454"/>
                  </a:cubicBezTo>
                  <a:cubicBezTo>
                    <a:pt x="130" y="456"/>
                    <a:pt x="126" y="457"/>
                    <a:pt x="126" y="457"/>
                  </a:cubicBezTo>
                  <a:cubicBezTo>
                    <a:pt x="126" y="458"/>
                    <a:pt x="129" y="459"/>
                    <a:pt x="129" y="462"/>
                  </a:cubicBezTo>
                  <a:cubicBezTo>
                    <a:pt x="129" y="466"/>
                    <a:pt x="126" y="467"/>
                    <a:pt x="123" y="468"/>
                  </a:cubicBezTo>
                  <a:cubicBezTo>
                    <a:pt x="124" y="469"/>
                    <a:pt x="125" y="470"/>
                    <a:pt x="125" y="471"/>
                  </a:cubicBezTo>
                  <a:cubicBezTo>
                    <a:pt x="123" y="470"/>
                    <a:pt x="121" y="471"/>
                    <a:pt x="121" y="474"/>
                  </a:cubicBezTo>
                  <a:cubicBezTo>
                    <a:pt x="129" y="476"/>
                    <a:pt x="132" y="481"/>
                    <a:pt x="127" y="489"/>
                  </a:cubicBezTo>
                  <a:cubicBezTo>
                    <a:pt x="125" y="492"/>
                    <a:pt x="126" y="495"/>
                    <a:pt x="122" y="497"/>
                  </a:cubicBezTo>
                  <a:cubicBezTo>
                    <a:pt x="118" y="498"/>
                    <a:pt x="114" y="501"/>
                    <a:pt x="110" y="504"/>
                  </a:cubicBezTo>
                  <a:cubicBezTo>
                    <a:pt x="103" y="508"/>
                    <a:pt x="94" y="514"/>
                    <a:pt x="86" y="511"/>
                  </a:cubicBezTo>
                  <a:cubicBezTo>
                    <a:pt x="77" y="508"/>
                    <a:pt x="67" y="500"/>
                    <a:pt x="61" y="492"/>
                  </a:cubicBezTo>
                  <a:cubicBezTo>
                    <a:pt x="54" y="481"/>
                    <a:pt x="42" y="474"/>
                    <a:pt x="33" y="464"/>
                  </a:cubicBezTo>
                  <a:cubicBezTo>
                    <a:pt x="31" y="461"/>
                    <a:pt x="24" y="452"/>
                    <a:pt x="32" y="451"/>
                  </a:cubicBezTo>
                  <a:cubicBezTo>
                    <a:pt x="34" y="451"/>
                    <a:pt x="34" y="455"/>
                    <a:pt x="35" y="456"/>
                  </a:cubicBezTo>
                  <a:cubicBezTo>
                    <a:pt x="38" y="458"/>
                    <a:pt x="44" y="456"/>
                    <a:pt x="45" y="452"/>
                  </a:cubicBezTo>
                  <a:cubicBezTo>
                    <a:pt x="48" y="457"/>
                    <a:pt x="62" y="448"/>
                    <a:pt x="65" y="446"/>
                  </a:cubicBezTo>
                  <a:cubicBezTo>
                    <a:pt x="67" y="443"/>
                    <a:pt x="67" y="439"/>
                    <a:pt x="68" y="436"/>
                  </a:cubicBezTo>
                  <a:cubicBezTo>
                    <a:pt x="70" y="433"/>
                    <a:pt x="75" y="431"/>
                    <a:pt x="71" y="428"/>
                  </a:cubicBezTo>
                  <a:cubicBezTo>
                    <a:pt x="69" y="430"/>
                    <a:pt x="71" y="435"/>
                    <a:pt x="67" y="434"/>
                  </a:cubicBezTo>
                  <a:cubicBezTo>
                    <a:pt x="63" y="434"/>
                    <a:pt x="59" y="435"/>
                    <a:pt x="55" y="436"/>
                  </a:cubicBezTo>
                  <a:cubicBezTo>
                    <a:pt x="52" y="438"/>
                    <a:pt x="50" y="441"/>
                    <a:pt x="46" y="441"/>
                  </a:cubicBezTo>
                  <a:cubicBezTo>
                    <a:pt x="41" y="440"/>
                    <a:pt x="36" y="438"/>
                    <a:pt x="32" y="436"/>
                  </a:cubicBezTo>
                  <a:cubicBezTo>
                    <a:pt x="28" y="434"/>
                    <a:pt x="23" y="432"/>
                    <a:pt x="19" y="429"/>
                  </a:cubicBezTo>
                  <a:cubicBezTo>
                    <a:pt x="16" y="427"/>
                    <a:pt x="16" y="421"/>
                    <a:pt x="12" y="420"/>
                  </a:cubicBezTo>
                  <a:cubicBezTo>
                    <a:pt x="0" y="415"/>
                    <a:pt x="14" y="406"/>
                    <a:pt x="18" y="403"/>
                  </a:cubicBezTo>
                  <a:cubicBezTo>
                    <a:pt x="11" y="402"/>
                    <a:pt x="7" y="415"/>
                    <a:pt x="0" y="412"/>
                  </a:cubicBezTo>
                  <a:cubicBezTo>
                    <a:pt x="2" y="410"/>
                    <a:pt x="2" y="408"/>
                    <a:pt x="1" y="406"/>
                  </a:cubicBezTo>
                </a:path>
              </a:pathLst>
            </a:custGeom>
            <a:grpFill/>
            <a:ln w="158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239BAD9F-C7AC-41D4-A500-4003D6649430}"/>
              </a:ext>
            </a:extLst>
          </p:cNvPr>
          <p:cNvGrpSpPr/>
          <p:nvPr/>
        </p:nvGrpSpPr>
        <p:grpSpPr>
          <a:xfrm>
            <a:off x="6462390" y="1061311"/>
            <a:ext cx="5404493" cy="5202824"/>
            <a:chOff x="6558462" y="997811"/>
            <a:chExt cx="5404493" cy="5202824"/>
          </a:xfrm>
        </p:grpSpPr>
        <p:sp>
          <p:nvSpPr>
            <p:cNvPr id="163" name="Rounded Rectangle 88">
              <a:extLst>
                <a:ext uri="{FF2B5EF4-FFF2-40B4-BE49-F238E27FC236}">
                  <a16:creationId xmlns:a16="http://schemas.microsoft.com/office/drawing/2014/main" id="{D650B982-33C1-4F7B-9BC9-A0E404FC6B61}"/>
                </a:ext>
              </a:extLst>
            </p:cNvPr>
            <p:cNvSpPr/>
            <p:nvPr/>
          </p:nvSpPr>
          <p:spPr>
            <a:xfrm>
              <a:off x="6558462" y="997811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ounded Rectangle 89">
              <a:extLst>
                <a:ext uri="{FF2B5EF4-FFF2-40B4-BE49-F238E27FC236}">
                  <a16:creationId xmlns:a16="http://schemas.microsoft.com/office/drawing/2014/main" id="{D8266270-2AA4-40AF-B223-0F333D7E40BE}"/>
                </a:ext>
              </a:extLst>
            </p:cNvPr>
            <p:cNvSpPr/>
            <p:nvPr/>
          </p:nvSpPr>
          <p:spPr>
            <a:xfrm>
              <a:off x="6558462" y="2364522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ounded Rectangle 90">
              <a:extLst>
                <a:ext uri="{FF2B5EF4-FFF2-40B4-BE49-F238E27FC236}">
                  <a16:creationId xmlns:a16="http://schemas.microsoft.com/office/drawing/2014/main" id="{633A9C85-3E89-4B24-9DD0-89AD11A22722}"/>
                </a:ext>
              </a:extLst>
            </p:cNvPr>
            <p:cNvSpPr/>
            <p:nvPr/>
          </p:nvSpPr>
          <p:spPr>
            <a:xfrm>
              <a:off x="6558462" y="3731233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4F7B84E7-F353-4547-8CF3-C5B6700C523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587399" y="1089016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1"/>
                  </a:solidFill>
                </a:rPr>
                <a:t>62%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FD497ECE-C1B2-4E71-8AF1-41AFEED6C6A6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587399" y="2455727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2"/>
                  </a:solidFill>
                </a:rPr>
                <a:t>79%</a:t>
              </a: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7CF4166F-A878-440E-9064-37D130864F76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587399" y="3822438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3"/>
                  </a:solidFill>
                </a:rPr>
                <a:t>81%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0B602BC2-4400-476E-9D8E-2D038A72E26D}"/>
                </a:ext>
              </a:extLst>
            </p:cNvPr>
            <p:cNvSpPr txBox="1"/>
            <p:nvPr/>
          </p:nvSpPr>
          <p:spPr>
            <a:xfrm>
              <a:off x="8584177" y="1125661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61D43278-0FB9-43D5-9E15-B536B686BBAC}"/>
                </a:ext>
              </a:extLst>
            </p:cNvPr>
            <p:cNvSpPr txBox="1"/>
            <p:nvPr/>
          </p:nvSpPr>
          <p:spPr>
            <a:xfrm>
              <a:off x="8584177" y="2486503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B691A837-E6B3-4E39-A313-CDFD6D9AB556}"/>
                </a:ext>
              </a:extLst>
            </p:cNvPr>
            <p:cNvSpPr txBox="1"/>
            <p:nvPr/>
          </p:nvSpPr>
          <p:spPr>
            <a:xfrm>
              <a:off x="8584177" y="3853214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172" name="Rounded Rectangle 90">
              <a:extLst>
                <a:ext uri="{FF2B5EF4-FFF2-40B4-BE49-F238E27FC236}">
                  <a16:creationId xmlns:a16="http://schemas.microsoft.com/office/drawing/2014/main" id="{32A2A4AE-0548-416A-BFE9-62F4324F50AE}"/>
                </a:ext>
              </a:extLst>
            </p:cNvPr>
            <p:cNvSpPr/>
            <p:nvPr/>
          </p:nvSpPr>
          <p:spPr>
            <a:xfrm>
              <a:off x="6558462" y="5094898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DA232983-74E9-4296-A965-603CC91458E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87399" y="5186103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tx2"/>
                  </a:solidFill>
                </a:rPr>
                <a:t>45%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F864113D-5AD8-4E1D-9200-8643F997FF3A}"/>
                </a:ext>
              </a:extLst>
            </p:cNvPr>
            <p:cNvSpPr txBox="1"/>
            <p:nvPr/>
          </p:nvSpPr>
          <p:spPr>
            <a:xfrm>
              <a:off x="8584177" y="5216879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6D348F8B-D18E-4DBB-B0F8-BF84F21377EF}"/>
              </a:ext>
            </a:extLst>
          </p:cNvPr>
          <p:cNvGrpSpPr/>
          <p:nvPr/>
        </p:nvGrpSpPr>
        <p:grpSpPr>
          <a:xfrm>
            <a:off x="3802262" y="1907923"/>
            <a:ext cx="418315" cy="418315"/>
            <a:chOff x="7004151" y="1986191"/>
            <a:chExt cx="418315" cy="418315"/>
          </a:xfrm>
        </p:grpSpPr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CDD0CA6C-D4D6-48B6-90FC-557E1ACA9C6E}"/>
                </a:ext>
              </a:extLst>
            </p:cNvPr>
            <p:cNvSpPr/>
            <p:nvPr/>
          </p:nvSpPr>
          <p:spPr>
            <a:xfrm>
              <a:off x="7004151" y="1986191"/>
              <a:ext cx="418315" cy="418315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0939D9A1-D1D6-43F5-BC31-B8EEB15EB369}"/>
                </a:ext>
              </a:extLst>
            </p:cNvPr>
            <p:cNvGrpSpPr/>
            <p:nvPr/>
          </p:nvGrpSpPr>
          <p:grpSpPr>
            <a:xfrm>
              <a:off x="7133466" y="2106634"/>
              <a:ext cx="159685" cy="177428"/>
              <a:chOff x="4356100" y="769938"/>
              <a:chExt cx="257175" cy="285750"/>
            </a:xfrm>
            <a:solidFill>
              <a:schemeClr val="bg1"/>
            </a:solidFill>
          </p:grpSpPr>
          <p:sp>
            <p:nvSpPr>
              <p:cNvPr id="242" name="Freeform 43">
                <a:extLst>
                  <a:ext uri="{FF2B5EF4-FFF2-40B4-BE49-F238E27FC236}">
                    <a16:creationId xmlns:a16="http://schemas.microsoft.com/office/drawing/2014/main" id="{2F0938F5-49EB-4A5F-B212-113F406A94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00" y="769938"/>
                <a:ext cx="257175" cy="190500"/>
              </a:xfrm>
              <a:custGeom>
                <a:avLst/>
                <a:gdLst>
                  <a:gd name="T0" fmla="*/ 174 w 808"/>
                  <a:gd name="T1" fmla="*/ 565 h 598"/>
                  <a:gd name="T2" fmla="*/ 110 w 808"/>
                  <a:gd name="T3" fmla="*/ 537 h 598"/>
                  <a:gd name="T4" fmla="*/ 61 w 808"/>
                  <a:gd name="T5" fmla="*/ 488 h 598"/>
                  <a:gd name="T6" fmla="*/ 33 w 808"/>
                  <a:gd name="T7" fmla="*/ 423 h 598"/>
                  <a:gd name="T8" fmla="*/ 33 w 808"/>
                  <a:gd name="T9" fmla="*/ 356 h 598"/>
                  <a:gd name="T10" fmla="*/ 59 w 808"/>
                  <a:gd name="T11" fmla="*/ 295 h 598"/>
                  <a:gd name="T12" fmla="*/ 104 w 808"/>
                  <a:gd name="T13" fmla="*/ 247 h 598"/>
                  <a:gd name="T14" fmla="*/ 163 w 808"/>
                  <a:gd name="T15" fmla="*/ 216 h 598"/>
                  <a:gd name="T16" fmla="*/ 205 w 808"/>
                  <a:gd name="T17" fmla="*/ 205 h 598"/>
                  <a:gd name="T18" fmla="*/ 212 w 808"/>
                  <a:gd name="T19" fmla="*/ 177 h 598"/>
                  <a:gd name="T20" fmla="*/ 232 w 808"/>
                  <a:gd name="T21" fmla="*/ 127 h 598"/>
                  <a:gd name="T22" fmla="*/ 282 w 808"/>
                  <a:gd name="T23" fmla="*/ 74 h 598"/>
                  <a:gd name="T24" fmla="*/ 348 w 808"/>
                  <a:gd name="T25" fmla="*/ 41 h 598"/>
                  <a:gd name="T26" fmla="*/ 418 w 808"/>
                  <a:gd name="T27" fmla="*/ 29 h 598"/>
                  <a:gd name="T28" fmla="*/ 478 w 808"/>
                  <a:gd name="T29" fmla="*/ 41 h 598"/>
                  <a:gd name="T30" fmla="*/ 530 w 808"/>
                  <a:gd name="T31" fmla="*/ 73 h 598"/>
                  <a:gd name="T32" fmla="*/ 572 w 808"/>
                  <a:gd name="T33" fmla="*/ 118 h 598"/>
                  <a:gd name="T34" fmla="*/ 599 w 808"/>
                  <a:gd name="T35" fmla="*/ 170 h 598"/>
                  <a:gd name="T36" fmla="*/ 615 w 808"/>
                  <a:gd name="T37" fmla="*/ 179 h 598"/>
                  <a:gd name="T38" fmla="*/ 674 w 808"/>
                  <a:gd name="T39" fmla="*/ 186 h 598"/>
                  <a:gd name="T40" fmla="*/ 707 w 808"/>
                  <a:gd name="T41" fmla="*/ 208 h 598"/>
                  <a:gd name="T42" fmla="*/ 724 w 808"/>
                  <a:gd name="T43" fmla="*/ 235 h 598"/>
                  <a:gd name="T44" fmla="*/ 726 w 808"/>
                  <a:gd name="T45" fmla="*/ 272 h 598"/>
                  <a:gd name="T46" fmla="*/ 719 w 808"/>
                  <a:gd name="T47" fmla="*/ 303 h 598"/>
                  <a:gd name="T48" fmla="*/ 736 w 808"/>
                  <a:gd name="T49" fmla="*/ 322 h 598"/>
                  <a:gd name="T50" fmla="*/ 763 w 808"/>
                  <a:gd name="T51" fmla="*/ 361 h 598"/>
                  <a:gd name="T52" fmla="*/ 778 w 808"/>
                  <a:gd name="T53" fmla="*/ 433 h 598"/>
                  <a:gd name="T54" fmla="*/ 767 w 808"/>
                  <a:gd name="T55" fmla="*/ 485 h 598"/>
                  <a:gd name="T56" fmla="*/ 739 w 808"/>
                  <a:gd name="T57" fmla="*/ 528 h 598"/>
                  <a:gd name="T58" fmla="*/ 695 w 808"/>
                  <a:gd name="T59" fmla="*/ 557 h 598"/>
                  <a:gd name="T60" fmla="*/ 642 w 808"/>
                  <a:gd name="T61" fmla="*/ 568 h 598"/>
                  <a:gd name="T62" fmla="*/ 758 w 808"/>
                  <a:gd name="T63" fmla="*/ 257 h 598"/>
                  <a:gd name="T64" fmla="*/ 747 w 808"/>
                  <a:gd name="T65" fmla="*/ 211 h 598"/>
                  <a:gd name="T66" fmla="*/ 726 w 808"/>
                  <a:gd name="T67" fmla="*/ 183 h 598"/>
                  <a:gd name="T68" fmla="*/ 699 w 808"/>
                  <a:gd name="T69" fmla="*/ 164 h 598"/>
                  <a:gd name="T70" fmla="*/ 641 w 808"/>
                  <a:gd name="T71" fmla="*/ 149 h 598"/>
                  <a:gd name="T72" fmla="*/ 600 w 808"/>
                  <a:gd name="T73" fmla="*/ 108 h 598"/>
                  <a:gd name="T74" fmla="*/ 558 w 808"/>
                  <a:gd name="T75" fmla="*/ 57 h 598"/>
                  <a:gd name="T76" fmla="*/ 502 w 808"/>
                  <a:gd name="T77" fmla="*/ 20 h 598"/>
                  <a:gd name="T78" fmla="*/ 437 w 808"/>
                  <a:gd name="T79" fmla="*/ 1 h 598"/>
                  <a:gd name="T80" fmla="*/ 349 w 808"/>
                  <a:gd name="T81" fmla="*/ 8 h 598"/>
                  <a:gd name="T82" fmla="*/ 271 w 808"/>
                  <a:gd name="T83" fmla="*/ 44 h 598"/>
                  <a:gd name="T84" fmla="*/ 215 w 808"/>
                  <a:gd name="T85" fmla="*/ 99 h 598"/>
                  <a:gd name="T86" fmla="*/ 184 w 808"/>
                  <a:gd name="T87" fmla="*/ 163 h 598"/>
                  <a:gd name="T88" fmla="*/ 127 w 808"/>
                  <a:gd name="T89" fmla="*/ 198 h 598"/>
                  <a:gd name="T90" fmla="*/ 66 w 808"/>
                  <a:gd name="T91" fmla="*/ 240 h 598"/>
                  <a:gd name="T92" fmla="*/ 21 w 808"/>
                  <a:gd name="T93" fmla="*/ 300 h 598"/>
                  <a:gd name="T94" fmla="*/ 1 w 808"/>
                  <a:gd name="T95" fmla="*/ 370 h 598"/>
                  <a:gd name="T96" fmla="*/ 2 w 808"/>
                  <a:gd name="T97" fmla="*/ 419 h 598"/>
                  <a:gd name="T98" fmla="*/ 25 w 808"/>
                  <a:gd name="T99" fmla="*/ 487 h 598"/>
                  <a:gd name="T100" fmla="*/ 78 w 808"/>
                  <a:gd name="T101" fmla="*/ 549 h 598"/>
                  <a:gd name="T102" fmla="*/ 149 w 808"/>
                  <a:gd name="T103" fmla="*/ 588 h 598"/>
                  <a:gd name="T104" fmla="*/ 199 w 808"/>
                  <a:gd name="T105" fmla="*/ 598 h 598"/>
                  <a:gd name="T106" fmla="*/ 675 w 808"/>
                  <a:gd name="T107" fmla="*/ 595 h 598"/>
                  <a:gd name="T108" fmla="*/ 734 w 808"/>
                  <a:gd name="T109" fmla="*/ 570 h 598"/>
                  <a:gd name="T110" fmla="*/ 779 w 808"/>
                  <a:gd name="T111" fmla="*/ 525 h 598"/>
                  <a:gd name="T112" fmla="*/ 805 w 808"/>
                  <a:gd name="T113" fmla="*/ 466 h 598"/>
                  <a:gd name="T114" fmla="*/ 805 w 808"/>
                  <a:gd name="T115" fmla="*/ 398 h 598"/>
                  <a:gd name="T116" fmla="*/ 788 w 808"/>
                  <a:gd name="T117" fmla="*/ 342 h 598"/>
                  <a:gd name="T118" fmla="*/ 765 w 808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8">
                    <a:moveTo>
                      <a:pt x="642" y="568"/>
                    </a:moveTo>
                    <a:lnTo>
                      <a:pt x="210" y="568"/>
                    </a:lnTo>
                    <a:lnTo>
                      <a:pt x="191" y="567"/>
                    </a:lnTo>
                    <a:lnTo>
                      <a:pt x="174" y="565"/>
                    </a:lnTo>
                    <a:lnTo>
                      <a:pt x="157" y="559"/>
                    </a:lnTo>
                    <a:lnTo>
                      <a:pt x="141" y="554"/>
                    </a:lnTo>
                    <a:lnTo>
                      <a:pt x="125" y="545"/>
                    </a:lnTo>
                    <a:lnTo>
                      <a:pt x="110" y="537"/>
                    </a:lnTo>
                    <a:lnTo>
                      <a:pt x="96" y="526"/>
                    </a:lnTo>
                    <a:lnTo>
                      <a:pt x="83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3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1" y="372"/>
                    </a:lnTo>
                    <a:lnTo>
                      <a:pt x="33" y="356"/>
                    </a:lnTo>
                    <a:lnTo>
                      <a:pt x="37" y="340"/>
                    </a:lnTo>
                    <a:lnTo>
                      <a:pt x="43" y="325"/>
                    </a:lnTo>
                    <a:lnTo>
                      <a:pt x="50" y="310"/>
                    </a:lnTo>
                    <a:lnTo>
                      <a:pt x="59" y="295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8" y="237"/>
                    </a:lnTo>
                    <a:lnTo>
                      <a:pt x="131" y="229"/>
                    </a:lnTo>
                    <a:lnTo>
                      <a:pt x="146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1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2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7" y="85"/>
                    </a:lnTo>
                    <a:lnTo>
                      <a:pt x="282" y="74"/>
                    </a:lnTo>
                    <a:lnTo>
                      <a:pt x="297" y="64"/>
                    </a:lnTo>
                    <a:lnTo>
                      <a:pt x="313" y="55"/>
                    </a:lnTo>
                    <a:lnTo>
                      <a:pt x="331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3" y="33"/>
                    </a:lnTo>
                    <a:lnTo>
                      <a:pt x="401" y="31"/>
                    </a:lnTo>
                    <a:lnTo>
                      <a:pt x="418" y="29"/>
                    </a:lnTo>
                    <a:lnTo>
                      <a:pt x="434" y="31"/>
                    </a:lnTo>
                    <a:lnTo>
                      <a:pt x="449" y="33"/>
                    </a:lnTo>
                    <a:lnTo>
                      <a:pt x="464" y="36"/>
                    </a:lnTo>
                    <a:lnTo>
                      <a:pt x="478" y="41"/>
                    </a:lnTo>
                    <a:lnTo>
                      <a:pt x="492" y="48"/>
                    </a:lnTo>
                    <a:lnTo>
                      <a:pt x="505" y="55"/>
                    </a:lnTo>
                    <a:lnTo>
                      <a:pt x="518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2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4" y="157"/>
                    </a:lnTo>
                    <a:lnTo>
                      <a:pt x="599" y="170"/>
                    </a:lnTo>
                    <a:lnTo>
                      <a:pt x="601" y="174"/>
                    </a:lnTo>
                    <a:lnTo>
                      <a:pt x="606" y="177"/>
                    </a:lnTo>
                    <a:lnTo>
                      <a:pt x="610" y="179"/>
                    </a:lnTo>
                    <a:lnTo>
                      <a:pt x="615" y="179"/>
                    </a:lnTo>
                    <a:lnTo>
                      <a:pt x="630" y="178"/>
                    </a:lnTo>
                    <a:lnTo>
                      <a:pt x="646" y="179"/>
                    </a:lnTo>
                    <a:lnTo>
                      <a:pt x="660" y="181"/>
                    </a:lnTo>
                    <a:lnTo>
                      <a:pt x="674" y="186"/>
                    </a:lnTo>
                    <a:lnTo>
                      <a:pt x="687" y="192"/>
                    </a:lnTo>
                    <a:lnTo>
                      <a:pt x="698" y="200"/>
                    </a:lnTo>
                    <a:lnTo>
                      <a:pt x="703" y="203"/>
                    </a:lnTo>
                    <a:lnTo>
                      <a:pt x="707" y="208"/>
                    </a:lnTo>
                    <a:lnTo>
                      <a:pt x="712" y="213"/>
                    </a:lnTo>
                    <a:lnTo>
                      <a:pt x="716" y="218"/>
                    </a:lnTo>
                    <a:lnTo>
                      <a:pt x="720" y="226"/>
                    </a:lnTo>
                    <a:lnTo>
                      <a:pt x="724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4" y="282"/>
                    </a:lnTo>
                    <a:lnTo>
                      <a:pt x="719" y="293"/>
                    </a:lnTo>
                    <a:lnTo>
                      <a:pt x="718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6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3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7" y="414"/>
                    </a:lnTo>
                    <a:lnTo>
                      <a:pt x="778" y="433"/>
                    </a:lnTo>
                    <a:lnTo>
                      <a:pt x="777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7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7" y="520"/>
                    </a:lnTo>
                    <a:lnTo>
                      <a:pt x="739" y="528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6" y="552"/>
                    </a:lnTo>
                    <a:lnTo>
                      <a:pt x="695" y="557"/>
                    </a:lnTo>
                    <a:lnTo>
                      <a:pt x="683" y="563"/>
                    </a:lnTo>
                    <a:lnTo>
                      <a:pt x="669" y="566"/>
                    </a:lnTo>
                    <a:lnTo>
                      <a:pt x="656" y="568"/>
                    </a:lnTo>
                    <a:lnTo>
                      <a:pt x="642" y="568"/>
                    </a:lnTo>
                    <a:close/>
                    <a:moveTo>
                      <a:pt x="751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8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1" y="222"/>
                    </a:lnTo>
                    <a:lnTo>
                      <a:pt x="747" y="211"/>
                    </a:lnTo>
                    <a:lnTo>
                      <a:pt x="741" y="202"/>
                    </a:lnTo>
                    <a:lnTo>
                      <a:pt x="736" y="195"/>
                    </a:lnTo>
                    <a:lnTo>
                      <a:pt x="731" y="189"/>
                    </a:lnTo>
                    <a:lnTo>
                      <a:pt x="726" y="183"/>
                    </a:lnTo>
                    <a:lnTo>
                      <a:pt x="719" y="177"/>
                    </a:lnTo>
                    <a:lnTo>
                      <a:pt x="713" y="173"/>
                    </a:lnTo>
                    <a:lnTo>
                      <a:pt x="706" y="169"/>
                    </a:lnTo>
                    <a:lnTo>
                      <a:pt x="699" y="164"/>
                    </a:lnTo>
                    <a:lnTo>
                      <a:pt x="691" y="161"/>
                    </a:lnTo>
                    <a:lnTo>
                      <a:pt x="676" y="155"/>
                    </a:lnTo>
                    <a:lnTo>
                      <a:pt x="659" y="150"/>
                    </a:lnTo>
                    <a:lnTo>
                      <a:pt x="641" y="149"/>
                    </a:lnTo>
                    <a:lnTo>
                      <a:pt x="623" y="149"/>
                    </a:lnTo>
                    <a:lnTo>
                      <a:pt x="616" y="135"/>
                    </a:lnTo>
                    <a:lnTo>
                      <a:pt x="609" y="122"/>
                    </a:lnTo>
                    <a:lnTo>
                      <a:pt x="600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69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2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8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9" y="8"/>
                    </a:lnTo>
                    <a:lnTo>
                      <a:pt x="327" y="16"/>
                    </a:lnTo>
                    <a:lnTo>
                      <a:pt x="307" y="23"/>
                    </a:lnTo>
                    <a:lnTo>
                      <a:pt x="289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5" y="99"/>
                    </a:lnTo>
                    <a:lnTo>
                      <a:pt x="205" y="114"/>
                    </a:lnTo>
                    <a:lnTo>
                      <a:pt x="197" y="130"/>
                    </a:lnTo>
                    <a:lnTo>
                      <a:pt x="189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4" y="190"/>
                    </a:lnTo>
                    <a:lnTo>
                      <a:pt x="127" y="198"/>
                    </a:lnTo>
                    <a:lnTo>
                      <a:pt x="110" y="206"/>
                    </a:lnTo>
                    <a:lnTo>
                      <a:pt x="95" y="216"/>
                    </a:lnTo>
                    <a:lnTo>
                      <a:pt x="80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2" y="268"/>
                    </a:lnTo>
                    <a:lnTo>
                      <a:pt x="31" y="283"/>
                    </a:lnTo>
                    <a:lnTo>
                      <a:pt x="21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3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4" y="430"/>
                    </a:lnTo>
                    <a:lnTo>
                      <a:pt x="9" y="449"/>
                    </a:lnTo>
                    <a:lnTo>
                      <a:pt x="17" y="468"/>
                    </a:lnTo>
                    <a:lnTo>
                      <a:pt x="25" y="487"/>
                    </a:lnTo>
                    <a:lnTo>
                      <a:pt x="36" y="504"/>
                    </a:lnTo>
                    <a:lnTo>
                      <a:pt x="49" y="521"/>
                    </a:lnTo>
                    <a:lnTo>
                      <a:pt x="63" y="536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1" y="572"/>
                    </a:lnTo>
                    <a:lnTo>
                      <a:pt x="129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9" y="596"/>
                    </a:lnTo>
                    <a:lnTo>
                      <a:pt x="188" y="597"/>
                    </a:lnTo>
                    <a:lnTo>
                      <a:pt x="199" y="598"/>
                    </a:lnTo>
                    <a:lnTo>
                      <a:pt x="210" y="598"/>
                    </a:lnTo>
                    <a:lnTo>
                      <a:pt x="642" y="598"/>
                    </a:lnTo>
                    <a:lnTo>
                      <a:pt x="659" y="597"/>
                    </a:lnTo>
                    <a:lnTo>
                      <a:pt x="675" y="595"/>
                    </a:lnTo>
                    <a:lnTo>
                      <a:pt x="691" y="590"/>
                    </a:lnTo>
                    <a:lnTo>
                      <a:pt x="706" y="585"/>
                    </a:lnTo>
                    <a:lnTo>
                      <a:pt x="721" y="579"/>
                    </a:lnTo>
                    <a:lnTo>
                      <a:pt x="734" y="570"/>
                    </a:lnTo>
                    <a:lnTo>
                      <a:pt x="747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79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5" y="466"/>
                    </a:lnTo>
                    <a:lnTo>
                      <a:pt x="807" y="450"/>
                    </a:lnTo>
                    <a:lnTo>
                      <a:pt x="808" y="433"/>
                    </a:lnTo>
                    <a:lnTo>
                      <a:pt x="807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5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2" y="332"/>
                    </a:lnTo>
                    <a:lnTo>
                      <a:pt x="777" y="324"/>
                    </a:lnTo>
                    <a:lnTo>
                      <a:pt x="772" y="316"/>
                    </a:lnTo>
                    <a:lnTo>
                      <a:pt x="765" y="308"/>
                    </a:lnTo>
                    <a:lnTo>
                      <a:pt x="759" y="301"/>
                    </a:lnTo>
                    <a:lnTo>
                      <a:pt x="751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44">
                <a:extLst>
                  <a:ext uri="{FF2B5EF4-FFF2-40B4-BE49-F238E27FC236}">
                    <a16:creationId xmlns:a16="http://schemas.microsoft.com/office/drawing/2014/main" id="{F685FC3D-3432-420B-82F2-C0A5E66D8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5" y="984250"/>
                <a:ext cx="71438" cy="71438"/>
              </a:xfrm>
              <a:custGeom>
                <a:avLst/>
                <a:gdLst>
                  <a:gd name="T0" fmla="*/ 198 w 223"/>
                  <a:gd name="T1" fmla="*/ 4 h 225"/>
                  <a:gd name="T2" fmla="*/ 4 w 223"/>
                  <a:gd name="T3" fmla="*/ 199 h 225"/>
                  <a:gd name="T4" fmla="*/ 2 w 223"/>
                  <a:gd name="T5" fmla="*/ 201 h 225"/>
                  <a:gd name="T6" fmla="*/ 1 w 223"/>
                  <a:gd name="T7" fmla="*/ 204 h 225"/>
                  <a:gd name="T8" fmla="*/ 0 w 223"/>
                  <a:gd name="T9" fmla="*/ 207 h 225"/>
                  <a:gd name="T10" fmla="*/ 0 w 223"/>
                  <a:gd name="T11" fmla="*/ 210 h 225"/>
                  <a:gd name="T12" fmla="*/ 0 w 223"/>
                  <a:gd name="T13" fmla="*/ 213 h 225"/>
                  <a:gd name="T14" fmla="*/ 1 w 223"/>
                  <a:gd name="T15" fmla="*/ 216 h 225"/>
                  <a:gd name="T16" fmla="*/ 2 w 223"/>
                  <a:gd name="T17" fmla="*/ 218 h 225"/>
                  <a:gd name="T18" fmla="*/ 4 w 223"/>
                  <a:gd name="T19" fmla="*/ 220 h 225"/>
                  <a:gd name="T20" fmla="*/ 6 w 223"/>
                  <a:gd name="T21" fmla="*/ 221 h 225"/>
                  <a:gd name="T22" fmla="*/ 8 w 223"/>
                  <a:gd name="T23" fmla="*/ 223 h 225"/>
                  <a:gd name="T24" fmla="*/ 11 w 223"/>
                  <a:gd name="T25" fmla="*/ 223 h 225"/>
                  <a:gd name="T26" fmla="*/ 15 w 223"/>
                  <a:gd name="T27" fmla="*/ 225 h 225"/>
                  <a:gd name="T28" fmla="*/ 17 w 223"/>
                  <a:gd name="T29" fmla="*/ 223 h 225"/>
                  <a:gd name="T30" fmla="*/ 20 w 223"/>
                  <a:gd name="T31" fmla="*/ 223 h 225"/>
                  <a:gd name="T32" fmla="*/ 22 w 223"/>
                  <a:gd name="T33" fmla="*/ 221 h 225"/>
                  <a:gd name="T34" fmla="*/ 25 w 223"/>
                  <a:gd name="T35" fmla="*/ 220 h 225"/>
                  <a:gd name="T36" fmla="*/ 219 w 223"/>
                  <a:gd name="T37" fmla="*/ 25 h 225"/>
                  <a:gd name="T38" fmla="*/ 221 w 223"/>
                  <a:gd name="T39" fmla="*/ 23 h 225"/>
                  <a:gd name="T40" fmla="*/ 222 w 223"/>
                  <a:gd name="T41" fmla="*/ 21 h 225"/>
                  <a:gd name="T42" fmla="*/ 223 w 223"/>
                  <a:gd name="T43" fmla="*/ 18 h 225"/>
                  <a:gd name="T44" fmla="*/ 223 w 223"/>
                  <a:gd name="T45" fmla="*/ 16 h 225"/>
                  <a:gd name="T46" fmla="*/ 223 w 223"/>
                  <a:gd name="T47" fmla="*/ 13 h 225"/>
                  <a:gd name="T48" fmla="*/ 222 w 223"/>
                  <a:gd name="T49" fmla="*/ 9 h 225"/>
                  <a:gd name="T50" fmla="*/ 221 w 223"/>
                  <a:gd name="T51" fmla="*/ 7 h 225"/>
                  <a:gd name="T52" fmla="*/ 219 w 223"/>
                  <a:gd name="T53" fmla="*/ 4 h 225"/>
                  <a:gd name="T54" fmla="*/ 217 w 223"/>
                  <a:gd name="T55" fmla="*/ 2 h 225"/>
                  <a:gd name="T56" fmla="*/ 215 w 223"/>
                  <a:gd name="T57" fmla="*/ 1 h 225"/>
                  <a:gd name="T58" fmla="*/ 212 w 223"/>
                  <a:gd name="T59" fmla="*/ 0 h 225"/>
                  <a:gd name="T60" fmla="*/ 208 w 223"/>
                  <a:gd name="T61" fmla="*/ 0 h 225"/>
                  <a:gd name="T62" fmla="*/ 206 w 223"/>
                  <a:gd name="T63" fmla="*/ 0 h 225"/>
                  <a:gd name="T64" fmla="*/ 203 w 223"/>
                  <a:gd name="T65" fmla="*/ 1 h 225"/>
                  <a:gd name="T66" fmla="*/ 201 w 223"/>
                  <a:gd name="T67" fmla="*/ 2 h 225"/>
                  <a:gd name="T68" fmla="*/ 198 w 223"/>
                  <a:gd name="T69" fmla="*/ 4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" h="225">
                    <a:moveTo>
                      <a:pt x="198" y="4"/>
                    </a:moveTo>
                    <a:lnTo>
                      <a:pt x="4" y="199"/>
                    </a:lnTo>
                    <a:lnTo>
                      <a:pt x="2" y="201"/>
                    </a:lnTo>
                    <a:lnTo>
                      <a:pt x="1" y="204"/>
                    </a:lnTo>
                    <a:lnTo>
                      <a:pt x="0" y="207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1" y="216"/>
                    </a:lnTo>
                    <a:lnTo>
                      <a:pt x="2" y="218"/>
                    </a:lnTo>
                    <a:lnTo>
                      <a:pt x="4" y="220"/>
                    </a:lnTo>
                    <a:lnTo>
                      <a:pt x="6" y="221"/>
                    </a:lnTo>
                    <a:lnTo>
                      <a:pt x="8" y="223"/>
                    </a:lnTo>
                    <a:lnTo>
                      <a:pt x="11" y="223"/>
                    </a:lnTo>
                    <a:lnTo>
                      <a:pt x="15" y="225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2" y="221"/>
                    </a:lnTo>
                    <a:lnTo>
                      <a:pt x="25" y="220"/>
                    </a:lnTo>
                    <a:lnTo>
                      <a:pt x="219" y="25"/>
                    </a:lnTo>
                    <a:lnTo>
                      <a:pt x="221" y="23"/>
                    </a:lnTo>
                    <a:lnTo>
                      <a:pt x="222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3" y="13"/>
                    </a:lnTo>
                    <a:lnTo>
                      <a:pt x="222" y="9"/>
                    </a:lnTo>
                    <a:lnTo>
                      <a:pt x="221" y="7"/>
                    </a:lnTo>
                    <a:lnTo>
                      <a:pt x="219" y="4"/>
                    </a:lnTo>
                    <a:lnTo>
                      <a:pt x="217" y="2"/>
                    </a:lnTo>
                    <a:lnTo>
                      <a:pt x="215" y="1"/>
                    </a:lnTo>
                    <a:lnTo>
                      <a:pt x="212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3" y="1"/>
                    </a:lnTo>
                    <a:lnTo>
                      <a:pt x="201" y="2"/>
                    </a:ln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45">
                <a:extLst>
                  <a:ext uri="{FF2B5EF4-FFF2-40B4-BE49-F238E27FC236}">
                    <a16:creationId xmlns:a16="http://schemas.microsoft.com/office/drawing/2014/main" id="{FE7F1BE6-837E-45DF-8B63-1239B8654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5" y="989013"/>
                <a:ext cx="47625" cy="66675"/>
              </a:xfrm>
              <a:custGeom>
                <a:avLst/>
                <a:gdLst>
                  <a:gd name="T0" fmla="*/ 135 w 150"/>
                  <a:gd name="T1" fmla="*/ 60 h 210"/>
                  <a:gd name="T2" fmla="*/ 82 w 150"/>
                  <a:gd name="T3" fmla="*/ 60 h 210"/>
                  <a:gd name="T4" fmla="*/ 116 w 150"/>
                  <a:gd name="T5" fmla="*/ 25 h 210"/>
                  <a:gd name="T6" fmla="*/ 118 w 150"/>
                  <a:gd name="T7" fmla="*/ 23 h 210"/>
                  <a:gd name="T8" fmla="*/ 119 w 150"/>
                  <a:gd name="T9" fmla="*/ 21 h 210"/>
                  <a:gd name="T10" fmla="*/ 120 w 150"/>
                  <a:gd name="T11" fmla="*/ 18 h 210"/>
                  <a:gd name="T12" fmla="*/ 120 w 150"/>
                  <a:gd name="T13" fmla="*/ 16 h 210"/>
                  <a:gd name="T14" fmla="*/ 120 w 150"/>
                  <a:gd name="T15" fmla="*/ 13 h 210"/>
                  <a:gd name="T16" fmla="*/ 119 w 150"/>
                  <a:gd name="T17" fmla="*/ 9 h 210"/>
                  <a:gd name="T18" fmla="*/ 118 w 150"/>
                  <a:gd name="T19" fmla="*/ 6 h 210"/>
                  <a:gd name="T20" fmla="*/ 116 w 150"/>
                  <a:gd name="T21" fmla="*/ 4 h 210"/>
                  <a:gd name="T22" fmla="*/ 114 w 150"/>
                  <a:gd name="T23" fmla="*/ 2 h 210"/>
                  <a:gd name="T24" fmla="*/ 111 w 150"/>
                  <a:gd name="T25" fmla="*/ 1 h 210"/>
                  <a:gd name="T26" fmla="*/ 109 w 150"/>
                  <a:gd name="T27" fmla="*/ 0 h 210"/>
                  <a:gd name="T28" fmla="*/ 105 w 150"/>
                  <a:gd name="T29" fmla="*/ 0 h 210"/>
                  <a:gd name="T30" fmla="*/ 102 w 150"/>
                  <a:gd name="T31" fmla="*/ 0 h 210"/>
                  <a:gd name="T32" fmla="*/ 100 w 150"/>
                  <a:gd name="T33" fmla="*/ 1 h 210"/>
                  <a:gd name="T34" fmla="*/ 97 w 150"/>
                  <a:gd name="T35" fmla="*/ 2 h 210"/>
                  <a:gd name="T36" fmla="*/ 95 w 150"/>
                  <a:gd name="T37" fmla="*/ 4 h 210"/>
                  <a:gd name="T38" fmla="*/ 35 w 150"/>
                  <a:gd name="T39" fmla="*/ 64 h 210"/>
                  <a:gd name="T40" fmla="*/ 33 w 150"/>
                  <a:gd name="T41" fmla="*/ 68 h 210"/>
                  <a:gd name="T42" fmla="*/ 32 w 150"/>
                  <a:gd name="T43" fmla="*/ 71 h 210"/>
                  <a:gd name="T44" fmla="*/ 30 w 150"/>
                  <a:gd name="T45" fmla="*/ 76 h 210"/>
                  <a:gd name="T46" fmla="*/ 32 w 150"/>
                  <a:gd name="T47" fmla="*/ 81 h 210"/>
                  <a:gd name="T48" fmla="*/ 35 w 150"/>
                  <a:gd name="T49" fmla="*/ 84 h 210"/>
                  <a:gd name="T50" fmla="*/ 38 w 150"/>
                  <a:gd name="T51" fmla="*/ 88 h 210"/>
                  <a:gd name="T52" fmla="*/ 41 w 150"/>
                  <a:gd name="T53" fmla="*/ 89 h 210"/>
                  <a:gd name="T54" fmla="*/ 45 w 150"/>
                  <a:gd name="T55" fmla="*/ 90 h 210"/>
                  <a:gd name="T56" fmla="*/ 99 w 150"/>
                  <a:gd name="T57" fmla="*/ 90 h 210"/>
                  <a:gd name="T58" fmla="*/ 5 w 150"/>
                  <a:gd name="T59" fmla="*/ 184 h 210"/>
                  <a:gd name="T60" fmla="*/ 4 w 150"/>
                  <a:gd name="T61" fmla="*/ 186 h 210"/>
                  <a:gd name="T62" fmla="*/ 2 w 150"/>
                  <a:gd name="T63" fmla="*/ 189 h 210"/>
                  <a:gd name="T64" fmla="*/ 2 w 150"/>
                  <a:gd name="T65" fmla="*/ 192 h 210"/>
                  <a:gd name="T66" fmla="*/ 0 w 150"/>
                  <a:gd name="T67" fmla="*/ 195 h 210"/>
                  <a:gd name="T68" fmla="*/ 2 w 150"/>
                  <a:gd name="T69" fmla="*/ 198 h 210"/>
                  <a:gd name="T70" fmla="*/ 2 w 150"/>
                  <a:gd name="T71" fmla="*/ 201 h 210"/>
                  <a:gd name="T72" fmla="*/ 4 w 150"/>
                  <a:gd name="T73" fmla="*/ 203 h 210"/>
                  <a:gd name="T74" fmla="*/ 5 w 150"/>
                  <a:gd name="T75" fmla="*/ 205 h 210"/>
                  <a:gd name="T76" fmla="*/ 8 w 150"/>
                  <a:gd name="T77" fmla="*/ 206 h 210"/>
                  <a:gd name="T78" fmla="*/ 10 w 150"/>
                  <a:gd name="T79" fmla="*/ 208 h 210"/>
                  <a:gd name="T80" fmla="*/ 13 w 150"/>
                  <a:gd name="T81" fmla="*/ 208 h 210"/>
                  <a:gd name="T82" fmla="*/ 15 w 150"/>
                  <a:gd name="T83" fmla="*/ 210 h 210"/>
                  <a:gd name="T84" fmla="*/ 19 w 150"/>
                  <a:gd name="T85" fmla="*/ 208 h 210"/>
                  <a:gd name="T86" fmla="*/ 22 w 150"/>
                  <a:gd name="T87" fmla="*/ 208 h 210"/>
                  <a:gd name="T88" fmla="*/ 24 w 150"/>
                  <a:gd name="T89" fmla="*/ 206 h 210"/>
                  <a:gd name="T90" fmla="*/ 26 w 150"/>
                  <a:gd name="T91" fmla="*/ 205 h 210"/>
                  <a:gd name="T92" fmla="*/ 146 w 150"/>
                  <a:gd name="T93" fmla="*/ 85 h 210"/>
                  <a:gd name="T94" fmla="*/ 148 w 150"/>
                  <a:gd name="T95" fmla="*/ 82 h 210"/>
                  <a:gd name="T96" fmla="*/ 150 w 150"/>
                  <a:gd name="T97" fmla="*/ 78 h 210"/>
                  <a:gd name="T98" fmla="*/ 150 w 150"/>
                  <a:gd name="T99" fmla="*/ 74 h 210"/>
                  <a:gd name="T100" fmla="*/ 149 w 150"/>
                  <a:gd name="T101" fmla="*/ 70 h 210"/>
                  <a:gd name="T102" fmla="*/ 147 w 150"/>
                  <a:gd name="T103" fmla="*/ 66 h 210"/>
                  <a:gd name="T104" fmla="*/ 144 w 150"/>
                  <a:gd name="T105" fmla="*/ 63 h 210"/>
                  <a:gd name="T106" fmla="*/ 140 w 150"/>
                  <a:gd name="T107" fmla="*/ 61 h 210"/>
                  <a:gd name="T108" fmla="*/ 135 w 150"/>
                  <a:gd name="T10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10">
                    <a:moveTo>
                      <a:pt x="135" y="60"/>
                    </a:moveTo>
                    <a:lnTo>
                      <a:pt x="82" y="60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9" y="21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3"/>
                    </a:lnTo>
                    <a:lnTo>
                      <a:pt x="119" y="9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2"/>
                    </a:lnTo>
                    <a:lnTo>
                      <a:pt x="95" y="4"/>
                    </a:lnTo>
                    <a:lnTo>
                      <a:pt x="35" y="64"/>
                    </a:lnTo>
                    <a:lnTo>
                      <a:pt x="33" y="68"/>
                    </a:lnTo>
                    <a:lnTo>
                      <a:pt x="32" y="71"/>
                    </a:lnTo>
                    <a:lnTo>
                      <a:pt x="30" y="76"/>
                    </a:lnTo>
                    <a:lnTo>
                      <a:pt x="32" y="81"/>
                    </a:lnTo>
                    <a:lnTo>
                      <a:pt x="35" y="84"/>
                    </a:lnTo>
                    <a:lnTo>
                      <a:pt x="38" y="88"/>
                    </a:lnTo>
                    <a:lnTo>
                      <a:pt x="41" y="89"/>
                    </a:lnTo>
                    <a:lnTo>
                      <a:pt x="45" y="90"/>
                    </a:lnTo>
                    <a:lnTo>
                      <a:pt x="99" y="90"/>
                    </a:lnTo>
                    <a:lnTo>
                      <a:pt x="5" y="184"/>
                    </a:lnTo>
                    <a:lnTo>
                      <a:pt x="4" y="186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0" y="195"/>
                    </a:lnTo>
                    <a:lnTo>
                      <a:pt x="2" y="198"/>
                    </a:lnTo>
                    <a:lnTo>
                      <a:pt x="2" y="201"/>
                    </a:lnTo>
                    <a:lnTo>
                      <a:pt x="4" y="203"/>
                    </a:lnTo>
                    <a:lnTo>
                      <a:pt x="5" y="205"/>
                    </a:lnTo>
                    <a:lnTo>
                      <a:pt x="8" y="206"/>
                    </a:lnTo>
                    <a:lnTo>
                      <a:pt x="10" y="208"/>
                    </a:lnTo>
                    <a:lnTo>
                      <a:pt x="13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2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146" y="85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4"/>
                    </a:lnTo>
                    <a:lnTo>
                      <a:pt x="149" y="70"/>
                    </a:lnTo>
                    <a:lnTo>
                      <a:pt x="147" y="66"/>
                    </a:lnTo>
                    <a:lnTo>
                      <a:pt x="144" y="63"/>
                    </a:lnTo>
                    <a:lnTo>
                      <a:pt x="140" y="61"/>
                    </a:lnTo>
                    <a:lnTo>
                      <a:pt x="13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46">
                <a:extLst>
                  <a:ext uri="{FF2B5EF4-FFF2-40B4-BE49-F238E27FC236}">
                    <a16:creationId xmlns:a16="http://schemas.microsoft.com/office/drawing/2014/main" id="{57501FEF-7ABA-40AD-A5C4-F6A3227E5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989013"/>
                <a:ext cx="66675" cy="66675"/>
              </a:xfrm>
              <a:custGeom>
                <a:avLst/>
                <a:gdLst>
                  <a:gd name="T0" fmla="*/ 184 w 210"/>
                  <a:gd name="T1" fmla="*/ 4 h 210"/>
                  <a:gd name="T2" fmla="*/ 5 w 210"/>
                  <a:gd name="T3" fmla="*/ 184 h 210"/>
                  <a:gd name="T4" fmla="*/ 2 w 210"/>
                  <a:gd name="T5" fmla="*/ 186 h 210"/>
                  <a:gd name="T6" fmla="*/ 1 w 210"/>
                  <a:gd name="T7" fmla="*/ 189 h 210"/>
                  <a:gd name="T8" fmla="*/ 0 w 210"/>
                  <a:gd name="T9" fmla="*/ 192 h 210"/>
                  <a:gd name="T10" fmla="*/ 0 w 210"/>
                  <a:gd name="T11" fmla="*/ 195 h 210"/>
                  <a:gd name="T12" fmla="*/ 0 w 210"/>
                  <a:gd name="T13" fmla="*/ 198 h 210"/>
                  <a:gd name="T14" fmla="*/ 1 w 210"/>
                  <a:gd name="T15" fmla="*/ 201 h 210"/>
                  <a:gd name="T16" fmla="*/ 2 w 210"/>
                  <a:gd name="T17" fmla="*/ 203 h 210"/>
                  <a:gd name="T18" fmla="*/ 5 w 210"/>
                  <a:gd name="T19" fmla="*/ 205 h 210"/>
                  <a:gd name="T20" fmla="*/ 7 w 210"/>
                  <a:gd name="T21" fmla="*/ 206 h 210"/>
                  <a:gd name="T22" fmla="*/ 10 w 210"/>
                  <a:gd name="T23" fmla="*/ 208 h 210"/>
                  <a:gd name="T24" fmla="*/ 12 w 210"/>
                  <a:gd name="T25" fmla="*/ 208 h 210"/>
                  <a:gd name="T26" fmla="*/ 15 w 210"/>
                  <a:gd name="T27" fmla="*/ 210 h 210"/>
                  <a:gd name="T28" fmla="*/ 19 w 210"/>
                  <a:gd name="T29" fmla="*/ 208 h 210"/>
                  <a:gd name="T30" fmla="*/ 21 w 210"/>
                  <a:gd name="T31" fmla="*/ 208 h 210"/>
                  <a:gd name="T32" fmla="*/ 24 w 210"/>
                  <a:gd name="T33" fmla="*/ 206 h 210"/>
                  <a:gd name="T34" fmla="*/ 26 w 210"/>
                  <a:gd name="T35" fmla="*/ 205 h 210"/>
                  <a:gd name="T36" fmla="*/ 206 w 210"/>
                  <a:gd name="T37" fmla="*/ 25 h 210"/>
                  <a:gd name="T38" fmla="*/ 208 w 210"/>
                  <a:gd name="T39" fmla="*/ 23 h 210"/>
                  <a:gd name="T40" fmla="*/ 209 w 210"/>
                  <a:gd name="T41" fmla="*/ 21 h 210"/>
                  <a:gd name="T42" fmla="*/ 210 w 210"/>
                  <a:gd name="T43" fmla="*/ 18 h 210"/>
                  <a:gd name="T44" fmla="*/ 210 w 210"/>
                  <a:gd name="T45" fmla="*/ 16 h 210"/>
                  <a:gd name="T46" fmla="*/ 210 w 210"/>
                  <a:gd name="T47" fmla="*/ 13 h 210"/>
                  <a:gd name="T48" fmla="*/ 209 w 210"/>
                  <a:gd name="T49" fmla="*/ 9 h 210"/>
                  <a:gd name="T50" fmla="*/ 208 w 210"/>
                  <a:gd name="T51" fmla="*/ 6 h 210"/>
                  <a:gd name="T52" fmla="*/ 206 w 210"/>
                  <a:gd name="T53" fmla="*/ 4 h 210"/>
                  <a:gd name="T54" fmla="*/ 204 w 210"/>
                  <a:gd name="T55" fmla="*/ 2 h 210"/>
                  <a:gd name="T56" fmla="*/ 201 w 210"/>
                  <a:gd name="T57" fmla="*/ 1 h 210"/>
                  <a:gd name="T58" fmla="*/ 198 w 210"/>
                  <a:gd name="T59" fmla="*/ 0 h 210"/>
                  <a:gd name="T60" fmla="*/ 195 w 210"/>
                  <a:gd name="T61" fmla="*/ 0 h 210"/>
                  <a:gd name="T62" fmla="*/ 192 w 210"/>
                  <a:gd name="T63" fmla="*/ 0 h 210"/>
                  <a:gd name="T64" fmla="*/ 190 w 210"/>
                  <a:gd name="T65" fmla="*/ 1 h 210"/>
                  <a:gd name="T66" fmla="*/ 187 w 210"/>
                  <a:gd name="T67" fmla="*/ 2 h 210"/>
                  <a:gd name="T68" fmla="*/ 184 w 210"/>
                  <a:gd name="T69" fmla="*/ 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0" h="210">
                    <a:moveTo>
                      <a:pt x="184" y="4"/>
                    </a:moveTo>
                    <a:lnTo>
                      <a:pt x="5" y="184"/>
                    </a:lnTo>
                    <a:lnTo>
                      <a:pt x="2" y="186"/>
                    </a:lnTo>
                    <a:lnTo>
                      <a:pt x="1" y="189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8"/>
                    </a:lnTo>
                    <a:lnTo>
                      <a:pt x="1" y="201"/>
                    </a:lnTo>
                    <a:lnTo>
                      <a:pt x="2" y="203"/>
                    </a:lnTo>
                    <a:lnTo>
                      <a:pt x="5" y="205"/>
                    </a:lnTo>
                    <a:lnTo>
                      <a:pt x="7" y="206"/>
                    </a:lnTo>
                    <a:lnTo>
                      <a:pt x="10" y="208"/>
                    </a:lnTo>
                    <a:lnTo>
                      <a:pt x="12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206" y="25"/>
                    </a:lnTo>
                    <a:lnTo>
                      <a:pt x="208" y="23"/>
                    </a:lnTo>
                    <a:lnTo>
                      <a:pt x="209" y="21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3"/>
                    </a:lnTo>
                    <a:lnTo>
                      <a:pt x="209" y="9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4" y="2"/>
                    </a:lnTo>
                    <a:lnTo>
                      <a:pt x="201" y="1"/>
                    </a:lnTo>
                    <a:lnTo>
                      <a:pt x="198" y="0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90" y="1"/>
                    </a:lnTo>
                    <a:lnTo>
                      <a:pt x="187" y="2"/>
                    </a:lnTo>
                    <a:lnTo>
                      <a:pt x="18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9E01B56C-5241-4DAB-99C8-4A0360CF15EA}"/>
              </a:ext>
            </a:extLst>
          </p:cNvPr>
          <p:cNvGrpSpPr/>
          <p:nvPr/>
        </p:nvGrpSpPr>
        <p:grpSpPr>
          <a:xfrm>
            <a:off x="1024054" y="1339974"/>
            <a:ext cx="418315" cy="418315"/>
            <a:chOff x="3103103" y="1741116"/>
            <a:chExt cx="418315" cy="418315"/>
          </a:xfrm>
        </p:grpSpPr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C617FFA1-9C06-4646-BF72-E7BA28AD8E60}"/>
                </a:ext>
              </a:extLst>
            </p:cNvPr>
            <p:cNvSpPr/>
            <p:nvPr/>
          </p:nvSpPr>
          <p:spPr>
            <a:xfrm>
              <a:off x="3103103" y="1741116"/>
              <a:ext cx="418315" cy="41831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F16DB68F-5C44-491E-BB61-6CD0FB7D1C60}"/>
                </a:ext>
              </a:extLst>
            </p:cNvPr>
            <p:cNvGrpSpPr/>
            <p:nvPr/>
          </p:nvGrpSpPr>
          <p:grpSpPr>
            <a:xfrm>
              <a:off x="3226503" y="1864516"/>
              <a:ext cx="171514" cy="171514"/>
              <a:chOff x="334963" y="769938"/>
              <a:chExt cx="276225" cy="276225"/>
            </a:xfrm>
            <a:solidFill>
              <a:schemeClr val="bg1"/>
            </a:solidFill>
          </p:grpSpPr>
          <p:sp>
            <p:nvSpPr>
              <p:cNvPr id="249" name="Freeform 54">
                <a:extLst>
                  <a:ext uri="{FF2B5EF4-FFF2-40B4-BE49-F238E27FC236}">
                    <a16:creationId xmlns:a16="http://schemas.microsoft.com/office/drawing/2014/main" id="{BC343D9F-C7FB-4257-A78A-D391B80F8B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25" y="812800"/>
                <a:ext cx="190500" cy="190500"/>
              </a:xfrm>
              <a:custGeom>
                <a:avLst/>
                <a:gdLst>
                  <a:gd name="T0" fmla="*/ 245 w 599"/>
                  <a:gd name="T1" fmla="*/ 563 h 599"/>
                  <a:gd name="T2" fmla="*/ 182 w 599"/>
                  <a:gd name="T3" fmla="*/ 542 h 599"/>
                  <a:gd name="T4" fmla="*/ 128 w 599"/>
                  <a:gd name="T5" fmla="*/ 508 h 599"/>
                  <a:gd name="T6" fmla="*/ 84 w 599"/>
                  <a:gd name="T7" fmla="*/ 461 h 599"/>
                  <a:gd name="T8" fmla="*/ 52 w 599"/>
                  <a:gd name="T9" fmla="*/ 405 h 599"/>
                  <a:gd name="T10" fmla="*/ 33 w 599"/>
                  <a:gd name="T11" fmla="*/ 341 h 599"/>
                  <a:gd name="T12" fmla="*/ 31 w 599"/>
                  <a:gd name="T13" fmla="*/ 272 h 599"/>
                  <a:gd name="T14" fmla="*/ 46 w 599"/>
                  <a:gd name="T15" fmla="*/ 207 h 599"/>
                  <a:gd name="T16" fmla="*/ 76 w 599"/>
                  <a:gd name="T17" fmla="*/ 149 h 599"/>
                  <a:gd name="T18" fmla="*/ 118 w 599"/>
                  <a:gd name="T19" fmla="*/ 100 h 599"/>
                  <a:gd name="T20" fmla="*/ 171 w 599"/>
                  <a:gd name="T21" fmla="*/ 62 h 599"/>
                  <a:gd name="T22" fmla="*/ 233 w 599"/>
                  <a:gd name="T23" fmla="*/ 39 h 599"/>
                  <a:gd name="T24" fmla="*/ 299 w 599"/>
                  <a:gd name="T25" fmla="*/ 30 h 599"/>
                  <a:gd name="T26" fmla="*/ 366 w 599"/>
                  <a:gd name="T27" fmla="*/ 39 h 599"/>
                  <a:gd name="T28" fmla="*/ 427 w 599"/>
                  <a:gd name="T29" fmla="*/ 62 h 599"/>
                  <a:gd name="T30" fmla="*/ 480 w 599"/>
                  <a:gd name="T31" fmla="*/ 100 h 599"/>
                  <a:gd name="T32" fmla="*/ 523 w 599"/>
                  <a:gd name="T33" fmla="*/ 149 h 599"/>
                  <a:gd name="T34" fmla="*/ 553 w 599"/>
                  <a:gd name="T35" fmla="*/ 207 h 599"/>
                  <a:gd name="T36" fmla="*/ 568 w 599"/>
                  <a:gd name="T37" fmla="*/ 272 h 599"/>
                  <a:gd name="T38" fmla="*/ 566 w 599"/>
                  <a:gd name="T39" fmla="*/ 341 h 599"/>
                  <a:gd name="T40" fmla="*/ 547 w 599"/>
                  <a:gd name="T41" fmla="*/ 405 h 599"/>
                  <a:gd name="T42" fmla="*/ 515 w 599"/>
                  <a:gd name="T43" fmla="*/ 461 h 599"/>
                  <a:gd name="T44" fmla="*/ 470 w 599"/>
                  <a:gd name="T45" fmla="*/ 508 h 599"/>
                  <a:gd name="T46" fmla="*/ 416 w 599"/>
                  <a:gd name="T47" fmla="*/ 542 h 599"/>
                  <a:gd name="T48" fmla="*/ 354 w 599"/>
                  <a:gd name="T49" fmla="*/ 563 h 599"/>
                  <a:gd name="T50" fmla="*/ 299 w 599"/>
                  <a:gd name="T51" fmla="*/ 0 h 599"/>
                  <a:gd name="T52" fmla="*/ 225 w 599"/>
                  <a:gd name="T53" fmla="*/ 10 h 599"/>
                  <a:gd name="T54" fmla="*/ 157 w 599"/>
                  <a:gd name="T55" fmla="*/ 37 h 599"/>
                  <a:gd name="T56" fmla="*/ 98 w 599"/>
                  <a:gd name="T57" fmla="*/ 79 h 599"/>
                  <a:gd name="T58" fmla="*/ 52 w 599"/>
                  <a:gd name="T59" fmla="*/ 132 h 599"/>
                  <a:gd name="T60" fmla="*/ 18 w 599"/>
                  <a:gd name="T61" fmla="*/ 196 h 599"/>
                  <a:gd name="T62" fmla="*/ 1 w 599"/>
                  <a:gd name="T63" fmla="*/ 269 h 599"/>
                  <a:gd name="T64" fmla="*/ 3 w 599"/>
                  <a:gd name="T65" fmla="*/ 345 h 599"/>
                  <a:gd name="T66" fmla="*/ 24 w 599"/>
                  <a:gd name="T67" fmla="*/ 416 h 599"/>
                  <a:gd name="T68" fmla="*/ 59 w 599"/>
                  <a:gd name="T69" fmla="*/ 479 h 599"/>
                  <a:gd name="T70" fmla="*/ 109 w 599"/>
                  <a:gd name="T71" fmla="*/ 530 h 599"/>
                  <a:gd name="T72" fmla="*/ 169 w 599"/>
                  <a:gd name="T73" fmla="*/ 570 h 599"/>
                  <a:gd name="T74" fmla="*/ 239 w 599"/>
                  <a:gd name="T75" fmla="*/ 592 h 599"/>
                  <a:gd name="T76" fmla="*/ 315 w 599"/>
                  <a:gd name="T77" fmla="*/ 599 h 599"/>
                  <a:gd name="T78" fmla="*/ 388 w 599"/>
                  <a:gd name="T79" fmla="*/ 585 h 599"/>
                  <a:gd name="T80" fmla="*/ 454 w 599"/>
                  <a:gd name="T81" fmla="*/ 556 h 599"/>
                  <a:gd name="T82" fmla="*/ 511 w 599"/>
                  <a:gd name="T83" fmla="*/ 511 h 599"/>
                  <a:gd name="T84" fmla="*/ 555 w 599"/>
                  <a:gd name="T85" fmla="*/ 455 h 599"/>
                  <a:gd name="T86" fmla="*/ 585 w 599"/>
                  <a:gd name="T87" fmla="*/ 389 h 599"/>
                  <a:gd name="T88" fmla="*/ 599 w 599"/>
                  <a:gd name="T89" fmla="*/ 315 h 599"/>
                  <a:gd name="T90" fmla="*/ 592 w 599"/>
                  <a:gd name="T91" fmla="*/ 239 h 599"/>
                  <a:gd name="T92" fmla="*/ 569 w 599"/>
                  <a:gd name="T93" fmla="*/ 169 h 599"/>
                  <a:gd name="T94" fmla="*/ 530 w 599"/>
                  <a:gd name="T95" fmla="*/ 110 h 599"/>
                  <a:gd name="T96" fmla="*/ 479 w 599"/>
                  <a:gd name="T97" fmla="*/ 59 h 599"/>
                  <a:gd name="T98" fmla="*/ 416 w 599"/>
                  <a:gd name="T99" fmla="*/ 24 h 599"/>
                  <a:gd name="T100" fmla="*/ 345 w 599"/>
                  <a:gd name="T101" fmla="*/ 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99" h="599">
                    <a:moveTo>
                      <a:pt x="299" y="569"/>
                    </a:moveTo>
                    <a:lnTo>
                      <a:pt x="285" y="569"/>
                    </a:lnTo>
                    <a:lnTo>
                      <a:pt x="272" y="568"/>
                    </a:lnTo>
                    <a:lnTo>
                      <a:pt x="258" y="566"/>
                    </a:lnTo>
                    <a:lnTo>
                      <a:pt x="245" y="563"/>
                    </a:lnTo>
                    <a:lnTo>
                      <a:pt x="233" y="560"/>
                    </a:lnTo>
                    <a:lnTo>
                      <a:pt x="220" y="557"/>
                    </a:lnTo>
                    <a:lnTo>
                      <a:pt x="207" y="553"/>
                    </a:lnTo>
                    <a:lnTo>
                      <a:pt x="194" y="547"/>
                    </a:lnTo>
                    <a:lnTo>
                      <a:pt x="182" y="542"/>
                    </a:lnTo>
                    <a:lnTo>
                      <a:pt x="171" y="537"/>
                    </a:lnTo>
                    <a:lnTo>
                      <a:pt x="160" y="530"/>
                    </a:lnTo>
                    <a:lnTo>
                      <a:pt x="149" y="523"/>
                    </a:lnTo>
                    <a:lnTo>
                      <a:pt x="138" y="515"/>
                    </a:lnTo>
                    <a:lnTo>
                      <a:pt x="128" y="508"/>
                    </a:lnTo>
                    <a:lnTo>
                      <a:pt x="118" y="499"/>
                    </a:lnTo>
                    <a:lnTo>
                      <a:pt x="108" y="491"/>
                    </a:lnTo>
                    <a:lnTo>
                      <a:pt x="100" y="481"/>
                    </a:lnTo>
                    <a:lnTo>
                      <a:pt x="91" y="471"/>
                    </a:lnTo>
                    <a:lnTo>
                      <a:pt x="84" y="461"/>
                    </a:lnTo>
                    <a:lnTo>
                      <a:pt x="76" y="450"/>
                    </a:lnTo>
                    <a:lnTo>
                      <a:pt x="69" y="439"/>
                    </a:lnTo>
                    <a:lnTo>
                      <a:pt x="62" y="429"/>
                    </a:lnTo>
                    <a:lnTo>
                      <a:pt x="57" y="417"/>
                    </a:lnTo>
                    <a:lnTo>
                      <a:pt x="52" y="405"/>
                    </a:lnTo>
                    <a:lnTo>
                      <a:pt x="46" y="392"/>
                    </a:lnTo>
                    <a:lnTo>
                      <a:pt x="42" y="379"/>
                    </a:lnTo>
                    <a:lnTo>
                      <a:pt x="39" y="368"/>
                    </a:lnTo>
                    <a:lnTo>
                      <a:pt x="36" y="354"/>
                    </a:lnTo>
                    <a:lnTo>
                      <a:pt x="33" y="341"/>
                    </a:lnTo>
                    <a:lnTo>
                      <a:pt x="31" y="327"/>
                    </a:lnTo>
                    <a:lnTo>
                      <a:pt x="30" y="313"/>
                    </a:lnTo>
                    <a:lnTo>
                      <a:pt x="30" y="299"/>
                    </a:lnTo>
                    <a:lnTo>
                      <a:pt x="30" y="285"/>
                    </a:lnTo>
                    <a:lnTo>
                      <a:pt x="31" y="272"/>
                    </a:lnTo>
                    <a:lnTo>
                      <a:pt x="33" y="258"/>
                    </a:lnTo>
                    <a:lnTo>
                      <a:pt x="36" y="245"/>
                    </a:lnTo>
                    <a:lnTo>
                      <a:pt x="39" y="233"/>
                    </a:lnTo>
                    <a:lnTo>
                      <a:pt x="42" y="220"/>
                    </a:lnTo>
                    <a:lnTo>
                      <a:pt x="46" y="207"/>
                    </a:lnTo>
                    <a:lnTo>
                      <a:pt x="52" y="195"/>
                    </a:lnTo>
                    <a:lnTo>
                      <a:pt x="57" y="182"/>
                    </a:lnTo>
                    <a:lnTo>
                      <a:pt x="62" y="172"/>
                    </a:lnTo>
                    <a:lnTo>
                      <a:pt x="69" y="160"/>
                    </a:lnTo>
                    <a:lnTo>
                      <a:pt x="76" y="149"/>
                    </a:lnTo>
                    <a:lnTo>
                      <a:pt x="84" y="138"/>
                    </a:lnTo>
                    <a:lnTo>
                      <a:pt x="91" y="129"/>
                    </a:lnTo>
                    <a:lnTo>
                      <a:pt x="100" y="118"/>
                    </a:lnTo>
                    <a:lnTo>
                      <a:pt x="108" y="110"/>
                    </a:lnTo>
                    <a:lnTo>
                      <a:pt x="118" y="100"/>
                    </a:lnTo>
                    <a:lnTo>
                      <a:pt x="128" y="91"/>
                    </a:lnTo>
                    <a:lnTo>
                      <a:pt x="138" y="84"/>
                    </a:lnTo>
                    <a:lnTo>
                      <a:pt x="149" y="76"/>
                    </a:lnTo>
                    <a:lnTo>
                      <a:pt x="160" y="69"/>
                    </a:lnTo>
                    <a:lnTo>
                      <a:pt x="171" y="62"/>
                    </a:lnTo>
                    <a:lnTo>
                      <a:pt x="182" y="57"/>
                    </a:lnTo>
                    <a:lnTo>
                      <a:pt x="194" y="52"/>
                    </a:lnTo>
                    <a:lnTo>
                      <a:pt x="207" y="46"/>
                    </a:lnTo>
                    <a:lnTo>
                      <a:pt x="220" y="42"/>
                    </a:lnTo>
                    <a:lnTo>
                      <a:pt x="233" y="39"/>
                    </a:lnTo>
                    <a:lnTo>
                      <a:pt x="245" y="36"/>
                    </a:lnTo>
                    <a:lnTo>
                      <a:pt x="258" y="34"/>
                    </a:lnTo>
                    <a:lnTo>
                      <a:pt x="272" y="31"/>
                    </a:lnTo>
                    <a:lnTo>
                      <a:pt x="285" y="30"/>
                    </a:lnTo>
                    <a:lnTo>
                      <a:pt x="299" y="30"/>
                    </a:lnTo>
                    <a:lnTo>
                      <a:pt x="313" y="30"/>
                    </a:lnTo>
                    <a:lnTo>
                      <a:pt x="327" y="31"/>
                    </a:lnTo>
                    <a:lnTo>
                      <a:pt x="341" y="34"/>
                    </a:lnTo>
                    <a:lnTo>
                      <a:pt x="354" y="36"/>
                    </a:lnTo>
                    <a:lnTo>
                      <a:pt x="366" y="39"/>
                    </a:lnTo>
                    <a:lnTo>
                      <a:pt x="379" y="42"/>
                    </a:lnTo>
                    <a:lnTo>
                      <a:pt x="392" y="46"/>
                    </a:lnTo>
                    <a:lnTo>
                      <a:pt x="404" y="52"/>
                    </a:lnTo>
                    <a:lnTo>
                      <a:pt x="416" y="57"/>
                    </a:lnTo>
                    <a:lnTo>
                      <a:pt x="427" y="62"/>
                    </a:lnTo>
                    <a:lnTo>
                      <a:pt x="439" y="69"/>
                    </a:lnTo>
                    <a:lnTo>
                      <a:pt x="450" y="76"/>
                    </a:lnTo>
                    <a:lnTo>
                      <a:pt x="461" y="84"/>
                    </a:lnTo>
                    <a:lnTo>
                      <a:pt x="470" y="91"/>
                    </a:lnTo>
                    <a:lnTo>
                      <a:pt x="480" y="100"/>
                    </a:lnTo>
                    <a:lnTo>
                      <a:pt x="490" y="110"/>
                    </a:lnTo>
                    <a:lnTo>
                      <a:pt x="499" y="118"/>
                    </a:lnTo>
                    <a:lnTo>
                      <a:pt x="507" y="129"/>
                    </a:lnTo>
                    <a:lnTo>
                      <a:pt x="515" y="138"/>
                    </a:lnTo>
                    <a:lnTo>
                      <a:pt x="523" y="149"/>
                    </a:lnTo>
                    <a:lnTo>
                      <a:pt x="530" y="160"/>
                    </a:lnTo>
                    <a:lnTo>
                      <a:pt x="537" y="172"/>
                    </a:lnTo>
                    <a:lnTo>
                      <a:pt x="542" y="182"/>
                    </a:lnTo>
                    <a:lnTo>
                      <a:pt x="547" y="195"/>
                    </a:lnTo>
                    <a:lnTo>
                      <a:pt x="553" y="207"/>
                    </a:lnTo>
                    <a:lnTo>
                      <a:pt x="557" y="220"/>
                    </a:lnTo>
                    <a:lnTo>
                      <a:pt x="560" y="233"/>
                    </a:lnTo>
                    <a:lnTo>
                      <a:pt x="563" y="245"/>
                    </a:lnTo>
                    <a:lnTo>
                      <a:pt x="566" y="258"/>
                    </a:lnTo>
                    <a:lnTo>
                      <a:pt x="568" y="272"/>
                    </a:lnTo>
                    <a:lnTo>
                      <a:pt x="569" y="285"/>
                    </a:lnTo>
                    <a:lnTo>
                      <a:pt x="569" y="299"/>
                    </a:lnTo>
                    <a:lnTo>
                      <a:pt x="569" y="313"/>
                    </a:lnTo>
                    <a:lnTo>
                      <a:pt x="568" y="327"/>
                    </a:lnTo>
                    <a:lnTo>
                      <a:pt x="566" y="341"/>
                    </a:lnTo>
                    <a:lnTo>
                      <a:pt x="563" y="354"/>
                    </a:lnTo>
                    <a:lnTo>
                      <a:pt x="560" y="368"/>
                    </a:lnTo>
                    <a:lnTo>
                      <a:pt x="557" y="379"/>
                    </a:lnTo>
                    <a:lnTo>
                      <a:pt x="553" y="392"/>
                    </a:lnTo>
                    <a:lnTo>
                      <a:pt x="547" y="405"/>
                    </a:lnTo>
                    <a:lnTo>
                      <a:pt x="542" y="417"/>
                    </a:lnTo>
                    <a:lnTo>
                      <a:pt x="537" y="429"/>
                    </a:lnTo>
                    <a:lnTo>
                      <a:pt x="530" y="439"/>
                    </a:lnTo>
                    <a:lnTo>
                      <a:pt x="523" y="450"/>
                    </a:lnTo>
                    <a:lnTo>
                      <a:pt x="515" y="461"/>
                    </a:lnTo>
                    <a:lnTo>
                      <a:pt x="507" y="471"/>
                    </a:lnTo>
                    <a:lnTo>
                      <a:pt x="499" y="481"/>
                    </a:lnTo>
                    <a:lnTo>
                      <a:pt x="490" y="491"/>
                    </a:lnTo>
                    <a:lnTo>
                      <a:pt x="480" y="499"/>
                    </a:lnTo>
                    <a:lnTo>
                      <a:pt x="470" y="508"/>
                    </a:lnTo>
                    <a:lnTo>
                      <a:pt x="461" y="515"/>
                    </a:lnTo>
                    <a:lnTo>
                      <a:pt x="450" y="523"/>
                    </a:lnTo>
                    <a:lnTo>
                      <a:pt x="439" y="530"/>
                    </a:lnTo>
                    <a:lnTo>
                      <a:pt x="427" y="537"/>
                    </a:lnTo>
                    <a:lnTo>
                      <a:pt x="416" y="542"/>
                    </a:lnTo>
                    <a:lnTo>
                      <a:pt x="404" y="547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6" y="560"/>
                    </a:lnTo>
                    <a:lnTo>
                      <a:pt x="354" y="563"/>
                    </a:lnTo>
                    <a:lnTo>
                      <a:pt x="341" y="566"/>
                    </a:lnTo>
                    <a:lnTo>
                      <a:pt x="327" y="568"/>
                    </a:lnTo>
                    <a:lnTo>
                      <a:pt x="313" y="569"/>
                    </a:lnTo>
                    <a:lnTo>
                      <a:pt x="299" y="569"/>
                    </a:lnTo>
                    <a:close/>
                    <a:moveTo>
                      <a:pt x="299" y="0"/>
                    </a:moveTo>
                    <a:lnTo>
                      <a:pt x="284" y="0"/>
                    </a:lnTo>
                    <a:lnTo>
                      <a:pt x="269" y="1"/>
                    </a:lnTo>
                    <a:lnTo>
                      <a:pt x="254" y="4"/>
                    </a:lnTo>
                    <a:lnTo>
                      <a:pt x="239" y="6"/>
                    </a:lnTo>
                    <a:lnTo>
                      <a:pt x="225" y="10"/>
                    </a:lnTo>
                    <a:lnTo>
                      <a:pt x="210" y="13"/>
                    </a:lnTo>
                    <a:lnTo>
                      <a:pt x="196" y="19"/>
                    </a:lnTo>
                    <a:lnTo>
                      <a:pt x="183" y="24"/>
                    </a:lnTo>
                    <a:lnTo>
                      <a:pt x="169" y="29"/>
                    </a:lnTo>
                    <a:lnTo>
                      <a:pt x="157" y="37"/>
                    </a:lnTo>
                    <a:lnTo>
                      <a:pt x="144" y="43"/>
                    </a:lnTo>
                    <a:lnTo>
                      <a:pt x="132" y="52"/>
                    </a:lnTo>
                    <a:lnTo>
                      <a:pt x="120" y="59"/>
                    </a:lnTo>
                    <a:lnTo>
                      <a:pt x="109" y="69"/>
                    </a:lnTo>
                    <a:lnTo>
                      <a:pt x="98" y="79"/>
                    </a:lnTo>
                    <a:lnTo>
                      <a:pt x="88" y="88"/>
                    </a:lnTo>
                    <a:lnTo>
                      <a:pt x="77" y="99"/>
                    </a:lnTo>
                    <a:lnTo>
                      <a:pt x="69" y="110"/>
                    </a:lnTo>
                    <a:lnTo>
                      <a:pt x="59" y="120"/>
                    </a:lnTo>
                    <a:lnTo>
                      <a:pt x="52" y="132"/>
                    </a:lnTo>
                    <a:lnTo>
                      <a:pt x="43" y="145"/>
                    </a:lnTo>
                    <a:lnTo>
                      <a:pt x="37" y="157"/>
                    </a:lnTo>
                    <a:lnTo>
                      <a:pt x="29" y="169"/>
                    </a:lnTo>
                    <a:lnTo>
                      <a:pt x="24" y="183"/>
                    </a:lnTo>
                    <a:lnTo>
                      <a:pt x="18" y="196"/>
                    </a:lnTo>
                    <a:lnTo>
                      <a:pt x="13" y="210"/>
                    </a:lnTo>
                    <a:lnTo>
                      <a:pt x="10" y="225"/>
                    </a:lnTo>
                    <a:lnTo>
                      <a:pt x="6" y="239"/>
                    </a:lnTo>
                    <a:lnTo>
                      <a:pt x="3" y="254"/>
                    </a:lnTo>
                    <a:lnTo>
                      <a:pt x="1" y="269"/>
                    </a:lnTo>
                    <a:lnTo>
                      <a:pt x="0" y="284"/>
                    </a:lnTo>
                    <a:lnTo>
                      <a:pt x="0" y="299"/>
                    </a:lnTo>
                    <a:lnTo>
                      <a:pt x="0" y="315"/>
                    </a:lnTo>
                    <a:lnTo>
                      <a:pt x="1" y="330"/>
                    </a:lnTo>
                    <a:lnTo>
                      <a:pt x="3" y="345"/>
                    </a:lnTo>
                    <a:lnTo>
                      <a:pt x="6" y="360"/>
                    </a:lnTo>
                    <a:lnTo>
                      <a:pt x="10" y="374"/>
                    </a:lnTo>
                    <a:lnTo>
                      <a:pt x="13" y="389"/>
                    </a:lnTo>
                    <a:lnTo>
                      <a:pt x="18" y="403"/>
                    </a:lnTo>
                    <a:lnTo>
                      <a:pt x="24" y="416"/>
                    </a:lnTo>
                    <a:lnTo>
                      <a:pt x="29" y="430"/>
                    </a:lnTo>
                    <a:lnTo>
                      <a:pt x="37" y="442"/>
                    </a:lnTo>
                    <a:lnTo>
                      <a:pt x="43" y="455"/>
                    </a:lnTo>
                    <a:lnTo>
                      <a:pt x="52" y="467"/>
                    </a:lnTo>
                    <a:lnTo>
                      <a:pt x="59" y="479"/>
                    </a:lnTo>
                    <a:lnTo>
                      <a:pt x="69" y="491"/>
                    </a:lnTo>
                    <a:lnTo>
                      <a:pt x="77" y="501"/>
                    </a:lnTo>
                    <a:lnTo>
                      <a:pt x="88" y="511"/>
                    </a:lnTo>
                    <a:lnTo>
                      <a:pt x="98" y="522"/>
                    </a:lnTo>
                    <a:lnTo>
                      <a:pt x="109" y="530"/>
                    </a:lnTo>
                    <a:lnTo>
                      <a:pt x="120" y="540"/>
                    </a:lnTo>
                    <a:lnTo>
                      <a:pt x="132" y="547"/>
                    </a:lnTo>
                    <a:lnTo>
                      <a:pt x="144" y="556"/>
                    </a:lnTo>
                    <a:lnTo>
                      <a:pt x="157" y="562"/>
                    </a:lnTo>
                    <a:lnTo>
                      <a:pt x="169" y="570"/>
                    </a:lnTo>
                    <a:lnTo>
                      <a:pt x="183" y="575"/>
                    </a:lnTo>
                    <a:lnTo>
                      <a:pt x="196" y="581"/>
                    </a:lnTo>
                    <a:lnTo>
                      <a:pt x="210" y="585"/>
                    </a:lnTo>
                    <a:lnTo>
                      <a:pt x="225" y="589"/>
                    </a:lnTo>
                    <a:lnTo>
                      <a:pt x="239" y="592"/>
                    </a:lnTo>
                    <a:lnTo>
                      <a:pt x="254" y="596"/>
                    </a:lnTo>
                    <a:lnTo>
                      <a:pt x="269" y="598"/>
                    </a:lnTo>
                    <a:lnTo>
                      <a:pt x="284" y="599"/>
                    </a:lnTo>
                    <a:lnTo>
                      <a:pt x="299" y="599"/>
                    </a:lnTo>
                    <a:lnTo>
                      <a:pt x="315" y="599"/>
                    </a:lnTo>
                    <a:lnTo>
                      <a:pt x="330" y="598"/>
                    </a:lnTo>
                    <a:lnTo>
                      <a:pt x="345" y="596"/>
                    </a:lnTo>
                    <a:lnTo>
                      <a:pt x="360" y="592"/>
                    </a:lnTo>
                    <a:lnTo>
                      <a:pt x="374" y="589"/>
                    </a:lnTo>
                    <a:lnTo>
                      <a:pt x="388" y="585"/>
                    </a:lnTo>
                    <a:lnTo>
                      <a:pt x="402" y="581"/>
                    </a:lnTo>
                    <a:lnTo>
                      <a:pt x="416" y="575"/>
                    </a:lnTo>
                    <a:lnTo>
                      <a:pt x="429" y="570"/>
                    </a:lnTo>
                    <a:lnTo>
                      <a:pt x="442" y="562"/>
                    </a:lnTo>
                    <a:lnTo>
                      <a:pt x="454" y="556"/>
                    </a:lnTo>
                    <a:lnTo>
                      <a:pt x="467" y="547"/>
                    </a:lnTo>
                    <a:lnTo>
                      <a:pt x="479" y="540"/>
                    </a:lnTo>
                    <a:lnTo>
                      <a:pt x="490" y="530"/>
                    </a:lnTo>
                    <a:lnTo>
                      <a:pt x="500" y="522"/>
                    </a:lnTo>
                    <a:lnTo>
                      <a:pt x="511" y="511"/>
                    </a:lnTo>
                    <a:lnTo>
                      <a:pt x="521" y="501"/>
                    </a:lnTo>
                    <a:lnTo>
                      <a:pt x="530" y="491"/>
                    </a:lnTo>
                    <a:lnTo>
                      <a:pt x="539" y="479"/>
                    </a:lnTo>
                    <a:lnTo>
                      <a:pt x="547" y="467"/>
                    </a:lnTo>
                    <a:lnTo>
                      <a:pt x="555" y="455"/>
                    </a:lnTo>
                    <a:lnTo>
                      <a:pt x="562" y="442"/>
                    </a:lnTo>
                    <a:lnTo>
                      <a:pt x="569" y="430"/>
                    </a:lnTo>
                    <a:lnTo>
                      <a:pt x="575" y="416"/>
                    </a:lnTo>
                    <a:lnTo>
                      <a:pt x="581" y="403"/>
                    </a:lnTo>
                    <a:lnTo>
                      <a:pt x="585" y="389"/>
                    </a:lnTo>
                    <a:lnTo>
                      <a:pt x="589" y="374"/>
                    </a:lnTo>
                    <a:lnTo>
                      <a:pt x="592" y="360"/>
                    </a:lnTo>
                    <a:lnTo>
                      <a:pt x="596" y="345"/>
                    </a:lnTo>
                    <a:lnTo>
                      <a:pt x="598" y="330"/>
                    </a:lnTo>
                    <a:lnTo>
                      <a:pt x="599" y="315"/>
                    </a:lnTo>
                    <a:lnTo>
                      <a:pt x="599" y="299"/>
                    </a:lnTo>
                    <a:lnTo>
                      <a:pt x="599" y="284"/>
                    </a:lnTo>
                    <a:lnTo>
                      <a:pt x="598" y="269"/>
                    </a:lnTo>
                    <a:lnTo>
                      <a:pt x="596" y="254"/>
                    </a:lnTo>
                    <a:lnTo>
                      <a:pt x="592" y="239"/>
                    </a:lnTo>
                    <a:lnTo>
                      <a:pt x="589" y="225"/>
                    </a:lnTo>
                    <a:lnTo>
                      <a:pt x="585" y="210"/>
                    </a:lnTo>
                    <a:lnTo>
                      <a:pt x="581" y="196"/>
                    </a:lnTo>
                    <a:lnTo>
                      <a:pt x="575" y="183"/>
                    </a:lnTo>
                    <a:lnTo>
                      <a:pt x="569" y="169"/>
                    </a:lnTo>
                    <a:lnTo>
                      <a:pt x="562" y="157"/>
                    </a:lnTo>
                    <a:lnTo>
                      <a:pt x="555" y="145"/>
                    </a:lnTo>
                    <a:lnTo>
                      <a:pt x="547" y="132"/>
                    </a:lnTo>
                    <a:lnTo>
                      <a:pt x="539" y="120"/>
                    </a:lnTo>
                    <a:lnTo>
                      <a:pt x="530" y="110"/>
                    </a:lnTo>
                    <a:lnTo>
                      <a:pt x="521" y="99"/>
                    </a:lnTo>
                    <a:lnTo>
                      <a:pt x="511" y="88"/>
                    </a:lnTo>
                    <a:lnTo>
                      <a:pt x="500" y="79"/>
                    </a:lnTo>
                    <a:lnTo>
                      <a:pt x="490" y="69"/>
                    </a:lnTo>
                    <a:lnTo>
                      <a:pt x="479" y="59"/>
                    </a:lnTo>
                    <a:lnTo>
                      <a:pt x="467" y="52"/>
                    </a:lnTo>
                    <a:lnTo>
                      <a:pt x="454" y="43"/>
                    </a:lnTo>
                    <a:lnTo>
                      <a:pt x="442" y="37"/>
                    </a:lnTo>
                    <a:lnTo>
                      <a:pt x="429" y="29"/>
                    </a:lnTo>
                    <a:lnTo>
                      <a:pt x="416" y="24"/>
                    </a:lnTo>
                    <a:lnTo>
                      <a:pt x="402" y="19"/>
                    </a:lnTo>
                    <a:lnTo>
                      <a:pt x="388" y="13"/>
                    </a:lnTo>
                    <a:lnTo>
                      <a:pt x="374" y="10"/>
                    </a:lnTo>
                    <a:lnTo>
                      <a:pt x="360" y="6"/>
                    </a:lnTo>
                    <a:lnTo>
                      <a:pt x="345" y="4"/>
                    </a:lnTo>
                    <a:lnTo>
                      <a:pt x="330" y="1"/>
                    </a:lnTo>
                    <a:lnTo>
                      <a:pt x="315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55">
                <a:extLst>
                  <a:ext uri="{FF2B5EF4-FFF2-40B4-BE49-F238E27FC236}">
                    <a16:creationId xmlns:a16="http://schemas.microsoft.com/office/drawing/2014/main" id="{620F6B3A-70B9-4DB5-B9A6-9B2478BA6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8 w 90"/>
                  <a:gd name="T7" fmla="*/ 2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30 h 30"/>
                  <a:gd name="T40" fmla="*/ 80 w 90"/>
                  <a:gd name="T41" fmla="*/ 29 h 30"/>
                  <a:gd name="T42" fmla="*/ 83 w 90"/>
                  <a:gd name="T43" fmla="*/ 28 h 30"/>
                  <a:gd name="T44" fmla="*/ 85 w 90"/>
                  <a:gd name="T45" fmla="*/ 26 h 30"/>
                  <a:gd name="T46" fmla="*/ 86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6 w 90"/>
                  <a:gd name="T59" fmla="*/ 8 h 30"/>
                  <a:gd name="T60" fmla="*/ 85 w 90"/>
                  <a:gd name="T61" fmla="*/ 5 h 30"/>
                  <a:gd name="T62" fmla="*/ 83 w 90"/>
                  <a:gd name="T63" fmla="*/ 3 h 30"/>
                  <a:gd name="T64" fmla="*/ 80 w 90"/>
                  <a:gd name="T65" fmla="*/ 2 h 30"/>
                  <a:gd name="T66" fmla="*/ 78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6" y="8"/>
                    </a:lnTo>
                    <a:lnTo>
                      <a:pt x="85" y="5"/>
                    </a:lnTo>
                    <a:lnTo>
                      <a:pt x="83" y="3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56">
                <a:extLst>
                  <a:ext uri="{FF2B5EF4-FFF2-40B4-BE49-F238E27FC236}">
                    <a16:creationId xmlns:a16="http://schemas.microsoft.com/office/drawing/2014/main" id="{3FC316AB-D8C9-4E37-A5C2-890BD3135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769938"/>
                <a:ext cx="9525" cy="28575"/>
              </a:xfrm>
              <a:custGeom>
                <a:avLst/>
                <a:gdLst>
                  <a:gd name="T0" fmla="*/ 15 w 30"/>
                  <a:gd name="T1" fmla="*/ 89 h 89"/>
                  <a:gd name="T2" fmla="*/ 18 w 30"/>
                  <a:gd name="T3" fmla="*/ 89 h 89"/>
                  <a:gd name="T4" fmla="*/ 21 w 30"/>
                  <a:gd name="T5" fmla="*/ 88 h 89"/>
                  <a:gd name="T6" fmla="*/ 24 w 30"/>
                  <a:gd name="T7" fmla="*/ 87 h 89"/>
                  <a:gd name="T8" fmla="*/ 26 w 30"/>
                  <a:gd name="T9" fmla="*/ 85 h 89"/>
                  <a:gd name="T10" fmla="*/ 28 w 30"/>
                  <a:gd name="T11" fmla="*/ 83 h 89"/>
                  <a:gd name="T12" fmla="*/ 29 w 30"/>
                  <a:gd name="T13" fmla="*/ 81 h 89"/>
                  <a:gd name="T14" fmla="*/ 30 w 30"/>
                  <a:gd name="T15" fmla="*/ 78 h 89"/>
                  <a:gd name="T16" fmla="*/ 30 w 30"/>
                  <a:gd name="T17" fmla="*/ 74 h 89"/>
                  <a:gd name="T18" fmla="*/ 30 w 30"/>
                  <a:gd name="T19" fmla="*/ 14 h 89"/>
                  <a:gd name="T20" fmla="*/ 30 w 30"/>
                  <a:gd name="T21" fmla="*/ 11 h 89"/>
                  <a:gd name="T22" fmla="*/ 29 w 30"/>
                  <a:gd name="T23" fmla="*/ 9 h 89"/>
                  <a:gd name="T24" fmla="*/ 28 w 30"/>
                  <a:gd name="T25" fmla="*/ 6 h 89"/>
                  <a:gd name="T26" fmla="*/ 26 w 30"/>
                  <a:gd name="T27" fmla="*/ 4 h 89"/>
                  <a:gd name="T28" fmla="*/ 24 w 30"/>
                  <a:gd name="T29" fmla="*/ 2 h 89"/>
                  <a:gd name="T30" fmla="*/ 21 w 30"/>
                  <a:gd name="T31" fmla="*/ 1 h 89"/>
                  <a:gd name="T32" fmla="*/ 18 w 30"/>
                  <a:gd name="T33" fmla="*/ 0 h 89"/>
                  <a:gd name="T34" fmla="*/ 15 w 30"/>
                  <a:gd name="T35" fmla="*/ 0 h 89"/>
                  <a:gd name="T36" fmla="*/ 13 w 30"/>
                  <a:gd name="T37" fmla="*/ 0 h 89"/>
                  <a:gd name="T38" fmla="*/ 10 w 30"/>
                  <a:gd name="T39" fmla="*/ 1 h 89"/>
                  <a:gd name="T40" fmla="*/ 7 w 30"/>
                  <a:gd name="T41" fmla="*/ 2 h 89"/>
                  <a:gd name="T42" fmla="*/ 4 w 30"/>
                  <a:gd name="T43" fmla="*/ 4 h 89"/>
                  <a:gd name="T44" fmla="*/ 3 w 30"/>
                  <a:gd name="T45" fmla="*/ 6 h 89"/>
                  <a:gd name="T46" fmla="*/ 1 w 30"/>
                  <a:gd name="T47" fmla="*/ 9 h 89"/>
                  <a:gd name="T48" fmla="*/ 1 w 30"/>
                  <a:gd name="T49" fmla="*/ 11 h 89"/>
                  <a:gd name="T50" fmla="*/ 0 w 30"/>
                  <a:gd name="T51" fmla="*/ 14 h 89"/>
                  <a:gd name="T52" fmla="*/ 0 w 30"/>
                  <a:gd name="T53" fmla="*/ 74 h 89"/>
                  <a:gd name="T54" fmla="*/ 1 w 30"/>
                  <a:gd name="T55" fmla="*/ 78 h 89"/>
                  <a:gd name="T56" fmla="*/ 1 w 30"/>
                  <a:gd name="T57" fmla="*/ 81 h 89"/>
                  <a:gd name="T58" fmla="*/ 3 w 30"/>
                  <a:gd name="T59" fmla="*/ 83 h 89"/>
                  <a:gd name="T60" fmla="*/ 4 w 30"/>
                  <a:gd name="T61" fmla="*/ 85 h 89"/>
                  <a:gd name="T62" fmla="*/ 7 w 30"/>
                  <a:gd name="T63" fmla="*/ 87 h 89"/>
                  <a:gd name="T64" fmla="*/ 10 w 30"/>
                  <a:gd name="T65" fmla="*/ 88 h 89"/>
                  <a:gd name="T66" fmla="*/ 13 w 30"/>
                  <a:gd name="T67" fmla="*/ 89 h 89"/>
                  <a:gd name="T68" fmla="*/ 15 w 30"/>
                  <a:gd name="T6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89">
                    <a:moveTo>
                      <a:pt x="15" y="89"/>
                    </a:moveTo>
                    <a:lnTo>
                      <a:pt x="18" y="89"/>
                    </a:lnTo>
                    <a:lnTo>
                      <a:pt x="21" y="88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8"/>
                    </a:lnTo>
                    <a:lnTo>
                      <a:pt x="13" y="89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57">
                <a:extLst>
                  <a:ext uri="{FF2B5EF4-FFF2-40B4-BE49-F238E27FC236}">
                    <a16:creationId xmlns:a16="http://schemas.microsoft.com/office/drawing/2014/main" id="{8346A8E3-2EF1-4FC6-91F9-29AE2FF2F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9 w 90"/>
                  <a:gd name="T7" fmla="*/ 2 h 30"/>
                  <a:gd name="T8" fmla="*/ 7 w 90"/>
                  <a:gd name="T9" fmla="*/ 3 h 30"/>
                  <a:gd name="T10" fmla="*/ 5 w 90"/>
                  <a:gd name="T11" fmla="*/ 5 h 30"/>
                  <a:gd name="T12" fmla="*/ 3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3 w 90"/>
                  <a:gd name="T25" fmla="*/ 24 h 30"/>
                  <a:gd name="T26" fmla="*/ 5 w 90"/>
                  <a:gd name="T27" fmla="*/ 26 h 30"/>
                  <a:gd name="T28" fmla="*/ 7 w 90"/>
                  <a:gd name="T29" fmla="*/ 28 h 30"/>
                  <a:gd name="T30" fmla="*/ 9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9 w 90"/>
                  <a:gd name="T39" fmla="*/ 30 h 30"/>
                  <a:gd name="T40" fmla="*/ 81 w 90"/>
                  <a:gd name="T41" fmla="*/ 29 h 30"/>
                  <a:gd name="T42" fmla="*/ 84 w 90"/>
                  <a:gd name="T43" fmla="*/ 28 h 30"/>
                  <a:gd name="T44" fmla="*/ 86 w 90"/>
                  <a:gd name="T45" fmla="*/ 26 h 30"/>
                  <a:gd name="T46" fmla="*/ 87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7 w 90"/>
                  <a:gd name="T59" fmla="*/ 8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2 h 30"/>
                  <a:gd name="T66" fmla="*/ 79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58">
                <a:extLst>
                  <a:ext uri="{FF2B5EF4-FFF2-40B4-BE49-F238E27FC236}">
                    <a16:creationId xmlns:a16="http://schemas.microsoft.com/office/drawing/2014/main" id="{D637BD53-1A4A-4652-AF9E-679678C85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1017588"/>
                <a:ext cx="9525" cy="28575"/>
              </a:xfrm>
              <a:custGeom>
                <a:avLst/>
                <a:gdLst>
                  <a:gd name="T0" fmla="*/ 15 w 30"/>
                  <a:gd name="T1" fmla="*/ 0 h 90"/>
                  <a:gd name="T2" fmla="*/ 13 w 30"/>
                  <a:gd name="T3" fmla="*/ 0 h 90"/>
                  <a:gd name="T4" fmla="*/ 10 w 30"/>
                  <a:gd name="T5" fmla="*/ 1 h 90"/>
                  <a:gd name="T6" fmla="*/ 7 w 30"/>
                  <a:gd name="T7" fmla="*/ 2 h 90"/>
                  <a:gd name="T8" fmla="*/ 4 w 30"/>
                  <a:gd name="T9" fmla="*/ 4 h 90"/>
                  <a:gd name="T10" fmla="*/ 3 w 30"/>
                  <a:gd name="T11" fmla="*/ 6 h 90"/>
                  <a:gd name="T12" fmla="*/ 1 w 30"/>
                  <a:gd name="T13" fmla="*/ 9 h 90"/>
                  <a:gd name="T14" fmla="*/ 1 w 30"/>
                  <a:gd name="T15" fmla="*/ 11 h 90"/>
                  <a:gd name="T16" fmla="*/ 0 w 30"/>
                  <a:gd name="T17" fmla="*/ 15 h 90"/>
                  <a:gd name="T18" fmla="*/ 0 w 30"/>
                  <a:gd name="T19" fmla="*/ 75 h 90"/>
                  <a:gd name="T20" fmla="*/ 1 w 30"/>
                  <a:gd name="T21" fmla="*/ 78 h 90"/>
                  <a:gd name="T22" fmla="*/ 1 w 30"/>
                  <a:gd name="T23" fmla="*/ 81 h 90"/>
                  <a:gd name="T24" fmla="*/ 3 w 30"/>
                  <a:gd name="T25" fmla="*/ 83 h 90"/>
                  <a:gd name="T26" fmla="*/ 4 w 30"/>
                  <a:gd name="T27" fmla="*/ 85 h 90"/>
                  <a:gd name="T28" fmla="*/ 7 w 30"/>
                  <a:gd name="T29" fmla="*/ 87 h 90"/>
                  <a:gd name="T30" fmla="*/ 10 w 30"/>
                  <a:gd name="T31" fmla="*/ 89 h 90"/>
                  <a:gd name="T32" fmla="*/ 13 w 30"/>
                  <a:gd name="T33" fmla="*/ 90 h 90"/>
                  <a:gd name="T34" fmla="*/ 15 w 30"/>
                  <a:gd name="T35" fmla="*/ 90 h 90"/>
                  <a:gd name="T36" fmla="*/ 18 w 30"/>
                  <a:gd name="T37" fmla="*/ 90 h 90"/>
                  <a:gd name="T38" fmla="*/ 21 w 30"/>
                  <a:gd name="T39" fmla="*/ 89 h 90"/>
                  <a:gd name="T40" fmla="*/ 24 w 30"/>
                  <a:gd name="T41" fmla="*/ 87 h 90"/>
                  <a:gd name="T42" fmla="*/ 26 w 30"/>
                  <a:gd name="T43" fmla="*/ 85 h 90"/>
                  <a:gd name="T44" fmla="*/ 28 w 30"/>
                  <a:gd name="T45" fmla="*/ 83 h 90"/>
                  <a:gd name="T46" fmla="*/ 29 w 30"/>
                  <a:gd name="T47" fmla="*/ 81 h 90"/>
                  <a:gd name="T48" fmla="*/ 30 w 30"/>
                  <a:gd name="T49" fmla="*/ 78 h 90"/>
                  <a:gd name="T50" fmla="*/ 30 w 30"/>
                  <a:gd name="T51" fmla="*/ 75 h 90"/>
                  <a:gd name="T52" fmla="*/ 30 w 30"/>
                  <a:gd name="T53" fmla="*/ 15 h 90"/>
                  <a:gd name="T54" fmla="*/ 30 w 30"/>
                  <a:gd name="T55" fmla="*/ 11 h 90"/>
                  <a:gd name="T56" fmla="*/ 29 w 30"/>
                  <a:gd name="T57" fmla="*/ 9 h 90"/>
                  <a:gd name="T58" fmla="*/ 28 w 30"/>
                  <a:gd name="T59" fmla="*/ 6 h 90"/>
                  <a:gd name="T60" fmla="*/ 26 w 30"/>
                  <a:gd name="T61" fmla="*/ 4 h 90"/>
                  <a:gd name="T62" fmla="*/ 24 w 30"/>
                  <a:gd name="T63" fmla="*/ 2 h 90"/>
                  <a:gd name="T64" fmla="*/ 21 w 30"/>
                  <a:gd name="T65" fmla="*/ 1 h 90"/>
                  <a:gd name="T66" fmla="*/ 18 w 30"/>
                  <a:gd name="T67" fmla="*/ 0 h 90"/>
                  <a:gd name="T68" fmla="*/ 15 w 30"/>
                  <a:gd name="T6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0"/>
                    </a:move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" y="90"/>
                    </a:lnTo>
                    <a:lnTo>
                      <a:pt x="21" y="89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59">
                <a:extLst>
                  <a:ext uri="{FF2B5EF4-FFF2-40B4-BE49-F238E27FC236}">
                    <a16:creationId xmlns:a16="http://schemas.microsoft.com/office/drawing/2014/main" id="{C46A30A2-27C7-41CA-BC30-5C96479DA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809625"/>
                <a:ext cx="22225" cy="22225"/>
              </a:xfrm>
              <a:custGeom>
                <a:avLst/>
                <a:gdLst>
                  <a:gd name="T0" fmla="*/ 46 w 72"/>
                  <a:gd name="T1" fmla="*/ 4 h 72"/>
                  <a:gd name="T2" fmla="*/ 4 w 72"/>
                  <a:gd name="T3" fmla="*/ 47 h 72"/>
                  <a:gd name="T4" fmla="*/ 2 w 72"/>
                  <a:gd name="T5" fmla="*/ 49 h 72"/>
                  <a:gd name="T6" fmla="*/ 1 w 72"/>
                  <a:gd name="T7" fmla="*/ 52 h 72"/>
                  <a:gd name="T8" fmla="*/ 0 w 72"/>
                  <a:gd name="T9" fmla="*/ 54 h 72"/>
                  <a:gd name="T10" fmla="*/ 0 w 72"/>
                  <a:gd name="T11" fmla="*/ 57 h 72"/>
                  <a:gd name="T12" fmla="*/ 0 w 72"/>
                  <a:gd name="T13" fmla="*/ 61 h 72"/>
                  <a:gd name="T14" fmla="*/ 1 w 72"/>
                  <a:gd name="T15" fmla="*/ 63 h 72"/>
                  <a:gd name="T16" fmla="*/ 2 w 72"/>
                  <a:gd name="T17" fmla="*/ 66 h 72"/>
                  <a:gd name="T18" fmla="*/ 4 w 72"/>
                  <a:gd name="T19" fmla="*/ 68 h 72"/>
                  <a:gd name="T20" fmla="*/ 6 w 72"/>
                  <a:gd name="T21" fmla="*/ 70 h 72"/>
                  <a:gd name="T22" fmla="*/ 8 w 72"/>
                  <a:gd name="T23" fmla="*/ 71 h 72"/>
                  <a:gd name="T24" fmla="*/ 12 w 72"/>
                  <a:gd name="T25" fmla="*/ 72 h 72"/>
                  <a:gd name="T26" fmla="*/ 15 w 72"/>
                  <a:gd name="T27" fmla="*/ 72 h 72"/>
                  <a:gd name="T28" fmla="*/ 17 w 72"/>
                  <a:gd name="T29" fmla="*/ 72 h 72"/>
                  <a:gd name="T30" fmla="*/ 20 w 72"/>
                  <a:gd name="T31" fmla="*/ 71 h 72"/>
                  <a:gd name="T32" fmla="*/ 22 w 72"/>
                  <a:gd name="T33" fmla="*/ 70 h 72"/>
                  <a:gd name="T34" fmla="*/ 25 w 72"/>
                  <a:gd name="T35" fmla="*/ 68 h 72"/>
                  <a:gd name="T36" fmla="*/ 67 w 72"/>
                  <a:gd name="T37" fmla="*/ 24 h 72"/>
                  <a:gd name="T38" fmla="*/ 69 w 72"/>
                  <a:gd name="T39" fmla="*/ 22 h 72"/>
                  <a:gd name="T40" fmla="*/ 70 w 72"/>
                  <a:gd name="T41" fmla="*/ 20 h 72"/>
                  <a:gd name="T42" fmla="*/ 72 w 72"/>
                  <a:gd name="T43" fmla="*/ 18 h 72"/>
                  <a:gd name="T44" fmla="*/ 72 w 72"/>
                  <a:gd name="T45" fmla="*/ 15 h 72"/>
                  <a:gd name="T46" fmla="*/ 72 w 72"/>
                  <a:gd name="T47" fmla="*/ 11 h 72"/>
                  <a:gd name="T48" fmla="*/ 70 w 72"/>
                  <a:gd name="T49" fmla="*/ 9 h 72"/>
                  <a:gd name="T50" fmla="*/ 69 w 72"/>
                  <a:gd name="T51" fmla="*/ 6 h 72"/>
                  <a:gd name="T52" fmla="*/ 67 w 72"/>
                  <a:gd name="T53" fmla="*/ 4 h 72"/>
                  <a:gd name="T54" fmla="*/ 65 w 72"/>
                  <a:gd name="T55" fmla="*/ 2 h 72"/>
                  <a:gd name="T56" fmla="*/ 62 w 72"/>
                  <a:gd name="T57" fmla="*/ 1 h 72"/>
                  <a:gd name="T58" fmla="*/ 60 w 72"/>
                  <a:gd name="T59" fmla="*/ 0 h 72"/>
                  <a:gd name="T60" fmla="*/ 57 w 72"/>
                  <a:gd name="T61" fmla="*/ 0 h 72"/>
                  <a:gd name="T62" fmla="*/ 53 w 72"/>
                  <a:gd name="T63" fmla="*/ 0 h 72"/>
                  <a:gd name="T64" fmla="*/ 51 w 72"/>
                  <a:gd name="T65" fmla="*/ 1 h 72"/>
                  <a:gd name="T66" fmla="*/ 48 w 72"/>
                  <a:gd name="T67" fmla="*/ 2 h 72"/>
                  <a:gd name="T68" fmla="*/ 46 w 72"/>
                  <a:gd name="T69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46" y="4"/>
                    </a:moveTo>
                    <a:lnTo>
                      <a:pt x="4" y="47"/>
                    </a:lnTo>
                    <a:lnTo>
                      <a:pt x="2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" y="63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8" y="71"/>
                    </a:lnTo>
                    <a:lnTo>
                      <a:pt x="12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20" y="71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67" y="24"/>
                    </a:lnTo>
                    <a:lnTo>
                      <a:pt x="69" y="22"/>
                    </a:lnTo>
                    <a:lnTo>
                      <a:pt x="70" y="20"/>
                    </a:lnTo>
                    <a:lnTo>
                      <a:pt x="72" y="18"/>
                    </a:lnTo>
                    <a:lnTo>
                      <a:pt x="72" y="15"/>
                    </a:lnTo>
                    <a:lnTo>
                      <a:pt x="72" y="11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60">
                <a:extLst>
                  <a:ext uri="{FF2B5EF4-FFF2-40B4-BE49-F238E27FC236}">
                    <a16:creationId xmlns:a16="http://schemas.microsoft.com/office/drawing/2014/main" id="{E7DC7390-666A-448F-A155-70D74D5CE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809625"/>
                <a:ext cx="22225" cy="22225"/>
              </a:xfrm>
              <a:custGeom>
                <a:avLst/>
                <a:gdLst>
                  <a:gd name="T0" fmla="*/ 46 w 71"/>
                  <a:gd name="T1" fmla="*/ 68 h 72"/>
                  <a:gd name="T2" fmla="*/ 48 w 71"/>
                  <a:gd name="T3" fmla="*/ 70 h 72"/>
                  <a:gd name="T4" fmla="*/ 51 w 71"/>
                  <a:gd name="T5" fmla="*/ 71 h 72"/>
                  <a:gd name="T6" fmla="*/ 53 w 71"/>
                  <a:gd name="T7" fmla="*/ 72 h 72"/>
                  <a:gd name="T8" fmla="*/ 56 w 71"/>
                  <a:gd name="T9" fmla="*/ 72 h 72"/>
                  <a:gd name="T10" fmla="*/ 59 w 71"/>
                  <a:gd name="T11" fmla="*/ 72 h 72"/>
                  <a:gd name="T12" fmla="*/ 62 w 71"/>
                  <a:gd name="T13" fmla="*/ 71 h 72"/>
                  <a:gd name="T14" fmla="*/ 65 w 71"/>
                  <a:gd name="T15" fmla="*/ 70 h 72"/>
                  <a:gd name="T16" fmla="*/ 67 w 71"/>
                  <a:gd name="T17" fmla="*/ 68 h 72"/>
                  <a:gd name="T18" fmla="*/ 69 w 71"/>
                  <a:gd name="T19" fmla="*/ 66 h 72"/>
                  <a:gd name="T20" fmla="*/ 70 w 71"/>
                  <a:gd name="T21" fmla="*/ 63 h 72"/>
                  <a:gd name="T22" fmla="*/ 71 w 71"/>
                  <a:gd name="T23" fmla="*/ 61 h 72"/>
                  <a:gd name="T24" fmla="*/ 71 w 71"/>
                  <a:gd name="T25" fmla="*/ 57 h 72"/>
                  <a:gd name="T26" fmla="*/ 71 w 71"/>
                  <a:gd name="T27" fmla="*/ 54 h 72"/>
                  <a:gd name="T28" fmla="*/ 70 w 71"/>
                  <a:gd name="T29" fmla="*/ 52 h 72"/>
                  <a:gd name="T30" fmla="*/ 69 w 71"/>
                  <a:gd name="T31" fmla="*/ 50 h 72"/>
                  <a:gd name="T32" fmla="*/ 67 w 71"/>
                  <a:gd name="T33" fmla="*/ 47 h 72"/>
                  <a:gd name="T34" fmla="*/ 24 w 71"/>
                  <a:gd name="T35" fmla="*/ 4 h 72"/>
                  <a:gd name="T36" fmla="*/ 22 w 71"/>
                  <a:gd name="T37" fmla="*/ 2 h 72"/>
                  <a:gd name="T38" fmla="*/ 20 w 71"/>
                  <a:gd name="T39" fmla="*/ 1 h 72"/>
                  <a:gd name="T40" fmla="*/ 17 w 71"/>
                  <a:gd name="T41" fmla="*/ 0 h 72"/>
                  <a:gd name="T42" fmla="*/ 14 w 71"/>
                  <a:gd name="T43" fmla="*/ 0 h 72"/>
                  <a:gd name="T44" fmla="*/ 11 w 71"/>
                  <a:gd name="T45" fmla="*/ 0 h 72"/>
                  <a:gd name="T46" fmla="*/ 8 w 71"/>
                  <a:gd name="T47" fmla="*/ 1 h 72"/>
                  <a:gd name="T48" fmla="*/ 6 w 71"/>
                  <a:gd name="T49" fmla="*/ 2 h 72"/>
                  <a:gd name="T50" fmla="*/ 4 w 71"/>
                  <a:gd name="T51" fmla="*/ 4 h 72"/>
                  <a:gd name="T52" fmla="*/ 2 w 71"/>
                  <a:gd name="T53" fmla="*/ 6 h 72"/>
                  <a:gd name="T54" fmla="*/ 1 w 71"/>
                  <a:gd name="T55" fmla="*/ 9 h 72"/>
                  <a:gd name="T56" fmla="*/ 0 w 71"/>
                  <a:gd name="T57" fmla="*/ 11 h 72"/>
                  <a:gd name="T58" fmla="*/ 0 w 71"/>
                  <a:gd name="T59" fmla="*/ 15 h 72"/>
                  <a:gd name="T60" fmla="*/ 0 w 71"/>
                  <a:gd name="T61" fmla="*/ 18 h 72"/>
                  <a:gd name="T62" fmla="*/ 1 w 71"/>
                  <a:gd name="T63" fmla="*/ 20 h 72"/>
                  <a:gd name="T64" fmla="*/ 2 w 71"/>
                  <a:gd name="T65" fmla="*/ 23 h 72"/>
                  <a:gd name="T66" fmla="*/ 4 w 71"/>
                  <a:gd name="T67" fmla="*/ 24 h 72"/>
                  <a:gd name="T68" fmla="*/ 46 w 71"/>
                  <a:gd name="T69" fmla="*/ 6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2">
                    <a:moveTo>
                      <a:pt x="46" y="68"/>
                    </a:moveTo>
                    <a:lnTo>
                      <a:pt x="48" y="70"/>
                    </a:lnTo>
                    <a:lnTo>
                      <a:pt x="51" y="71"/>
                    </a:lnTo>
                    <a:lnTo>
                      <a:pt x="53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2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4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7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4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61">
                <a:extLst>
                  <a:ext uri="{FF2B5EF4-FFF2-40B4-BE49-F238E27FC236}">
                    <a16:creationId xmlns:a16="http://schemas.microsoft.com/office/drawing/2014/main" id="{664E3F2B-DA77-47AE-B50D-D76744393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84250"/>
                <a:ext cx="22225" cy="22225"/>
              </a:xfrm>
              <a:custGeom>
                <a:avLst/>
                <a:gdLst>
                  <a:gd name="T0" fmla="*/ 46 w 71"/>
                  <a:gd name="T1" fmla="*/ 4 h 71"/>
                  <a:gd name="T2" fmla="*/ 4 w 71"/>
                  <a:gd name="T3" fmla="*/ 46 h 71"/>
                  <a:gd name="T4" fmla="*/ 2 w 71"/>
                  <a:gd name="T5" fmla="*/ 49 h 71"/>
                  <a:gd name="T6" fmla="*/ 1 w 71"/>
                  <a:gd name="T7" fmla="*/ 51 h 71"/>
                  <a:gd name="T8" fmla="*/ 0 w 71"/>
                  <a:gd name="T9" fmla="*/ 54 h 71"/>
                  <a:gd name="T10" fmla="*/ 0 w 71"/>
                  <a:gd name="T11" fmla="*/ 58 h 71"/>
                  <a:gd name="T12" fmla="*/ 0 w 71"/>
                  <a:gd name="T13" fmla="*/ 60 h 71"/>
                  <a:gd name="T14" fmla="*/ 1 w 71"/>
                  <a:gd name="T15" fmla="*/ 63 h 71"/>
                  <a:gd name="T16" fmla="*/ 2 w 71"/>
                  <a:gd name="T17" fmla="*/ 65 h 71"/>
                  <a:gd name="T18" fmla="*/ 4 w 71"/>
                  <a:gd name="T19" fmla="*/ 67 h 71"/>
                  <a:gd name="T20" fmla="*/ 6 w 71"/>
                  <a:gd name="T21" fmla="*/ 69 h 71"/>
                  <a:gd name="T22" fmla="*/ 8 w 71"/>
                  <a:gd name="T23" fmla="*/ 70 h 71"/>
                  <a:gd name="T24" fmla="*/ 11 w 71"/>
                  <a:gd name="T25" fmla="*/ 71 h 71"/>
                  <a:gd name="T26" fmla="*/ 14 w 71"/>
                  <a:gd name="T27" fmla="*/ 71 h 71"/>
                  <a:gd name="T28" fmla="*/ 17 w 71"/>
                  <a:gd name="T29" fmla="*/ 71 h 71"/>
                  <a:gd name="T30" fmla="*/ 20 w 71"/>
                  <a:gd name="T31" fmla="*/ 70 h 71"/>
                  <a:gd name="T32" fmla="*/ 22 w 71"/>
                  <a:gd name="T33" fmla="*/ 69 h 71"/>
                  <a:gd name="T34" fmla="*/ 24 w 71"/>
                  <a:gd name="T35" fmla="*/ 67 h 71"/>
                  <a:gd name="T36" fmla="*/ 67 w 71"/>
                  <a:gd name="T37" fmla="*/ 25 h 71"/>
                  <a:gd name="T38" fmla="*/ 69 w 71"/>
                  <a:gd name="T39" fmla="*/ 23 h 71"/>
                  <a:gd name="T40" fmla="*/ 70 w 71"/>
                  <a:gd name="T41" fmla="*/ 20 h 71"/>
                  <a:gd name="T42" fmla="*/ 71 w 71"/>
                  <a:gd name="T43" fmla="*/ 18 h 71"/>
                  <a:gd name="T44" fmla="*/ 71 w 71"/>
                  <a:gd name="T45" fmla="*/ 15 h 71"/>
                  <a:gd name="T46" fmla="*/ 71 w 71"/>
                  <a:gd name="T47" fmla="*/ 12 h 71"/>
                  <a:gd name="T48" fmla="*/ 70 w 71"/>
                  <a:gd name="T49" fmla="*/ 9 h 71"/>
                  <a:gd name="T50" fmla="*/ 69 w 71"/>
                  <a:gd name="T51" fmla="*/ 6 h 71"/>
                  <a:gd name="T52" fmla="*/ 67 w 71"/>
                  <a:gd name="T53" fmla="*/ 4 h 71"/>
                  <a:gd name="T54" fmla="*/ 65 w 71"/>
                  <a:gd name="T55" fmla="*/ 2 h 71"/>
                  <a:gd name="T56" fmla="*/ 62 w 71"/>
                  <a:gd name="T57" fmla="*/ 1 h 71"/>
                  <a:gd name="T58" fmla="*/ 59 w 71"/>
                  <a:gd name="T59" fmla="*/ 0 h 71"/>
                  <a:gd name="T60" fmla="*/ 56 w 71"/>
                  <a:gd name="T61" fmla="*/ 0 h 71"/>
                  <a:gd name="T62" fmla="*/ 53 w 71"/>
                  <a:gd name="T63" fmla="*/ 0 h 71"/>
                  <a:gd name="T64" fmla="*/ 51 w 71"/>
                  <a:gd name="T65" fmla="*/ 1 h 71"/>
                  <a:gd name="T66" fmla="*/ 48 w 71"/>
                  <a:gd name="T67" fmla="*/ 2 h 71"/>
                  <a:gd name="T68" fmla="*/ 46 w 71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1">
                    <a:moveTo>
                      <a:pt x="46" y="4"/>
                    </a:moveTo>
                    <a:lnTo>
                      <a:pt x="4" y="46"/>
                    </a:lnTo>
                    <a:lnTo>
                      <a:pt x="2" y="49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4" y="67"/>
                    </a:lnTo>
                    <a:lnTo>
                      <a:pt x="6" y="69"/>
                    </a:lnTo>
                    <a:lnTo>
                      <a:pt x="8" y="70"/>
                    </a:lnTo>
                    <a:lnTo>
                      <a:pt x="11" y="71"/>
                    </a:lnTo>
                    <a:lnTo>
                      <a:pt x="14" y="71"/>
                    </a:lnTo>
                    <a:lnTo>
                      <a:pt x="17" y="71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7"/>
                    </a:lnTo>
                    <a:lnTo>
                      <a:pt x="67" y="25"/>
                    </a:lnTo>
                    <a:lnTo>
                      <a:pt x="69" y="23"/>
                    </a:lnTo>
                    <a:lnTo>
                      <a:pt x="70" y="20"/>
                    </a:lnTo>
                    <a:lnTo>
                      <a:pt x="71" y="18"/>
                    </a:lnTo>
                    <a:lnTo>
                      <a:pt x="71" y="15"/>
                    </a:lnTo>
                    <a:lnTo>
                      <a:pt x="71" y="12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62">
                <a:extLst>
                  <a:ext uri="{FF2B5EF4-FFF2-40B4-BE49-F238E27FC236}">
                    <a16:creationId xmlns:a16="http://schemas.microsoft.com/office/drawing/2014/main" id="{161EDA69-6CD1-4F79-ACF4-3DF42AFC5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984250"/>
                <a:ext cx="22225" cy="22225"/>
              </a:xfrm>
              <a:custGeom>
                <a:avLst/>
                <a:gdLst>
                  <a:gd name="T0" fmla="*/ 25 w 72"/>
                  <a:gd name="T1" fmla="*/ 4 h 71"/>
                  <a:gd name="T2" fmla="*/ 22 w 72"/>
                  <a:gd name="T3" fmla="*/ 2 h 71"/>
                  <a:gd name="T4" fmla="*/ 20 w 72"/>
                  <a:gd name="T5" fmla="*/ 1 h 71"/>
                  <a:gd name="T6" fmla="*/ 17 w 72"/>
                  <a:gd name="T7" fmla="*/ 0 h 71"/>
                  <a:gd name="T8" fmla="*/ 15 w 72"/>
                  <a:gd name="T9" fmla="*/ 0 h 71"/>
                  <a:gd name="T10" fmla="*/ 12 w 72"/>
                  <a:gd name="T11" fmla="*/ 0 h 71"/>
                  <a:gd name="T12" fmla="*/ 8 w 72"/>
                  <a:gd name="T13" fmla="*/ 1 h 71"/>
                  <a:gd name="T14" fmla="*/ 6 w 72"/>
                  <a:gd name="T15" fmla="*/ 2 h 71"/>
                  <a:gd name="T16" fmla="*/ 4 w 72"/>
                  <a:gd name="T17" fmla="*/ 4 h 71"/>
                  <a:gd name="T18" fmla="*/ 2 w 72"/>
                  <a:gd name="T19" fmla="*/ 6 h 71"/>
                  <a:gd name="T20" fmla="*/ 1 w 72"/>
                  <a:gd name="T21" fmla="*/ 9 h 71"/>
                  <a:gd name="T22" fmla="*/ 0 w 72"/>
                  <a:gd name="T23" fmla="*/ 12 h 71"/>
                  <a:gd name="T24" fmla="*/ 0 w 72"/>
                  <a:gd name="T25" fmla="*/ 15 h 71"/>
                  <a:gd name="T26" fmla="*/ 0 w 72"/>
                  <a:gd name="T27" fmla="*/ 18 h 71"/>
                  <a:gd name="T28" fmla="*/ 1 w 72"/>
                  <a:gd name="T29" fmla="*/ 20 h 71"/>
                  <a:gd name="T30" fmla="*/ 2 w 72"/>
                  <a:gd name="T31" fmla="*/ 23 h 71"/>
                  <a:gd name="T32" fmla="*/ 4 w 72"/>
                  <a:gd name="T33" fmla="*/ 25 h 71"/>
                  <a:gd name="T34" fmla="*/ 46 w 72"/>
                  <a:gd name="T35" fmla="*/ 67 h 71"/>
                  <a:gd name="T36" fmla="*/ 48 w 72"/>
                  <a:gd name="T37" fmla="*/ 69 h 71"/>
                  <a:gd name="T38" fmla="*/ 51 w 72"/>
                  <a:gd name="T39" fmla="*/ 70 h 71"/>
                  <a:gd name="T40" fmla="*/ 53 w 72"/>
                  <a:gd name="T41" fmla="*/ 71 h 71"/>
                  <a:gd name="T42" fmla="*/ 57 w 72"/>
                  <a:gd name="T43" fmla="*/ 71 h 71"/>
                  <a:gd name="T44" fmla="*/ 60 w 72"/>
                  <a:gd name="T45" fmla="*/ 71 h 71"/>
                  <a:gd name="T46" fmla="*/ 62 w 72"/>
                  <a:gd name="T47" fmla="*/ 70 h 71"/>
                  <a:gd name="T48" fmla="*/ 65 w 72"/>
                  <a:gd name="T49" fmla="*/ 69 h 71"/>
                  <a:gd name="T50" fmla="*/ 67 w 72"/>
                  <a:gd name="T51" fmla="*/ 67 h 71"/>
                  <a:gd name="T52" fmla="*/ 69 w 72"/>
                  <a:gd name="T53" fmla="*/ 65 h 71"/>
                  <a:gd name="T54" fmla="*/ 70 w 72"/>
                  <a:gd name="T55" fmla="*/ 63 h 71"/>
                  <a:gd name="T56" fmla="*/ 72 w 72"/>
                  <a:gd name="T57" fmla="*/ 60 h 71"/>
                  <a:gd name="T58" fmla="*/ 72 w 72"/>
                  <a:gd name="T59" fmla="*/ 58 h 71"/>
                  <a:gd name="T60" fmla="*/ 72 w 72"/>
                  <a:gd name="T61" fmla="*/ 54 h 71"/>
                  <a:gd name="T62" fmla="*/ 70 w 72"/>
                  <a:gd name="T63" fmla="*/ 51 h 71"/>
                  <a:gd name="T64" fmla="*/ 69 w 72"/>
                  <a:gd name="T65" fmla="*/ 49 h 71"/>
                  <a:gd name="T66" fmla="*/ 67 w 72"/>
                  <a:gd name="T67" fmla="*/ 46 h 71"/>
                  <a:gd name="T68" fmla="*/ 25 w 72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1">
                    <a:moveTo>
                      <a:pt x="25" y="4"/>
                    </a:move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46" y="67"/>
                    </a:lnTo>
                    <a:lnTo>
                      <a:pt x="48" y="69"/>
                    </a:lnTo>
                    <a:lnTo>
                      <a:pt x="51" y="70"/>
                    </a:lnTo>
                    <a:lnTo>
                      <a:pt x="53" y="71"/>
                    </a:lnTo>
                    <a:lnTo>
                      <a:pt x="57" y="71"/>
                    </a:lnTo>
                    <a:lnTo>
                      <a:pt x="60" y="71"/>
                    </a:lnTo>
                    <a:lnTo>
                      <a:pt x="62" y="70"/>
                    </a:lnTo>
                    <a:lnTo>
                      <a:pt x="65" y="69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70" y="63"/>
                    </a:lnTo>
                    <a:lnTo>
                      <a:pt x="72" y="60"/>
                    </a:lnTo>
                    <a:lnTo>
                      <a:pt x="72" y="58"/>
                    </a:lnTo>
                    <a:lnTo>
                      <a:pt x="72" y="54"/>
                    </a:lnTo>
                    <a:lnTo>
                      <a:pt x="70" y="51"/>
                    </a:lnTo>
                    <a:lnTo>
                      <a:pt x="69" y="49"/>
                    </a:lnTo>
                    <a:lnTo>
                      <a:pt x="67" y="46"/>
                    </a:lnTo>
                    <a:lnTo>
                      <a:pt x="2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6EDA77E7-52E0-43D9-939D-2714B69B4778}"/>
              </a:ext>
            </a:extLst>
          </p:cNvPr>
          <p:cNvGrpSpPr/>
          <p:nvPr/>
        </p:nvGrpSpPr>
        <p:grpSpPr>
          <a:xfrm>
            <a:off x="4343472" y="4906158"/>
            <a:ext cx="418315" cy="418315"/>
            <a:chOff x="4747002" y="3515391"/>
            <a:chExt cx="418315" cy="418315"/>
          </a:xfrm>
        </p:grpSpPr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2200388D-712C-4257-9CB4-BA73C19D4D9F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7B77BB41-80DF-4ED8-ABE3-ED3BF6938757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261" name="Freeform 63">
                <a:extLst>
                  <a:ext uri="{FF2B5EF4-FFF2-40B4-BE49-F238E27FC236}">
                    <a16:creationId xmlns:a16="http://schemas.microsoft.com/office/drawing/2014/main" id="{86ED3D13-A268-434E-9FB3-A26ED2421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64">
                <a:extLst>
                  <a:ext uri="{FF2B5EF4-FFF2-40B4-BE49-F238E27FC236}">
                    <a16:creationId xmlns:a16="http://schemas.microsoft.com/office/drawing/2014/main" id="{7AFB0A33-AF29-410A-8255-D50A0ED1D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65">
                <a:extLst>
                  <a:ext uri="{FF2B5EF4-FFF2-40B4-BE49-F238E27FC236}">
                    <a16:creationId xmlns:a16="http://schemas.microsoft.com/office/drawing/2014/main" id="{C0143994-C1B6-413E-9646-5A6AD3FA1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66">
                <a:extLst>
                  <a:ext uri="{FF2B5EF4-FFF2-40B4-BE49-F238E27FC236}">
                    <a16:creationId xmlns:a16="http://schemas.microsoft.com/office/drawing/2014/main" id="{C4A5306C-E960-4150-BED5-96D040A3A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67">
                <a:extLst>
                  <a:ext uri="{FF2B5EF4-FFF2-40B4-BE49-F238E27FC236}">
                    <a16:creationId xmlns:a16="http://schemas.microsoft.com/office/drawing/2014/main" id="{E960E449-ADA5-47FA-B0F2-D8F3DF862A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68">
                <a:extLst>
                  <a:ext uri="{FF2B5EF4-FFF2-40B4-BE49-F238E27FC236}">
                    <a16:creationId xmlns:a16="http://schemas.microsoft.com/office/drawing/2014/main" id="{2A462E26-B784-4AA4-8C95-F0D89402D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4A70010E-3F85-426F-BF78-DC555E80A862}"/>
              </a:ext>
            </a:extLst>
          </p:cNvPr>
          <p:cNvGrpSpPr/>
          <p:nvPr/>
        </p:nvGrpSpPr>
        <p:grpSpPr>
          <a:xfrm>
            <a:off x="3246130" y="2700788"/>
            <a:ext cx="418315" cy="418315"/>
            <a:chOff x="7762138" y="3202842"/>
            <a:chExt cx="418315" cy="418315"/>
          </a:xfrm>
        </p:grpSpPr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B1446F8D-BD4E-40D5-9E61-08CABDC98250}"/>
                </a:ext>
              </a:extLst>
            </p:cNvPr>
            <p:cNvSpPr/>
            <p:nvPr/>
          </p:nvSpPr>
          <p:spPr>
            <a:xfrm>
              <a:off x="7762138" y="3202842"/>
              <a:ext cx="418315" cy="418315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1B66A6C7-FC97-4C1C-B69B-021AF6D314D2}"/>
                </a:ext>
              </a:extLst>
            </p:cNvPr>
            <p:cNvGrpSpPr/>
            <p:nvPr/>
          </p:nvGrpSpPr>
          <p:grpSpPr>
            <a:xfrm>
              <a:off x="7891453" y="3323285"/>
              <a:ext cx="159685" cy="177428"/>
              <a:chOff x="4911725" y="769938"/>
              <a:chExt cx="257175" cy="285750"/>
            </a:xfrm>
            <a:solidFill>
              <a:schemeClr val="bg1"/>
            </a:solidFill>
          </p:grpSpPr>
          <p:sp>
            <p:nvSpPr>
              <p:cNvPr id="270" name="Freeform 69">
                <a:extLst>
                  <a:ext uri="{FF2B5EF4-FFF2-40B4-BE49-F238E27FC236}">
                    <a16:creationId xmlns:a16="http://schemas.microsoft.com/office/drawing/2014/main" id="{4CC7436B-1B2B-434F-858F-20206AA6DC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1725" y="769938"/>
                <a:ext cx="257175" cy="190500"/>
              </a:xfrm>
              <a:custGeom>
                <a:avLst/>
                <a:gdLst>
                  <a:gd name="T0" fmla="*/ 175 w 809"/>
                  <a:gd name="T1" fmla="*/ 565 h 598"/>
                  <a:gd name="T2" fmla="*/ 111 w 809"/>
                  <a:gd name="T3" fmla="*/ 537 h 598"/>
                  <a:gd name="T4" fmla="*/ 61 w 809"/>
                  <a:gd name="T5" fmla="*/ 488 h 598"/>
                  <a:gd name="T6" fmla="*/ 34 w 809"/>
                  <a:gd name="T7" fmla="*/ 423 h 598"/>
                  <a:gd name="T8" fmla="*/ 34 w 809"/>
                  <a:gd name="T9" fmla="*/ 356 h 598"/>
                  <a:gd name="T10" fmla="*/ 59 w 809"/>
                  <a:gd name="T11" fmla="*/ 295 h 598"/>
                  <a:gd name="T12" fmla="*/ 104 w 809"/>
                  <a:gd name="T13" fmla="*/ 247 h 598"/>
                  <a:gd name="T14" fmla="*/ 163 w 809"/>
                  <a:gd name="T15" fmla="*/ 216 h 598"/>
                  <a:gd name="T16" fmla="*/ 205 w 809"/>
                  <a:gd name="T17" fmla="*/ 205 h 598"/>
                  <a:gd name="T18" fmla="*/ 212 w 809"/>
                  <a:gd name="T19" fmla="*/ 177 h 598"/>
                  <a:gd name="T20" fmla="*/ 233 w 809"/>
                  <a:gd name="T21" fmla="*/ 127 h 598"/>
                  <a:gd name="T22" fmla="*/ 282 w 809"/>
                  <a:gd name="T23" fmla="*/ 74 h 598"/>
                  <a:gd name="T24" fmla="*/ 348 w 809"/>
                  <a:gd name="T25" fmla="*/ 41 h 598"/>
                  <a:gd name="T26" fmla="*/ 419 w 809"/>
                  <a:gd name="T27" fmla="*/ 29 h 598"/>
                  <a:gd name="T28" fmla="*/ 479 w 809"/>
                  <a:gd name="T29" fmla="*/ 41 h 598"/>
                  <a:gd name="T30" fmla="*/ 530 w 809"/>
                  <a:gd name="T31" fmla="*/ 73 h 598"/>
                  <a:gd name="T32" fmla="*/ 572 w 809"/>
                  <a:gd name="T33" fmla="*/ 118 h 598"/>
                  <a:gd name="T34" fmla="*/ 600 w 809"/>
                  <a:gd name="T35" fmla="*/ 170 h 598"/>
                  <a:gd name="T36" fmla="*/ 616 w 809"/>
                  <a:gd name="T37" fmla="*/ 179 h 598"/>
                  <a:gd name="T38" fmla="*/ 675 w 809"/>
                  <a:gd name="T39" fmla="*/ 186 h 598"/>
                  <a:gd name="T40" fmla="*/ 708 w 809"/>
                  <a:gd name="T41" fmla="*/ 208 h 598"/>
                  <a:gd name="T42" fmla="*/ 724 w 809"/>
                  <a:gd name="T43" fmla="*/ 235 h 598"/>
                  <a:gd name="T44" fmla="*/ 726 w 809"/>
                  <a:gd name="T45" fmla="*/ 272 h 598"/>
                  <a:gd name="T46" fmla="*/ 719 w 809"/>
                  <a:gd name="T47" fmla="*/ 303 h 598"/>
                  <a:gd name="T48" fmla="*/ 737 w 809"/>
                  <a:gd name="T49" fmla="*/ 322 h 598"/>
                  <a:gd name="T50" fmla="*/ 764 w 809"/>
                  <a:gd name="T51" fmla="*/ 361 h 598"/>
                  <a:gd name="T52" fmla="*/ 779 w 809"/>
                  <a:gd name="T53" fmla="*/ 433 h 598"/>
                  <a:gd name="T54" fmla="*/ 768 w 809"/>
                  <a:gd name="T55" fmla="*/ 485 h 598"/>
                  <a:gd name="T56" fmla="*/ 738 w 809"/>
                  <a:gd name="T57" fmla="*/ 528 h 598"/>
                  <a:gd name="T58" fmla="*/ 695 w 809"/>
                  <a:gd name="T59" fmla="*/ 557 h 598"/>
                  <a:gd name="T60" fmla="*/ 643 w 809"/>
                  <a:gd name="T61" fmla="*/ 568 h 598"/>
                  <a:gd name="T62" fmla="*/ 757 w 809"/>
                  <a:gd name="T63" fmla="*/ 257 h 598"/>
                  <a:gd name="T64" fmla="*/ 748 w 809"/>
                  <a:gd name="T65" fmla="*/ 211 h 598"/>
                  <a:gd name="T66" fmla="*/ 726 w 809"/>
                  <a:gd name="T67" fmla="*/ 183 h 598"/>
                  <a:gd name="T68" fmla="*/ 699 w 809"/>
                  <a:gd name="T69" fmla="*/ 164 h 598"/>
                  <a:gd name="T70" fmla="*/ 642 w 809"/>
                  <a:gd name="T71" fmla="*/ 149 h 598"/>
                  <a:gd name="T72" fmla="*/ 601 w 809"/>
                  <a:gd name="T73" fmla="*/ 108 h 598"/>
                  <a:gd name="T74" fmla="*/ 558 w 809"/>
                  <a:gd name="T75" fmla="*/ 57 h 598"/>
                  <a:gd name="T76" fmla="*/ 502 w 809"/>
                  <a:gd name="T77" fmla="*/ 20 h 598"/>
                  <a:gd name="T78" fmla="*/ 437 w 809"/>
                  <a:gd name="T79" fmla="*/ 1 h 598"/>
                  <a:gd name="T80" fmla="*/ 348 w 809"/>
                  <a:gd name="T81" fmla="*/ 8 h 598"/>
                  <a:gd name="T82" fmla="*/ 271 w 809"/>
                  <a:gd name="T83" fmla="*/ 44 h 598"/>
                  <a:gd name="T84" fmla="*/ 216 w 809"/>
                  <a:gd name="T85" fmla="*/ 99 h 598"/>
                  <a:gd name="T86" fmla="*/ 184 w 809"/>
                  <a:gd name="T87" fmla="*/ 163 h 598"/>
                  <a:gd name="T88" fmla="*/ 128 w 809"/>
                  <a:gd name="T89" fmla="*/ 198 h 598"/>
                  <a:gd name="T90" fmla="*/ 66 w 809"/>
                  <a:gd name="T91" fmla="*/ 240 h 598"/>
                  <a:gd name="T92" fmla="*/ 22 w 809"/>
                  <a:gd name="T93" fmla="*/ 300 h 598"/>
                  <a:gd name="T94" fmla="*/ 1 w 809"/>
                  <a:gd name="T95" fmla="*/ 370 h 598"/>
                  <a:gd name="T96" fmla="*/ 2 w 809"/>
                  <a:gd name="T97" fmla="*/ 419 h 598"/>
                  <a:gd name="T98" fmla="*/ 26 w 809"/>
                  <a:gd name="T99" fmla="*/ 487 h 598"/>
                  <a:gd name="T100" fmla="*/ 77 w 809"/>
                  <a:gd name="T101" fmla="*/ 549 h 598"/>
                  <a:gd name="T102" fmla="*/ 149 w 809"/>
                  <a:gd name="T103" fmla="*/ 588 h 598"/>
                  <a:gd name="T104" fmla="*/ 199 w 809"/>
                  <a:gd name="T105" fmla="*/ 598 h 598"/>
                  <a:gd name="T106" fmla="*/ 676 w 809"/>
                  <a:gd name="T107" fmla="*/ 595 h 598"/>
                  <a:gd name="T108" fmla="*/ 735 w 809"/>
                  <a:gd name="T109" fmla="*/ 570 h 598"/>
                  <a:gd name="T110" fmla="*/ 780 w 809"/>
                  <a:gd name="T111" fmla="*/ 525 h 598"/>
                  <a:gd name="T112" fmla="*/ 804 w 809"/>
                  <a:gd name="T113" fmla="*/ 466 h 598"/>
                  <a:gd name="T114" fmla="*/ 805 w 809"/>
                  <a:gd name="T115" fmla="*/ 398 h 598"/>
                  <a:gd name="T116" fmla="*/ 787 w 809"/>
                  <a:gd name="T117" fmla="*/ 342 h 598"/>
                  <a:gd name="T118" fmla="*/ 766 w 809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9" h="598">
                    <a:moveTo>
                      <a:pt x="643" y="568"/>
                    </a:moveTo>
                    <a:lnTo>
                      <a:pt x="209" y="568"/>
                    </a:lnTo>
                    <a:lnTo>
                      <a:pt x="192" y="567"/>
                    </a:lnTo>
                    <a:lnTo>
                      <a:pt x="175" y="565"/>
                    </a:lnTo>
                    <a:lnTo>
                      <a:pt x="158" y="559"/>
                    </a:lnTo>
                    <a:lnTo>
                      <a:pt x="141" y="554"/>
                    </a:lnTo>
                    <a:lnTo>
                      <a:pt x="126" y="545"/>
                    </a:lnTo>
                    <a:lnTo>
                      <a:pt x="111" y="537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3" y="473"/>
                    </a:lnTo>
                    <a:lnTo>
                      <a:pt x="44" y="457"/>
                    </a:lnTo>
                    <a:lnTo>
                      <a:pt x="38" y="441"/>
                    </a:lnTo>
                    <a:lnTo>
                      <a:pt x="34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0" y="372"/>
                    </a:lnTo>
                    <a:lnTo>
                      <a:pt x="34" y="356"/>
                    </a:lnTo>
                    <a:lnTo>
                      <a:pt x="38" y="340"/>
                    </a:lnTo>
                    <a:lnTo>
                      <a:pt x="43" y="325"/>
                    </a:lnTo>
                    <a:lnTo>
                      <a:pt x="51" y="310"/>
                    </a:lnTo>
                    <a:lnTo>
                      <a:pt x="59" y="295"/>
                    </a:lnTo>
                    <a:lnTo>
                      <a:pt x="69" y="282"/>
                    </a:lnTo>
                    <a:lnTo>
                      <a:pt x="80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7" y="237"/>
                    </a:lnTo>
                    <a:lnTo>
                      <a:pt x="132" y="229"/>
                    </a:lnTo>
                    <a:lnTo>
                      <a:pt x="147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0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3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8" y="85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4" y="55"/>
                    </a:lnTo>
                    <a:lnTo>
                      <a:pt x="330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4" y="33"/>
                    </a:lnTo>
                    <a:lnTo>
                      <a:pt x="402" y="31"/>
                    </a:lnTo>
                    <a:lnTo>
                      <a:pt x="419" y="29"/>
                    </a:lnTo>
                    <a:lnTo>
                      <a:pt x="435" y="31"/>
                    </a:lnTo>
                    <a:lnTo>
                      <a:pt x="450" y="33"/>
                    </a:lnTo>
                    <a:lnTo>
                      <a:pt x="464" y="36"/>
                    </a:lnTo>
                    <a:lnTo>
                      <a:pt x="479" y="41"/>
                    </a:lnTo>
                    <a:lnTo>
                      <a:pt x="493" y="48"/>
                    </a:lnTo>
                    <a:lnTo>
                      <a:pt x="506" y="55"/>
                    </a:lnTo>
                    <a:lnTo>
                      <a:pt x="519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3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1" y="131"/>
                    </a:lnTo>
                    <a:lnTo>
                      <a:pt x="587" y="144"/>
                    </a:lnTo>
                    <a:lnTo>
                      <a:pt x="595" y="157"/>
                    </a:lnTo>
                    <a:lnTo>
                      <a:pt x="600" y="170"/>
                    </a:lnTo>
                    <a:lnTo>
                      <a:pt x="602" y="174"/>
                    </a:lnTo>
                    <a:lnTo>
                      <a:pt x="606" y="177"/>
                    </a:lnTo>
                    <a:lnTo>
                      <a:pt x="611" y="179"/>
                    </a:lnTo>
                    <a:lnTo>
                      <a:pt x="616" y="179"/>
                    </a:lnTo>
                    <a:lnTo>
                      <a:pt x="631" y="178"/>
                    </a:lnTo>
                    <a:lnTo>
                      <a:pt x="646" y="179"/>
                    </a:lnTo>
                    <a:lnTo>
                      <a:pt x="661" y="181"/>
                    </a:lnTo>
                    <a:lnTo>
                      <a:pt x="675" y="186"/>
                    </a:lnTo>
                    <a:lnTo>
                      <a:pt x="688" y="192"/>
                    </a:lnTo>
                    <a:lnTo>
                      <a:pt x="698" y="200"/>
                    </a:lnTo>
                    <a:lnTo>
                      <a:pt x="704" y="203"/>
                    </a:lnTo>
                    <a:lnTo>
                      <a:pt x="708" y="208"/>
                    </a:lnTo>
                    <a:lnTo>
                      <a:pt x="712" y="213"/>
                    </a:lnTo>
                    <a:lnTo>
                      <a:pt x="717" y="218"/>
                    </a:lnTo>
                    <a:lnTo>
                      <a:pt x="721" y="226"/>
                    </a:lnTo>
                    <a:lnTo>
                      <a:pt x="724" y="235"/>
                    </a:lnTo>
                    <a:lnTo>
                      <a:pt x="726" y="244"/>
                    </a:lnTo>
                    <a:lnTo>
                      <a:pt x="727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3" y="282"/>
                    </a:lnTo>
                    <a:lnTo>
                      <a:pt x="720" y="293"/>
                    </a:lnTo>
                    <a:lnTo>
                      <a:pt x="719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7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4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8" y="414"/>
                    </a:lnTo>
                    <a:lnTo>
                      <a:pt x="779" y="433"/>
                    </a:lnTo>
                    <a:lnTo>
                      <a:pt x="778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8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8" y="520"/>
                    </a:lnTo>
                    <a:lnTo>
                      <a:pt x="738" y="528"/>
                    </a:lnTo>
                    <a:lnTo>
                      <a:pt x="728" y="538"/>
                    </a:lnTo>
                    <a:lnTo>
                      <a:pt x="719" y="545"/>
                    </a:lnTo>
                    <a:lnTo>
                      <a:pt x="707" y="552"/>
                    </a:lnTo>
                    <a:lnTo>
                      <a:pt x="695" y="557"/>
                    </a:lnTo>
                    <a:lnTo>
                      <a:pt x="682" y="563"/>
                    </a:lnTo>
                    <a:lnTo>
                      <a:pt x="669" y="566"/>
                    </a:lnTo>
                    <a:lnTo>
                      <a:pt x="657" y="568"/>
                    </a:lnTo>
                    <a:lnTo>
                      <a:pt x="643" y="568"/>
                    </a:lnTo>
                    <a:close/>
                    <a:moveTo>
                      <a:pt x="752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7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2" y="222"/>
                    </a:lnTo>
                    <a:lnTo>
                      <a:pt x="748" y="211"/>
                    </a:lnTo>
                    <a:lnTo>
                      <a:pt x="741" y="202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6" y="183"/>
                    </a:lnTo>
                    <a:lnTo>
                      <a:pt x="720" y="177"/>
                    </a:lnTo>
                    <a:lnTo>
                      <a:pt x="713" y="173"/>
                    </a:lnTo>
                    <a:lnTo>
                      <a:pt x="707" y="169"/>
                    </a:lnTo>
                    <a:lnTo>
                      <a:pt x="699" y="164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0"/>
                    </a:lnTo>
                    <a:lnTo>
                      <a:pt x="642" y="149"/>
                    </a:lnTo>
                    <a:lnTo>
                      <a:pt x="623" y="149"/>
                    </a:lnTo>
                    <a:lnTo>
                      <a:pt x="617" y="135"/>
                    </a:lnTo>
                    <a:lnTo>
                      <a:pt x="610" y="122"/>
                    </a:lnTo>
                    <a:lnTo>
                      <a:pt x="601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70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1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9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8" y="8"/>
                    </a:lnTo>
                    <a:lnTo>
                      <a:pt x="328" y="16"/>
                    </a:lnTo>
                    <a:lnTo>
                      <a:pt x="308" y="23"/>
                    </a:lnTo>
                    <a:lnTo>
                      <a:pt x="288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6" y="99"/>
                    </a:lnTo>
                    <a:lnTo>
                      <a:pt x="206" y="114"/>
                    </a:lnTo>
                    <a:lnTo>
                      <a:pt x="197" y="130"/>
                    </a:lnTo>
                    <a:lnTo>
                      <a:pt x="190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5" y="190"/>
                    </a:lnTo>
                    <a:lnTo>
                      <a:pt x="128" y="198"/>
                    </a:lnTo>
                    <a:lnTo>
                      <a:pt x="111" y="206"/>
                    </a:lnTo>
                    <a:lnTo>
                      <a:pt x="95" y="216"/>
                    </a:lnTo>
                    <a:lnTo>
                      <a:pt x="81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1" y="268"/>
                    </a:lnTo>
                    <a:lnTo>
                      <a:pt x="31" y="283"/>
                    </a:lnTo>
                    <a:lnTo>
                      <a:pt x="22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4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5" y="430"/>
                    </a:lnTo>
                    <a:lnTo>
                      <a:pt x="10" y="449"/>
                    </a:lnTo>
                    <a:lnTo>
                      <a:pt x="17" y="468"/>
                    </a:lnTo>
                    <a:lnTo>
                      <a:pt x="26" y="487"/>
                    </a:lnTo>
                    <a:lnTo>
                      <a:pt x="37" y="504"/>
                    </a:lnTo>
                    <a:lnTo>
                      <a:pt x="50" y="521"/>
                    </a:lnTo>
                    <a:lnTo>
                      <a:pt x="62" y="536"/>
                    </a:lnTo>
                    <a:lnTo>
                      <a:pt x="77" y="549"/>
                    </a:lnTo>
                    <a:lnTo>
                      <a:pt x="95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8" y="596"/>
                    </a:lnTo>
                    <a:lnTo>
                      <a:pt x="189" y="597"/>
                    </a:lnTo>
                    <a:lnTo>
                      <a:pt x="199" y="598"/>
                    </a:lnTo>
                    <a:lnTo>
                      <a:pt x="209" y="598"/>
                    </a:lnTo>
                    <a:lnTo>
                      <a:pt x="643" y="598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0"/>
                    </a:lnTo>
                    <a:lnTo>
                      <a:pt x="707" y="585"/>
                    </a:lnTo>
                    <a:lnTo>
                      <a:pt x="721" y="579"/>
                    </a:lnTo>
                    <a:lnTo>
                      <a:pt x="735" y="570"/>
                    </a:lnTo>
                    <a:lnTo>
                      <a:pt x="748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80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4" y="466"/>
                    </a:lnTo>
                    <a:lnTo>
                      <a:pt x="808" y="450"/>
                    </a:lnTo>
                    <a:lnTo>
                      <a:pt x="809" y="433"/>
                    </a:lnTo>
                    <a:lnTo>
                      <a:pt x="808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7" y="342"/>
                    </a:lnTo>
                    <a:lnTo>
                      <a:pt x="783" y="332"/>
                    </a:lnTo>
                    <a:lnTo>
                      <a:pt x="778" y="324"/>
                    </a:lnTo>
                    <a:lnTo>
                      <a:pt x="772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2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70">
                <a:extLst>
                  <a:ext uri="{FF2B5EF4-FFF2-40B4-BE49-F238E27FC236}">
                    <a16:creationId xmlns:a16="http://schemas.microsoft.com/office/drawing/2014/main" id="{A698DFA9-DB82-42FD-B2C0-19534CA23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71">
                <a:extLst>
                  <a:ext uri="{FF2B5EF4-FFF2-40B4-BE49-F238E27FC236}">
                    <a16:creationId xmlns:a16="http://schemas.microsoft.com/office/drawing/2014/main" id="{3A787355-72E3-4D40-BA01-3B45B4870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72">
                <a:extLst>
                  <a:ext uri="{FF2B5EF4-FFF2-40B4-BE49-F238E27FC236}">
                    <a16:creationId xmlns:a16="http://schemas.microsoft.com/office/drawing/2014/main" id="{15F74B07-8293-4AE4-987C-D8E4C4428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73">
                <a:extLst>
                  <a:ext uri="{FF2B5EF4-FFF2-40B4-BE49-F238E27FC236}">
                    <a16:creationId xmlns:a16="http://schemas.microsoft.com/office/drawing/2014/main" id="{2AF4A40D-1D5F-4337-8D27-DA77FA419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74">
                <a:extLst>
                  <a:ext uri="{FF2B5EF4-FFF2-40B4-BE49-F238E27FC236}">
                    <a16:creationId xmlns:a16="http://schemas.microsoft.com/office/drawing/2014/main" id="{7E3629EA-6811-4277-9E6A-3AC91C42DE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75">
                <a:extLst>
                  <a:ext uri="{FF2B5EF4-FFF2-40B4-BE49-F238E27FC236}">
                    <a16:creationId xmlns:a16="http://schemas.microsoft.com/office/drawing/2014/main" id="{29C36567-E1AF-428A-8C11-DC3BF5217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76">
                <a:extLst>
                  <a:ext uri="{FF2B5EF4-FFF2-40B4-BE49-F238E27FC236}">
                    <a16:creationId xmlns:a16="http://schemas.microsoft.com/office/drawing/2014/main" id="{ED5778F4-A8ED-4334-A563-369DEACF3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77">
                <a:extLst>
                  <a:ext uri="{FF2B5EF4-FFF2-40B4-BE49-F238E27FC236}">
                    <a16:creationId xmlns:a16="http://schemas.microsoft.com/office/drawing/2014/main" id="{D93965E5-CF79-4CD1-B3CE-C54EB66A7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7 w 30"/>
                  <a:gd name="T35" fmla="*/ 30 h 30"/>
                  <a:gd name="T36" fmla="*/ 20 w 30"/>
                  <a:gd name="T37" fmla="*/ 29 h 30"/>
                  <a:gd name="T38" fmla="*/ 22 w 30"/>
                  <a:gd name="T39" fmla="*/ 28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3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20" y="29"/>
                    </a:lnTo>
                    <a:lnTo>
                      <a:pt x="22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78">
                <a:extLst>
                  <a:ext uri="{FF2B5EF4-FFF2-40B4-BE49-F238E27FC236}">
                    <a16:creationId xmlns:a16="http://schemas.microsoft.com/office/drawing/2014/main" id="{70ED5F1D-7E51-4676-8E49-290A18898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79">
                <a:extLst>
                  <a:ext uri="{FF2B5EF4-FFF2-40B4-BE49-F238E27FC236}">
                    <a16:creationId xmlns:a16="http://schemas.microsoft.com/office/drawing/2014/main" id="{44B72B46-D92F-493C-A4EA-0B89D6A2E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80">
                <a:extLst>
                  <a:ext uri="{FF2B5EF4-FFF2-40B4-BE49-F238E27FC236}">
                    <a16:creationId xmlns:a16="http://schemas.microsoft.com/office/drawing/2014/main" id="{E89178DB-D107-4959-99B6-42D362FBA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81">
                <a:extLst>
                  <a:ext uri="{FF2B5EF4-FFF2-40B4-BE49-F238E27FC236}">
                    <a16:creationId xmlns:a16="http://schemas.microsoft.com/office/drawing/2014/main" id="{FB3A95D0-3194-498C-9E22-DC39B57FC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7 w 30"/>
                  <a:gd name="T35" fmla="*/ 28 h 30"/>
                  <a:gd name="T36" fmla="*/ 20 w 30"/>
                  <a:gd name="T37" fmla="*/ 28 h 30"/>
                  <a:gd name="T38" fmla="*/ 22 w 30"/>
                  <a:gd name="T39" fmla="*/ 27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2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82">
                <a:extLst>
                  <a:ext uri="{FF2B5EF4-FFF2-40B4-BE49-F238E27FC236}">
                    <a16:creationId xmlns:a16="http://schemas.microsoft.com/office/drawing/2014/main" id="{B7C3BA15-9785-4855-9B35-E6348A77D5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83">
                <a:extLst>
                  <a:ext uri="{FF2B5EF4-FFF2-40B4-BE49-F238E27FC236}">
                    <a16:creationId xmlns:a16="http://schemas.microsoft.com/office/drawing/2014/main" id="{86718310-41A9-4B9A-9497-63C5A8F3DF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1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1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04A7B1D7-4294-4BEE-87C1-1D903C02426E}"/>
              </a:ext>
            </a:extLst>
          </p:cNvPr>
          <p:cNvGrpSpPr/>
          <p:nvPr/>
        </p:nvGrpSpPr>
        <p:grpSpPr>
          <a:xfrm>
            <a:off x="3065548" y="694423"/>
            <a:ext cx="418315" cy="418315"/>
            <a:chOff x="7762138" y="3202842"/>
            <a:chExt cx="418315" cy="418315"/>
          </a:xfrm>
        </p:grpSpPr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F47F78A1-2022-4E0E-8736-253AE2CAC606}"/>
                </a:ext>
              </a:extLst>
            </p:cNvPr>
            <p:cNvSpPr/>
            <p:nvPr/>
          </p:nvSpPr>
          <p:spPr>
            <a:xfrm>
              <a:off x="7762138" y="3202842"/>
              <a:ext cx="418315" cy="418315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7" name="Group 286">
              <a:extLst>
                <a:ext uri="{FF2B5EF4-FFF2-40B4-BE49-F238E27FC236}">
                  <a16:creationId xmlns:a16="http://schemas.microsoft.com/office/drawing/2014/main" id="{A38C4653-0410-4A91-B24F-49C29AFBF6A5}"/>
                </a:ext>
              </a:extLst>
            </p:cNvPr>
            <p:cNvGrpSpPr/>
            <p:nvPr/>
          </p:nvGrpSpPr>
          <p:grpSpPr>
            <a:xfrm>
              <a:off x="7891453" y="3323285"/>
              <a:ext cx="159685" cy="177428"/>
              <a:chOff x="4911725" y="769938"/>
              <a:chExt cx="257175" cy="285750"/>
            </a:xfrm>
            <a:solidFill>
              <a:schemeClr val="bg1"/>
            </a:solidFill>
          </p:grpSpPr>
          <p:sp>
            <p:nvSpPr>
              <p:cNvPr id="288" name="Freeform 69">
                <a:extLst>
                  <a:ext uri="{FF2B5EF4-FFF2-40B4-BE49-F238E27FC236}">
                    <a16:creationId xmlns:a16="http://schemas.microsoft.com/office/drawing/2014/main" id="{83E8D882-2478-43E4-9DFD-03ABD334B0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1725" y="769938"/>
                <a:ext cx="257175" cy="190500"/>
              </a:xfrm>
              <a:custGeom>
                <a:avLst/>
                <a:gdLst>
                  <a:gd name="T0" fmla="*/ 175 w 809"/>
                  <a:gd name="T1" fmla="*/ 565 h 598"/>
                  <a:gd name="T2" fmla="*/ 111 w 809"/>
                  <a:gd name="T3" fmla="*/ 537 h 598"/>
                  <a:gd name="T4" fmla="*/ 61 w 809"/>
                  <a:gd name="T5" fmla="*/ 488 h 598"/>
                  <a:gd name="T6" fmla="*/ 34 w 809"/>
                  <a:gd name="T7" fmla="*/ 423 h 598"/>
                  <a:gd name="T8" fmla="*/ 34 w 809"/>
                  <a:gd name="T9" fmla="*/ 356 h 598"/>
                  <a:gd name="T10" fmla="*/ 59 w 809"/>
                  <a:gd name="T11" fmla="*/ 295 h 598"/>
                  <a:gd name="T12" fmla="*/ 104 w 809"/>
                  <a:gd name="T13" fmla="*/ 247 h 598"/>
                  <a:gd name="T14" fmla="*/ 163 w 809"/>
                  <a:gd name="T15" fmla="*/ 216 h 598"/>
                  <a:gd name="T16" fmla="*/ 205 w 809"/>
                  <a:gd name="T17" fmla="*/ 205 h 598"/>
                  <a:gd name="T18" fmla="*/ 212 w 809"/>
                  <a:gd name="T19" fmla="*/ 177 h 598"/>
                  <a:gd name="T20" fmla="*/ 233 w 809"/>
                  <a:gd name="T21" fmla="*/ 127 h 598"/>
                  <a:gd name="T22" fmla="*/ 282 w 809"/>
                  <a:gd name="T23" fmla="*/ 74 h 598"/>
                  <a:gd name="T24" fmla="*/ 348 w 809"/>
                  <a:gd name="T25" fmla="*/ 41 h 598"/>
                  <a:gd name="T26" fmla="*/ 419 w 809"/>
                  <a:gd name="T27" fmla="*/ 29 h 598"/>
                  <a:gd name="T28" fmla="*/ 479 w 809"/>
                  <a:gd name="T29" fmla="*/ 41 h 598"/>
                  <a:gd name="T30" fmla="*/ 530 w 809"/>
                  <a:gd name="T31" fmla="*/ 73 h 598"/>
                  <a:gd name="T32" fmla="*/ 572 w 809"/>
                  <a:gd name="T33" fmla="*/ 118 h 598"/>
                  <a:gd name="T34" fmla="*/ 600 w 809"/>
                  <a:gd name="T35" fmla="*/ 170 h 598"/>
                  <a:gd name="T36" fmla="*/ 616 w 809"/>
                  <a:gd name="T37" fmla="*/ 179 h 598"/>
                  <a:gd name="T38" fmla="*/ 675 w 809"/>
                  <a:gd name="T39" fmla="*/ 186 h 598"/>
                  <a:gd name="T40" fmla="*/ 708 w 809"/>
                  <a:gd name="T41" fmla="*/ 208 h 598"/>
                  <a:gd name="T42" fmla="*/ 724 w 809"/>
                  <a:gd name="T43" fmla="*/ 235 h 598"/>
                  <a:gd name="T44" fmla="*/ 726 w 809"/>
                  <a:gd name="T45" fmla="*/ 272 h 598"/>
                  <a:gd name="T46" fmla="*/ 719 w 809"/>
                  <a:gd name="T47" fmla="*/ 303 h 598"/>
                  <a:gd name="T48" fmla="*/ 737 w 809"/>
                  <a:gd name="T49" fmla="*/ 322 h 598"/>
                  <a:gd name="T50" fmla="*/ 764 w 809"/>
                  <a:gd name="T51" fmla="*/ 361 h 598"/>
                  <a:gd name="T52" fmla="*/ 779 w 809"/>
                  <a:gd name="T53" fmla="*/ 433 h 598"/>
                  <a:gd name="T54" fmla="*/ 768 w 809"/>
                  <a:gd name="T55" fmla="*/ 485 h 598"/>
                  <a:gd name="T56" fmla="*/ 738 w 809"/>
                  <a:gd name="T57" fmla="*/ 528 h 598"/>
                  <a:gd name="T58" fmla="*/ 695 w 809"/>
                  <a:gd name="T59" fmla="*/ 557 h 598"/>
                  <a:gd name="T60" fmla="*/ 643 w 809"/>
                  <a:gd name="T61" fmla="*/ 568 h 598"/>
                  <a:gd name="T62" fmla="*/ 757 w 809"/>
                  <a:gd name="T63" fmla="*/ 257 h 598"/>
                  <a:gd name="T64" fmla="*/ 748 w 809"/>
                  <a:gd name="T65" fmla="*/ 211 h 598"/>
                  <a:gd name="T66" fmla="*/ 726 w 809"/>
                  <a:gd name="T67" fmla="*/ 183 h 598"/>
                  <a:gd name="T68" fmla="*/ 699 w 809"/>
                  <a:gd name="T69" fmla="*/ 164 h 598"/>
                  <a:gd name="T70" fmla="*/ 642 w 809"/>
                  <a:gd name="T71" fmla="*/ 149 h 598"/>
                  <a:gd name="T72" fmla="*/ 601 w 809"/>
                  <a:gd name="T73" fmla="*/ 108 h 598"/>
                  <a:gd name="T74" fmla="*/ 558 w 809"/>
                  <a:gd name="T75" fmla="*/ 57 h 598"/>
                  <a:gd name="T76" fmla="*/ 502 w 809"/>
                  <a:gd name="T77" fmla="*/ 20 h 598"/>
                  <a:gd name="T78" fmla="*/ 437 w 809"/>
                  <a:gd name="T79" fmla="*/ 1 h 598"/>
                  <a:gd name="T80" fmla="*/ 348 w 809"/>
                  <a:gd name="T81" fmla="*/ 8 h 598"/>
                  <a:gd name="T82" fmla="*/ 271 w 809"/>
                  <a:gd name="T83" fmla="*/ 44 h 598"/>
                  <a:gd name="T84" fmla="*/ 216 w 809"/>
                  <a:gd name="T85" fmla="*/ 99 h 598"/>
                  <a:gd name="T86" fmla="*/ 184 w 809"/>
                  <a:gd name="T87" fmla="*/ 163 h 598"/>
                  <a:gd name="T88" fmla="*/ 128 w 809"/>
                  <a:gd name="T89" fmla="*/ 198 h 598"/>
                  <a:gd name="T90" fmla="*/ 66 w 809"/>
                  <a:gd name="T91" fmla="*/ 240 h 598"/>
                  <a:gd name="T92" fmla="*/ 22 w 809"/>
                  <a:gd name="T93" fmla="*/ 300 h 598"/>
                  <a:gd name="T94" fmla="*/ 1 w 809"/>
                  <a:gd name="T95" fmla="*/ 370 h 598"/>
                  <a:gd name="T96" fmla="*/ 2 w 809"/>
                  <a:gd name="T97" fmla="*/ 419 h 598"/>
                  <a:gd name="T98" fmla="*/ 26 w 809"/>
                  <a:gd name="T99" fmla="*/ 487 h 598"/>
                  <a:gd name="T100" fmla="*/ 77 w 809"/>
                  <a:gd name="T101" fmla="*/ 549 h 598"/>
                  <a:gd name="T102" fmla="*/ 149 w 809"/>
                  <a:gd name="T103" fmla="*/ 588 h 598"/>
                  <a:gd name="T104" fmla="*/ 199 w 809"/>
                  <a:gd name="T105" fmla="*/ 598 h 598"/>
                  <a:gd name="T106" fmla="*/ 676 w 809"/>
                  <a:gd name="T107" fmla="*/ 595 h 598"/>
                  <a:gd name="T108" fmla="*/ 735 w 809"/>
                  <a:gd name="T109" fmla="*/ 570 h 598"/>
                  <a:gd name="T110" fmla="*/ 780 w 809"/>
                  <a:gd name="T111" fmla="*/ 525 h 598"/>
                  <a:gd name="T112" fmla="*/ 804 w 809"/>
                  <a:gd name="T113" fmla="*/ 466 h 598"/>
                  <a:gd name="T114" fmla="*/ 805 w 809"/>
                  <a:gd name="T115" fmla="*/ 398 h 598"/>
                  <a:gd name="T116" fmla="*/ 787 w 809"/>
                  <a:gd name="T117" fmla="*/ 342 h 598"/>
                  <a:gd name="T118" fmla="*/ 766 w 809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9" h="598">
                    <a:moveTo>
                      <a:pt x="643" y="568"/>
                    </a:moveTo>
                    <a:lnTo>
                      <a:pt x="209" y="568"/>
                    </a:lnTo>
                    <a:lnTo>
                      <a:pt x="192" y="567"/>
                    </a:lnTo>
                    <a:lnTo>
                      <a:pt x="175" y="565"/>
                    </a:lnTo>
                    <a:lnTo>
                      <a:pt x="158" y="559"/>
                    </a:lnTo>
                    <a:lnTo>
                      <a:pt x="141" y="554"/>
                    </a:lnTo>
                    <a:lnTo>
                      <a:pt x="126" y="545"/>
                    </a:lnTo>
                    <a:lnTo>
                      <a:pt x="111" y="537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3" y="473"/>
                    </a:lnTo>
                    <a:lnTo>
                      <a:pt x="44" y="457"/>
                    </a:lnTo>
                    <a:lnTo>
                      <a:pt x="38" y="441"/>
                    </a:lnTo>
                    <a:lnTo>
                      <a:pt x="34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0" y="372"/>
                    </a:lnTo>
                    <a:lnTo>
                      <a:pt x="34" y="356"/>
                    </a:lnTo>
                    <a:lnTo>
                      <a:pt x="38" y="340"/>
                    </a:lnTo>
                    <a:lnTo>
                      <a:pt x="43" y="325"/>
                    </a:lnTo>
                    <a:lnTo>
                      <a:pt x="51" y="310"/>
                    </a:lnTo>
                    <a:lnTo>
                      <a:pt x="59" y="295"/>
                    </a:lnTo>
                    <a:lnTo>
                      <a:pt x="69" y="282"/>
                    </a:lnTo>
                    <a:lnTo>
                      <a:pt x="80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7" y="237"/>
                    </a:lnTo>
                    <a:lnTo>
                      <a:pt x="132" y="229"/>
                    </a:lnTo>
                    <a:lnTo>
                      <a:pt x="147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0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3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8" y="85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4" y="55"/>
                    </a:lnTo>
                    <a:lnTo>
                      <a:pt x="330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4" y="33"/>
                    </a:lnTo>
                    <a:lnTo>
                      <a:pt x="402" y="31"/>
                    </a:lnTo>
                    <a:lnTo>
                      <a:pt x="419" y="29"/>
                    </a:lnTo>
                    <a:lnTo>
                      <a:pt x="435" y="31"/>
                    </a:lnTo>
                    <a:lnTo>
                      <a:pt x="450" y="33"/>
                    </a:lnTo>
                    <a:lnTo>
                      <a:pt x="464" y="36"/>
                    </a:lnTo>
                    <a:lnTo>
                      <a:pt x="479" y="41"/>
                    </a:lnTo>
                    <a:lnTo>
                      <a:pt x="493" y="48"/>
                    </a:lnTo>
                    <a:lnTo>
                      <a:pt x="506" y="55"/>
                    </a:lnTo>
                    <a:lnTo>
                      <a:pt x="519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3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1" y="131"/>
                    </a:lnTo>
                    <a:lnTo>
                      <a:pt x="587" y="144"/>
                    </a:lnTo>
                    <a:lnTo>
                      <a:pt x="595" y="157"/>
                    </a:lnTo>
                    <a:lnTo>
                      <a:pt x="600" y="170"/>
                    </a:lnTo>
                    <a:lnTo>
                      <a:pt x="602" y="174"/>
                    </a:lnTo>
                    <a:lnTo>
                      <a:pt x="606" y="177"/>
                    </a:lnTo>
                    <a:lnTo>
                      <a:pt x="611" y="179"/>
                    </a:lnTo>
                    <a:lnTo>
                      <a:pt x="616" y="179"/>
                    </a:lnTo>
                    <a:lnTo>
                      <a:pt x="631" y="178"/>
                    </a:lnTo>
                    <a:lnTo>
                      <a:pt x="646" y="179"/>
                    </a:lnTo>
                    <a:lnTo>
                      <a:pt x="661" y="181"/>
                    </a:lnTo>
                    <a:lnTo>
                      <a:pt x="675" y="186"/>
                    </a:lnTo>
                    <a:lnTo>
                      <a:pt x="688" y="192"/>
                    </a:lnTo>
                    <a:lnTo>
                      <a:pt x="698" y="200"/>
                    </a:lnTo>
                    <a:lnTo>
                      <a:pt x="704" y="203"/>
                    </a:lnTo>
                    <a:lnTo>
                      <a:pt x="708" y="208"/>
                    </a:lnTo>
                    <a:lnTo>
                      <a:pt x="712" y="213"/>
                    </a:lnTo>
                    <a:lnTo>
                      <a:pt x="717" y="218"/>
                    </a:lnTo>
                    <a:lnTo>
                      <a:pt x="721" y="226"/>
                    </a:lnTo>
                    <a:lnTo>
                      <a:pt x="724" y="235"/>
                    </a:lnTo>
                    <a:lnTo>
                      <a:pt x="726" y="244"/>
                    </a:lnTo>
                    <a:lnTo>
                      <a:pt x="727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3" y="282"/>
                    </a:lnTo>
                    <a:lnTo>
                      <a:pt x="720" y="293"/>
                    </a:lnTo>
                    <a:lnTo>
                      <a:pt x="719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7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4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8" y="414"/>
                    </a:lnTo>
                    <a:lnTo>
                      <a:pt x="779" y="433"/>
                    </a:lnTo>
                    <a:lnTo>
                      <a:pt x="778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8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8" y="520"/>
                    </a:lnTo>
                    <a:lnTo>
                      <a:pt x="738" y="528"/>
                    </a:lnTo>
                    <a:lnTo>
                      <a:pt x="728" y="538"/>
                    </a:lnTo>
                    <a:lnTo>
                      <a:pt x="719" y="545"/>
                    </a:lnTo>
                    <a:lnTo>
                      <a:pt x="707" y="552"/>
                    </a:lnTo>
                    <a:lnTo>
                      <a:pt x="695" y="557"/>
                    </a:lnTo>
                    <a:lnTo>
                      <a:pt x="682" y="563"/>
                    </a:lnTo>
                    <a:lnTo>
                      <a:pt x="669" y="566"/>
                    </a:lnTo>
                    <a:lnTo>
                      <a:pt x="657" y="568"/>
                    </a:lnTo>
                    <a:lnTo>
                      <a:pt x="643" y="568"/>
                    </a:lnTo>
                    <a:close/>
                    <a:moveTo>
                      <a:pt x="752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7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2" y="222"/>
                    </a:lnTo>
                    <a:lnTo>
                      <a:pt x="748" y="211"/>
                    </a:lnTo>
                    <a:lnTo>
                      <a:pt x="741" y="202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6" y="183"/>
                    </a:lnTo>
                    <a:lnTo>
                      <a:pt x="720" y="177"/>
                    </a:lnTo>
                    <a:lnTo>
                      <a:pt x="713" y="173"/>
                    </a:lnTo>
                    <a:lnTo>
                      <a:pt x="707" y="169"/>
                    </a:lnTo>
                    <a:lnTo>
                      <a:pt x="699" y="164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0"/>
                    </a:lnTo>
                    <a:lnTo>
                      <a:pt x="642" y="149"/>
                    </a:lnTo>
                    <a:lnTo>
                      <a:pt x="623" y="149"/>
                    </a:lnTo>
                    <a:lnTo>
                      <a:pt x="617" y="135"/>
                    </a:lnTo>
                    <a:lnTo>
                      <a:pt x="610" y="122"/>
                    </a:lnTo>
                    <a:lnTo>
                      <a:pt x="601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70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1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9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8" y="8"/>
                    </a:lnTo>
                    <a:lnTo>
                      <a:pt x="328" y="16"/>
                    </a:lnTo>
                    <a:lnTo>
                      <a:pt x="308" y="23"/>
                    </a:lnTo>
                    <a:lnTo>
                      <a:pt x="288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6" y="99"/>
                    </a:lnTo>
                    <a:lnTo>
                      <a:pt x="206" y="114"/>
                    </a:lnTo>
                    <a:lnTo>
                      <a:pt x="197" y="130"/>
                    </a:lnTo>
                    <a:lnTo>
                      <a:pt x="190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5" y="190"/>
                    </a:lnTo>
                    <a:lnTo>
                      <a:pt x="128" y="198"/>
                    </a:lnTo>
                    <a:lnTo>
                      <a:pt x="111" y="206"/>
                    </a:lnTo>
                    <a:lnTo>
                      <a:pt x="95" y="216"/>
                    </a:lnTo>
                    <a:lnTo>
                      <a:pt x="81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1" y="268"/>
                    </a:lnTo>
                    <a:lnTo>
                      <a:pt x="31" y="283"/>
                    </a:lnTo>
                    <a:lnTo>
                      <a:pt x="22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4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5" y="430"/>
                    </a:lnTo>
                    <a:lnTo>
                      <a:pt x="10" y="449"/>
                    </a:lnTo>
                    <a:lnTo>
                      <a:pt x="17" y="468"/>
                    </a:lnTo>
                    <a:lnTo>
                      <a:pt x="26" y="487"/>
                    </a:lnTo>
                    <a:lnTo>
                      <a:pt x="37" y="504"/>
                    </a:lnTo>
                    <a:lnTo>
                      <a:pt x="50" y="521"/>
                    </a:lnTo>
                    <a:lnTo>
                      <a:pt x="62" y="536"/>
                    </a:lnTo>
                    <a:lnTo>
                      <a:pt x="77" y="549"/>
                    </a:lnTo>
                    <a:lnTo>
                      <a:pt x="95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8" y="596"/>
                    </a:lnTo>
                    <a:lnTo>
                      <a:pt x="189" y="597"/>
                    </a:lnTo>
                    <a:lnTo>
                      <a:pt x="199" y="598"/>
                    </a:lnTo>
                    <a:lnTo>
                      <a:pt x="209" y="598"/>
                    </a:lnTo>
                    <a:lnTo>
                      <a:pt x="643" y="598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0"/>
                    </a:lnTo>
                    <a:lnTo>
                      <a:pt x="707" y="585"/>
                    </a:lnTo>
                    <a:lnTo>
                      <a:pt x="721" y="579"/>
                    </a:lnTo>
                    <a:lnTo>
                      <a:pt x="735" y="570"/>
                    </a:lnTo>
                    <a:lnTo>
                      <a:pt x="748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80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4" y="466"/>
                    </a:lnTo>
                    <a:lnTo>
                      <a:pt x="808" y="450"/>
                    </a:lnTo>
                    <a:lnTo>
                      <a:pt x="809" y="433"/>
                    </a:lnTo>
                    <a:lnTo>
                      <a:pt x="808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7" y="342"/>
                    </a:lnTo>
                    <a:lnTo>
                      <a:pt x="783" y="332"/>
                    </a:lnTo>
                    <a:lnTo>
                      <a:pt x="778" y="324"/>
                    </a:lnTo>
                    <a:lnTo>
                      <a:pt x="772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2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70">
                <a:extLst>
                  <a:ext uri="{FF2B5EF4-FFF2-40B4-BE49-F238E27FC236}">
                    <a16:creationId xmlns:a16="http://schemas.microsoft.com/office/drawing/2014/main" id="{51A46485-FF77-42CD-AE58-2784704D6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71">
                <a:extLst>
                  <a:ext uri="{FF2B5EF4-FFF2-40B4-BE49-F238E27FC236}">
                    <a16:creationId xmlns:a16="http://schemas.microsoft.com/office/drawing/2014/main" id="{0FB59F03-E312-4B0B-89D9-70730AFD9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72">
                <a:extLst>
                  <a:ext uri="{FF2B5EF4-FFF2-40B4-BE49-F238E27FC236}">
                    <a16:creationId xmlns:a16="http://schemas.microsoft.com/office/drawing/2014/main" id="{39463C3E-B942-477F-903E-14D716CBF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73">
                <a:extLst>
                  <a:ext uri="{FF2B5EF4-FFF2-40B4-BE49-F238E27FC236}">
                    <a16:creationId xmlns:a16="http://schemas.microsoft.com/office/drawing/2014/main" id="{1F3C1E7B-17D8-4A04-98BF-CE5F644ED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74">
                <a:extLst>
                  <a:ext uri="{FF2B5EF4-FFF2-40B4-BE49-F238E27FC236}">
                    <a16:creationId xmlns:a16="http://schemas.microsoft.com/office/drawing/2014/main" id="{6AF118F7-3C63-4C77-9682-35D37A437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75">
                <a:extLst>
                  <a:ext uri="{FF2B5EF4-FFF2-40B4-BE49-F238E27FC236}">
                    <a16:creationId xmlns:a16="http://schemas.microsoft.com/office/drawing/2014/main" id="{C3A23F12-BA21-47ED-AB38-657FAB978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76">
                <a:extLst>
                  <a:ext uri="{FF2B5EF4-FFF2-40B4-BE49-F238E27FC236}">
                    <a16:creationId xmlns:a16="http://schemas.microsoft.com/office/drawing/2014/main" id="{38608083-D686-4732-A527-3961C066AA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77">
                <a:extLst>
                  <a:ext uri="{FF2B5EF4-FFF2-40B4-BE49-F238E27FC236}">
                    <a16:creationId xmlns:a16="http://schemas.microsoft.com/office/drawing/2014/main" id="{7BDF0E2E-11EC-4999-8600-AFAD964B6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7 w 30"/>
                  <a:gd name="T35" fmla="*/ 30 h 30"/>
                  <a:gd name="T36" fmla="*/ 20 w 30"/>
                  <a:gd name="T37" fmla="*/ 29 h 30"/>
                  <a:gd name="T38" fmla="*/ 22 w 30"/>
                  <a:gd name="T39" fmla="*/ 28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3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20" y="29"/>
                    </a:lnTo>
                    <a:lnTo>
                      <a:pt x="22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78">
                <a:extLst>
                  <a:ext uri="{FF2B5EF4-FFF2-40B4-BE49-F238E27FC236}">
                    <a16:creationId xmlns:a16="http://schemas.microsoft.com/office/drawing/2014/main" id="{01AAD255-1165-4494-9351-C7E647135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79">
                <a:extLst>
                  <a:ext uri="{FF2B5EF4-FFF2-40B4-BE49-F238E27FC236}">
                    <a16:creationId xmlns:a16="http://schemas.microsoft.com/office/drawing/2014/main" id="{2F94333B-68F0-41A4-B21C-27A2F52DD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80">
                <a:extLst>
                  <a:ext uri="{FF2B5EF4-FFF2-40B4-BE49-F238E27FC236}">
                    <a16:creationId xmlns:a16="http://schemas.microsoft.com/office/drawing/2014/main" id="{15C10FCB-EBC5-47D5-84AD-6073955FC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81">
                <a:extLst>
                  <a:ext uri="{FF2B5EF4-FFF2-40B4-BE49-F238E27FC236}">
                    <a16:creationId xmlns:a16="http://schemas.microsoft.com/office/drawing/2014/main" id="{AC45165A-C0CF-46EE-966E-C4F3E52F1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7 w 30"/>
                  <a:gd name="T35" fmla="*/ 28 h 30"/>
                  <a:gd name="T36" fmla="*/ 20 w 30"/>
                  <a:gd name="T37" fmla="*/ 28 h 30"/>
                  <a:gd name="T38" fmla="*/ 22 w 30"/>
                  <a:gd name="T39" fmla="*/ 27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2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82">
                <a:extLst>
                  <a:ext uri="{FF2B5EF4-FFF2-40B4-BE49-F238E27FC236}">
                    <a16:creationId xmlns:a16="http://schemas.microsoft.com/office/drawing/2014/main" id="{8780B18A-36EC-4812-84AC-0DF12FCBD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83">
                <a:extLst>
                  <a:ext uri="{FF2B5EF4-FFF2-40B4-BE49-F238E27FC236}">
                    <a16:creationId xmlns:a16="http://schemas.microsoft.com/office/drawing/2014/main" id="{F092C68E-2678-4FB3-88DE-E39618A01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1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1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C6E8884C-74DB-4229-938D-23C52AE61B1F}"/>
              </a:ext>
            </a:extLst>
          </p:cNvPr>
          <p:cNvGrpSpPr/>
          <p:nvPr/>
        </p:nvGrpSpPr>
        <p:grpSpPr>
          <a:xfrm>
            <a:off x="1544803" y="825300"/>
            <a:ext cx="418315" cy="418315"/>
            <a:chOff x="7004151" y="1986191"/>
            <a:chExt cx="418315" cy="418315"/>
          </a:xfrm>
        </p:grpSpPr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7987B661-3C36-4E6F-95B4-9F7ED0D8DB02}"/>
                </a:ext>
              </a:extLst>
            </p:cNvPr>
            <p:cNvSpPr/>
            <p:nvPr/>
          </p:nvSpPr>
          <p:spPr>
            <a:xfrm>
              <a:off x="7004151" y="1986191"/>
              <a:ext cx="418315" cy="418315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05" name="Group 304">
              <a:extLst>
                <a:ext uri="{FF2B5EF4-FFF2-40B4-BE49-F238E27FC236}">
                  <a16:creationId xmlns:a16="http://schemas.microsoft.com/office/drawing/2014/main" id="{9926961B-D24E-43F4-9BE5-CCE216B505D1}"/>
                </a:ext>
              </a:extLst>
            </p:cNvPr>
            <p:cNvGrpSpPr/>
            <p:nvPr/>
          </p:nvGrpSpPr>
          <p:grpSpPr>
            <a:xfrm>
              <a:off x="7133466" y="2106634"/>
              <a:ext cx="159685" cy="177428"/>
              <a:chOff x="4356100" y="769938"/>
              <a:chExt cx="257175" cy="285750"/>
            </a:xfrm>
            <a:solidFill>
              <a:schemeClr val="bg1"/>
            </a:solidFill>
          </p:grpSpPr>
          <p:sp>
            <p:nvSpPr>
              <p:cNvPr id="306" name="Freeform 43">
                <a:extLst>
                  <a:ext uri="{FF2B5EF4-FFF2-40B4-BE49-F238E27FC236}">
                    <a16:creationId xmlns:a16="http://schemas.microsoft.com/office/drawing/2014/main" id="{DA8097C9-CFB1-496C-B8F1-F3B0B5A14F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00" y="769938"/>
                <a:ext cx="257175" cy="190500"/>
              </a:xfrm>
              <a:custGeom>
                <a:avLst/>
                <a:gdLst>
                  <a:gd name="T0" fmla="*/ 174 w 808"/>
                  <a:gd name="T1" fmla="*/ 565 h 598"/>
                  <a:gd name="T2" fmla="*/ 110 w 808"/>
                  <a:gd name="T3" fmla="*/ 537 h 598"/>
                  <a:gd name="T4" fmla="*/ 61 w 808"/>
                  <a:gd name="T5" fmla="*/ 488 h 598"/>
                  <a:gd name="T6" fmla="*/ 33 w 808"/>
                  <a:gd name="T7" fmla="*/ 423 h 598"/>
                  <a:gd name="T8" fmla="*/ 33 w 808"/>
                  <a:gd name="T9" fmla="*/ 356 h 598"/>
                  <a:gd name="T10" fmla="*/ 59 w 808"/>
                  <a:gd name="T11" fmla="*/ 295 h 598"/>
                  <a:gd name="T12" fmla="*/ 104 w 808"/>
                  <a:gd name="T13" fmla="*/ 247 h 598"/>
                  <a:gd name="T14" fmla="*/ 163 w 808"/>
                  <a:gd name="T15" fmla="*/ 216 h 598"/>
                  <a:gd name="T16" fmla="*/ 205 w 808"/>
                  <a:gd name="T17" fmla="*/ 205 h 598"/>
                  <a:gd name="T18" fmla="*/ 212 w 808"/>
                  <a:gd name="T19" fmla="*/ 177 h 598"/>
                  <a:gd name="T20" fmla="*/ 232 w 808"/>
                  <a:gd name="T21" fmla="*/ 127 h 598"/>
                  <a:gd name="T22" fmla="*/ 282 w 808"/>
                  <a:gd name="T23" fmla="*/ 74 h 598"/>
                  <a:gd name="T24" fmla="*/ 348 w 808"/>
                  <a:gd name="T25" fmla="*/ 41 h 598"/>
                  <a:gd name="T26" fmla="*/ 418 w 808"/>
                  <a:gd name="T27" fmla="*/ 29 h 598"/>
                  <a:gd name="T28" fmla="*/ 478 w 808"/>
                  <a:gd name="T29" fmla="*/ 41 h 598"/>
                  <a:gd name="T30" fmla="*/ 530 w 808"/>
                  <a:gd name="T31" fmla="*/ 73 h 598"/>
                  <a:gd name="T32" fmla="*/ 572 w 808"/>
                  <a:gd name="T33" fmla="*/ 118 h 598"/>
                  <a:gd name="T34" fmla="*/ 599 w 808"/>
                  <a:gd name="T35" fmla="*/ 170 h 598"/>
                  <a:gd name="T36" fmla="*/ 615 w 808"/>
                  <a:gd name="T37" fmla="*/ 179 h 598"/>
                  <a:gd name="T38" fmla="*/ 674 w 808"/>
                  <a:gd name="T39" fmla="*/ 186 h 598"/>
                  <a:gd name="T40" fmla="*/ 707 w 808"/>
                  <a:gd name="T41" fmla="*/ 208 h 598"/>
                  <a:gd name="T42" fmla="*/ 724 w 808"/>
                  <a:gd name="T43" fmla="*/ 235 h 598"/>
                  <a:gd name="T44" fmla="*/ 726 w 808"/>
                  <a:gd name="T45" fmla="*/ 272 h 598"/>
                  <a:gd name="T46" fmla="*/ 719 w 808"/>
                  <a:gd name="T47" fmla="*/ 303 h 598"/>
                  <a:gd name="T48" fmla="*/ 736 w 808"/>
                  <a:gd name="T49" fmla="*/ 322 h 598"/>
                  <a:gd name="T50" fmla="*/ 763 w 808"/>
                  <a:gd name="T51" fmla="*/ 361 h 598"/>
                  <a:gd name="T52" fmla="*/ 778 w 808"/>
                  <a:gd name="T53" fmla="*/ 433 h 598"/>
                  <a:gd name="T54" fmla="*/ 767 w 808"/>
                  <a:gd name="T55" fmla="*/ 485 h 598"/>
                  <a:gd name="T56" fmla="*/ 739 w 808"/>
                  <a:gd name="T57" fmla="*/ 528 h 598"/>
                  <a:gd name="T58" fmla="*/ 695 w 808"/>
                  <a:gd name="T59" fmla="*/ 557 h 598"/>
                  <a:gd name="T60" fmla="*/ 642 w 808"/>
                  <a:gd name="T61" fmla="*/ 568 h 598"/>
                  <a:gd name="T62" fmla="*/ 758 w 808"/>
                  <a:gd name="T63" fmla="*/ 257 h 598"/>
                  <a:gd name="T64" fmla="*/ 747 w 808"/>
                  <a:gd name="T65" fmla="*/ 211 h 598"/>
                  <a:gd name="T66" fmla="*/ 726 w 808"/>
                  <a:gd name="T67" fmla="*/ 183 h 598"/>
                  <a:gd name="T68" fmla="*/ 699 w 808"/>
                  <a:gd name="T69" fmla="*/ 164 h 598"/>
                  <a:gd name="T70" fmla="*/ 641 w 808"/>
                  <a:gd name="T71" fmla="*/ 149 h 598"/>
                  <a:gd name="T72" fmla="*/ 600 w 808"/>
                  <a:gd name="T73" fmla="*/ 108 h 598"/>
                  <a:gd name="T74" fmla="*/ 558 w 808"/>
                  <a:gd name="T75" fmla="*/ 57 h 598"/>
                  <a:gd name="T76" fmla="*/ 502 w 808"/>
                  <a:gd name="T77" fmla="*/ 20 h 598"/>
                  <a:gd name="T78" fmla="*/ 437 w 808"/>
                  <a:gd name="T79" fmla="*/ 1 h 598"/>
                  <a:gd name="T80" fmla="*/ 349 w 808"/>
                  <a:gd name="T81" fmla="*/ 8 h 598"/>
                  <a:gd name="T82" fmla="*/ 271 w 808"/>
                  <a:gd name="T83" fmla="*/ 44 h 598"/>
                  <a:gd name="T84" fmla="*/ 215 w 808"/>
                  <a:gd name="T85" fmla="*/ 99 h 598"/>
                  <a:gd name="T86" fmla="*/ 184 w 808"/>
                  <a:gd name="T87" fmla="*/ 163 h 598"/>
                  <a:gd name="T88" fmla="*/ 127 w 808"/>
                  <a:gd name="T89" fmla="*/ 198 h 598"/>
                  <a:gd name="T90" fmla="*/ 66 w 808"/>
                  <a:gd name="T91" fmla="*/ 240 h 598"/>
                  <a:gd name="T92" fmla="*/ 21 w 808"/>
                  <a:gd name="T93" fmla="*/ 300 h 598"/>
                  <a:gd name="T94" fmla="*/ 1 w 808"/>
                  <a:gd name="T95" fmla="*/ 370 h 598"/>
                  <a:gd name="T96" fmla="*/ 2 w 808"/>
                  <a:gd name="T97" fmla="*/ 419 h 598"/>
                  <a:gd name="T98" fmla="*/ 25 w 808"/>
                  <a:gd name="T99" fmla="*/ 487 h 598"/>
                  <a:gd name="T100" fmla="*/ 78 w 808"/>
                  <a:gd name="T101" fmla="*/ 549 h 598"/>
                  <a:gd name="T102" fmla="*/ 149 w 808"/>
                  <a:gd name="T103" fmla="*/ 588 h 598"/>
                  <a:gd name="T104" fmla="*/ 199 w 808"/>
                  <a:gd name="T105" fmla="*/ 598 h 598"/>
                  <a:gd name="T106" fmla="*/ 675 w 808"/>
                  <a:gd name="T107" fmla="*/ 595 h 598"/>
                  <a:gd name="T108" fmla="*/ 734 w 808"/>
                  <a:gd name="T109" fmla="*/ 570 h 598"/>
                  <a:gd name="T110" fmla="*/ 779 w 808"/>
                  <a:gd name="T111" fmla="*/ 525 h 598"/>
                  <a:gd name="T112" fmla="*/ 805 w 808"/>
                  <a:gd name="T113" fmla="*/ 466 h 598"/>
                  <a:gd name="T114" fmla="*/ 805 w 808"/>
                  <a:gd name="T115" fmla="*/ 398 h 598"/>
                  <a:gd name="T116" fmla="*/ 788 w 808"/>
                  <a:gd name="T117" fmla="*/ 342 h 598"/>
                  <a:gd name="T118" fmla="*/ 765 w 808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8">
                    <a:moveTo>
                      <a:pt x="642" y="568"/>
                    </a:moveTo>
                    <a:lnTo>
                      <a:pt x="210" y="568"/>
                    </a:lnTo>
                    <a:lnTo>
                      <a:pt x="191" y="567"/>
                    </a:lnTo>
                    <a:lnTo>
                      <a:pt x="174" y="565"/>
                    </a:lnTo>
                    <a:lnTo>
                      <a:pt x="157" y="559"/>
                    </a:lnTo>
                    <a:lnTo>
                      <a:pt x="141" y="554"/>
                    </a:lnTo>
                    <a:lnTo>
                      <a:pt x="125" y="545"/>
                    </a:lnTo>
                    <a:lnTo>
                      <a:pt x="110" y="537"/>
                    </a:lnTo>
                    <a:lnTo>
                      <a:pt x="96" y="526"/>
                    </a:lnTo>
                    <a:lnTo>
                      <a:pt x="83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3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1" y="372"/>
                    </a:lnTo>
                    <a:lnTo>
                      <a:pt x="33" y="356"/>
                    </a:lnTo>
                    <a:lnTo>
                      <a:pt x="37" y="340"/>
                    </a:lnTo>
                    <a:lnTo>
                      <a:pt x="43" y="325"/>
                    </a:lnTo>
                    <a:lnTo>
                      <a:pt x="50" y="310"/>
                    </a:lnTo>
                    <a:lnTo>
                      <a:pt x="59" y="295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8" y="237"/>
                    </a:lnTo>
                    <a:lnTo>
                      <a:pt x="131" y="229"/>
                    </a:lnTo>
                    <a:lnTo>
                      <a:pt x="146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1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2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7" y="85"/>
                    </a:lnTo>
                    <a:lnTo>
                      <a:pt x="282" y="74"/>
                    </a:lnTo>
                    <a:lnTo>
                      <a:pt x="297" y="64"/>
                    </a:lnTo>
                    <a:lnTo>
                      <a:pt x="313" y="55"/>
                    </a:lnTo>
                    <a:lnTo>
                      <a:pt x="331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3" y="33"/>
                    </a:lnTo>
                    <a:lnTo>
                      <a:pt x="401" y="31"/>
                    </a:lnTo>
                    <a:lnTo>
                      <a:pt x="418" y="29"/>
                    </a:lnTo>
                    <a:lnTo>
                      <a:pt x="434" y="31"/>
                    </a:lnTo>
                    <a:lnTo>
                      <a:pt x="449" y="33"/>
                    </a:lnTo>
                    <a:lnTo>
                      <a:pt x="464" y="36"/>
                    </a:lnTo>
                    <a:lnTo>
                      <a:pt x="478" y="41"/>
                    </a:lnTo>
                    <a:lnTo>
                      <a:pt x="492" y="48"/>
                    </a:lnTo>
                    <a:lnTo>
                      <a:pt x="505" y="55"/>
                    </a:lnTo>
                    <a:lnTo>
                      <a:pt x="518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2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4" y="157"/>
                    </a:lnTo>
                    <a:lnTo>
                      <a:pt x="599" y="170"/>
                    </a:lnTo>
                    <a:lnTo>
                      <a:pt x="601" y="174"/>
                    </a:lnTo>
                    <a:lnTo>
                      <a:pt x="606" y="177"/>
                    </a:lnTo>
                    <a:lnTo>
                      <a:pt x="610" y="179"/>
                    </a:lnTo>
                    <a:lnTo>
                      <a:pt x="615" y="179"/>
                    </a:lnTo>
                    <a:lnTo>
                      <a:pt x="630" y="178"/>
                    </a:lnTo>
                    <a:lnTo>
                      <a:pt x="646" y="179"/>
                    </a:lnTo>
                    <a:lnTo>
                      <a:pt x="660" y="181"/>
                    </a:lnTo>
                    <a:lnTo>
                      <a:pt x="674" y="186"/>
                    </a:lnTo>
                    <a:lnTo>
                      <a:pt x="687" y="192"/>
                    </a:lnTo>
                    <a:lnTo>
                      <a:pt x="698" y="200"/>
                    </a:lnTo>
                    <a:lnTo>
                      <a:pt x="703" y="203"/>
                    </a:lnTo>
                    <a:lnTo>
                      <a:pt x="707" y="208"/>
                    </a:lnTo>
                    <a:lnTo>
                      <a:pt x="712" y="213"/>
                    </a:lnTo>
                    <a:lnTo>
                      <a:pt x="716" y="218"/>
                    </a:lnTo>
                    <a:lnTo>
                      <a:pt x="720" y="226"/>
                    </a:lnTo>
                    <a:lnTo>
                      <a:pt x="724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4" y="282"/>
                    </a:lnTo>
                    <a:lnTo>
                      <a:pt x="719" y="293"/>
                    </a:lnTo>
                    <a:lnTo>
                      <a:pt x="718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6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3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7" y="414"/>
                    </a:lnTo>
                    <a:lnTo>
                      <a:pt x="778" y="433"/>
                    </a:lnTo>
                    <a:lnTo>
                      <a:pt x="777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7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7" y="520"/>
                    </a:lnTo>
                    <a:lnTo>
                      <a:pt x="739" y="528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6" y="552"/>
                    </a:lnTo>
                    <a:lnTo>
                      <a:pt x="695" y="557"/>
                    </a:lnTo>
                    <a:lnTo>
                      <a:pt x="683" y="563"/>
                    </a:lnTo>
                    <a:lnTo>
                      <a:pt x="669" y="566"/>
                    </a:lnTo>
                    <a:lnTo>
                      <a:pt x="656" y="568"/>
                    </a:lnTo>
                    <a:lnTo>
                      <a:pt x="642" y="568"/>
                    </a:lnTo>
                    <a:close/>
                    <a:moveTo>
                      <a:pt x="751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8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1" y="222"/>
                    </a:lnTo>
                    <a:lnTo>
                      <a:pt x="747" y="211"/>
                    </a:lnTo>
                    <a:lnTo>
                      <a:pt x="741" y="202"/>
                    </a:lnTo>
                    <a:lnTo>
                      <a:pt x="736" y="195"/>
                    </a:lnTo>
                    <a:lnTo>
                      <a:pt x="731" y="189"/>
                    </a:lnTo>
                    <a:lnTo>
                      <a:pt x="726" y="183"/>
                    </a:lnTo>
                    <a:lnTo>
                      <a:pt x="719" y="177"/>
                    </a:lnTo>
                    <a:lnTo>
                      <a:pt x="713" y="173"/>
                    </a:lnTo>
                    <a:lnTo>
                      <a:pt x="706" y="169"/>
                    </a:lnTo>
                    <a:lnTo>
                      <a:pt x="699" y="164"/>
                    </a:lnTo>
                    <a:lnTo>
                      <a:pt x="691" y="161"/>
                    </a:lnTo>
                    <a:lnTo>
                      <a:pt x="676" y="155"/>
                    </a:lnTo>
                    <a:lnTo>
                      <a:pt x="659" y="150"/>
                    </a:lnTo>
                    <a:lnTo>
                      <a:pt x="641" y="149"/>
                    </a:lnTo>
                    <a:lnTo>
                      <a:pt x="623" y="149"/>
                    </a:lnTo>
                    <a:lnTo>
                      <a:pt x="616" y="135"/>
                    </a:lnTo>
                    <a:lnTo>
                      <a:pt x="609" y="122"/>
                    </a:lnTo>
                    <a:lnTo>
                      <a:pt x="600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69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2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8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9" y="8"/>
                    </a:lnTo>
                    <a:lnTo>
                      <a:pt x="327" y="16"/>
                    </a:lnTo>
                    <a:lnTo>
                      <a:pt x="307" y="23"/>
                    </a:lnTo>
                    <a:lnTo>
                      <a:pt x="289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5" y="99"/>
                    </a:lnTo>
                    <a:lnTo>
                      <a:pt x="205" y="114"/>
                    </a:lnTo>
                    <a:lnTo>
                      <a:pt x="197" y="130"/>
                    </a:lnTo>
                    <a:lnTo>
                      <a:pt x="189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4" y="190"/>
                    </a:lnTo>
                    <a:lnTo>
                      <a:pt x="127" y="198"/>
                    </a:lnTo>
                    <a:lnTo>
                      <a:pt x="110" y="206"/>
                    </a:lnTo>
                    <a:lnTo>
                      <a:pt x="95" y="216"/>
                    </a:lnTo>
                    <a:lnTo>
                      <a:pt x="80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2" y="268"/>
                    </a:lnTo>
                    <a:lnTo>
                      <a:pt x="31" y="283"/>
                    </a:lnTo>
                    <a:lnTo>
                      <a:pt x="21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3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4" y="430"/>
                    </a:lnTo>
                    <a:lnTo>
                      <a:pt x="9" y="449"/>
                    </a:lnTo>
                    <a:lnTo>
                      <a:pt x="17" y="468"/>
                    </a:lnTo>
                    <a:lnTo>
                      <a:pt x="25" y="487"/>
                    </a:lnTo>
                    <a:lnTo>
                      <a:pt x="36" y="504"/>
                    </a:lnTo>
                    <a:lnTo>
                      <a:pt x="49" y="521"/>
                    </a:lnTo>
                    <a:lnTo>
                      <a:pt x="63" y="536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1" y="572"/>
                    </a:lnTo>
                    <a:lnTo>
                      <a:pt x="129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9" y="596"/>
                    </a:lnTo>
                    <a:lnTo>
                      <a:pt x="188" y="597"/>
                    </a:lnTo>
                    <a:lnTo>
                      <a:pt x="199" y="598"/>
                    </a:lnTo>
                    <a:lnTo>
                      <a:pt x="210" y="598"/>
                    </a:lnTo>
                    <a:lnTo>
                      <a:pt x="642" y="598"/>
                    </a:lnTo>
                    <a:lnTo>
                      <a:pt x="659" y="597"/>
                    </a:lnTo>
                    <a:lnTo>
                      <a:pt x="675" y="595"/>
                    </a:lnTo>
                    <a:lnTo>
                      <a:pt x="691" y="590"/>
                    </a:lnTo>
                    <a:lnTo>
                      <a:pt x="706" y="585"/>
                    </a:lnTo>
                    <a:lnTo>
                      <a:pt x="721" y="579"/>
                    </a:lnTo>
                    <a:lnTo>
                      <a:pt x="734" y="570"/>
                    </a:lnTo>
                    <a:lnTo>
                      <a:pt x="747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79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5" y="466"/>
                    </a:lnTo>
                    <a:lnTo>
                      <a:pt x="807" y="450"/>
                    </a:lnTo>
                    <a:lnTo>
                      <a:pt x="808" y="433"/>
                    </a:lnTo>
                    <a:lnTo>
                      <a:pt x="807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5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2" y="332"/>
                    </a:lnTo>
                    <a:lnTo>
                      <a:pt x="777" y="324"/>
                    </a:lnTo>
                    <a:lnTo>
                      <a:pt x="772" y="316"/>
                    </a:lnTo>
                    <a:lnTo>
                      <a:pt x="765" y="308"/>
                    </a:lnTo>
                    <a:lnTo>
                      <a:pt x="759" y="301"/>
                    </a:lnTo>
                    <a:lnTo>
                      <a:pt x="751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44">
                <a:extLst>
                  <a:ext uri="{FF2B5EF4-FFF2-40B4-BE49-F238E27FC236}">
                    <a16:creationId xmlns:a16="http://schemas.microsoft.com/office/drawing/2014/main" id="{9FC19C64-F945-443F-A02F-853039036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5" y="984250"/>
                <a:ext cx="71438" cy="71438"/>
              </a:xfrm>
              <a:custGeom>
                <a:avLst/>
                <a:gdLst>
                  <a:gd name="T0" fmla="*/ 198 w 223"/>
                  <a:gd name="T1" fmla="*/ 4 h 225"/>
                  <a:gd name="T2" fmla="*/ 4 w 223"/>
                  <a:gd name="T3" fmla="*/ 199 h 225"/>
                  <a:gd name="T4" fmla="*/ 2 w 223"/>
                  <a:gd name="T5" fmla="*/ 201 h 225"/>
                  <a:gd name="T6" fmla="*/ 1 w 223"/>
                  <a:gd name="T7" fmla="*/ 204 h 225"/>
                  <a:gd name="T8" fmla="*/ 0 w 223"/>
                  <a:gd name="T9" fmla="*/ 207 h 225"/>
                  <a:gd name="T10" fmla="*/ 0 w 223"/>
                  <a:gd name="T11" fmla="*/ 210 h 225"/>
                  <a:gd name="T12" fmla="*/ 0 w 223"/>
                  <a:gd name="T13" fmla="*/ 213 h 225"/>
                  <a:gd name="T14" fmla="*/ 1 w 223"/>
                  <a:gd name="T15" fmla="*/ 216 h 225"/>
                  <a:gd name="T16" fmla="*/ 2 w 223"/>
                  <a:gd name="T17" fmla="*/ 218 h 225"/>
                  <a:gd name="T18" fmla="*/ 4 w 223"/>
                  <a:gd name="T19" fmla="*/ 220 h 225"/>
                  <a:gd name="T20" fmla="*/ 6 w 223"/>
                  <a:gd name="T21" fmla="*/ 221 h 225"/>
                  <a:gd name="T22" fmla="*/ 8 w 223"/>
                  <a:gd name="T23" fmla="*/ 223 h 225"/>
                  <a:gd name="T24" fmla="*/ 11 w 223"/>
                  <a:gd name="T25" fmla="*/ 223 h 225"/>
                  <a:gd name="T26" fmla="*/ 15 w 223"/>
                  <a:gd name="T27" fmla="*/ 225 h 225"/>
                  <a:gd name="T28" fmla="*/ 17 w 223"/>
                  <a:gd name="T29" fmla="*/ 223 h 225"/>
                  <a:gd name="T30" fmla="*/ 20 w 223"/>
                  <a:gd name="T31" fmla="*/ 223 h 225"/>
                  <a:gd name="T32" fmla="*/ 22 w 223"/>
                  <a:gd name="T33" fmla="*/ 221 h 225"/>
                  <a:gd name="T34" fmla="*/ 25 w 223"/>
                  <a:gd name="T35" fmla="*/ 220 h 225"/>
                  <a:gd name="T36" fmla="*/ 219 w 223"/>
                  <a:gd name="T37" fmla="*/ 25 h 225"/>
                  <a:gd name="T38" fmla="*/ 221 w 223"/>
                  <a:gd name="T39" fmla="*/ 23 h 225"/>
                  <a:gd name="T40" fmla="*/ 222 w 223"/>
                  <a:gd name="T41" fmla="*/ 21 h 225"/>
                  <a:gd name="T42" fmla="*/ 223 w 223"/>
                  <a:gd name="T43" fmla="*/ 18 h 225"/>
                  <a:gd name="T44" fmla="*/ 223 w 223"/>
                  <a:gd name="T45" fmla="*/ 16 h 225"/>
                  <a:gd name="T46" fmla="*/ 223 w 223"/>
                  <a:gd name="T47" fmla="*/ 13 h 225"/>
                  <a:gd name="T48" fmla="*/ 222 w 223"/>
                  <a:gd name="T49" fmla="*/ 9 h 225"/>
                  <a:gd name="T50" fmla="*/ 221 w 223"/>
                  <a:gd name="T51" fmla="*/ 7 h 225"/>
                  <a:gd name="T52" fmla="*/ 219 w 223"/>
                  <a:gd name="T53" fmla="*/ 4 h 225"/>
                  <a:gd name="T54" fmla="*/ 217 w 223"/>
                  <a:gd name="T55" fmla="*/ 2 h 225"/>
                  <a:gd name="T56" fmla="*/ 215 w 223"/>
                  <a:gd name="T57" fmla="*/ 1 h 225"/>
                  <a:gd name="T58" fmla="*/ 212 w 223"/>
                  <a:gd name="T59" fmla="*/ 0 h 225"/>
                  <a:gd name="T60" fmla="*/ 208 w 223"/>
                  <a:gd name="T61" fmla="*/ 0 h 225"/>
                  <a:gd name="T62" fmla="*/ 206 w 223"/>
                  <a:gd name="T63" fmla="*/ 0 h 225"/>
                  <a:gd name="T64" fmla="*/ 203 w 223"/>
                  <a:gd name="T65" fmla="*/ 1 h 225"/>
                  <a:gd name="T66" fmla="*/ 201 w 223"/>
                  <a:gd name="T67" fmla="*/ 2 h 225"/>
                  <a:gd name="T68" fmla="*/ 198 w 223"/>
                  <a:gd name="T69" fmla="*/ 4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" h="225">
                    <a:moveTo>
                      <a:pt x="198" y="4"/>
                    </a:moveTo>
                    <a:lnTo>
                      <a:pt x="4" y="199"/>
                    </a:lnTo>
                    <a:lnTo>
                      <a:pt x="2" y="201"/>
                    </a:lnTo>
                    <a:lnTo>
                      <a:pt x="1" y="204"/>
                    </a:lnTo>
                    <a:lnTo>
                      <a:pt x="0" y="207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1" y="216"/>
                    </a:lnTo>
                    <a:lnTo>
                      <a:pt x="2" y="218"/>
                    </a:lnTo>
                    <a:lnTo>
                      <a:pt x="4" y="220"/>
                    </a:lnTo>
                    <a:lnTo>
                      <a:pt x="6" y="221"/>
                    </a:lnTo>
                    <a:lnTo>
                      <a:pt x="8" y="223"/>
                    </a:lnTo>
                    <a:lnTo>
                      <a:pt x="11" y="223"/>
                    </a:lnTo>
                    <a:lnTo>
                      <a:pt x="15" y="225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2" y="221"/>
                    </a:lnTo>
                    <a:lnTo>
                      <a:pt x="25" y="220"/>
                    </a:lnTo>
                    <a:lnTo>
                      <a:pt x="219" y="25"/>
                    </a:lnTo>
                    <a:lnTo>
                      <a:pt x="221" y="23"/>
                    </a:lnTo>
                    <a:lnTo>
                      <a:pt x="222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3" y="13"/>
                    </a:lnTo>
                    <a:lnTo>
                      <a:pt x="222" y="9"/>
                    </a:lnTo>
                    <a:lnTo>
                      <a:pt x="221" y="7"/>
                    </a:lnTo>
                    <a:lnTo>
                      <a:pt x="219" y="4"/>
                    </a:lnTo>
                    <a:lnTo>
                      <a:pt x="217" y="2"/>
                    </a:lnTo>
                    <a:lnTo>
                      <a:pt x="215" y="1"/>
                    </a:lnTo>
                    <a:lnTo>
                      <a:pt x="212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3" y="1"/>
                    </a:lnTo>
                    <a:lnTo>
                      <a:pt x="201" y="2"/>
                    </a:ln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45">
                <a:extLst>
                  <a:ext uri="{FF2B5EF4-FFF2-40B4-BE49-F238E27FC236}">
                    <a16:creationId xmlns:a16="http://schemas.microsoft.com/office/drawing/2014/main" id="{2EE47870-BF91-4123-8E79-ABBF62F3F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5" y="989013"/>
                <a:ext cx="47625" cy="66675"/>
              </a:xfrm>
              <a:custGeom>
                <a:avLst/>
                <a:gdLst>
                  <a:gd name="T0" fmla="*/ 135 w 150"/>
                  <a:gd name="T1" fmla="*/ 60 h 210"/>
                  <a:gd name="T2" fmla="*/ 82 w 150"/>
                  <a:gd name="T3" fmla="*/ 60 h 210"/>
                  <a:gd name="T4" fmla="*/ 116 w 150"/>
                  <a:gd name="T5" fmla="*/ 25 h 210"/>
                  <a:gd name="T6" fmla="*/ 118 w 150"/>
                  <a:gd name="T7" fmla="*/ 23 h 210"/>
                  <a:gd name="T8" fmla="*/ 119 w 150"/>
                  <a:gd name="T9" fmla="*/ 21 h 210"/>
                  <a:gd name="T10" fmla="*/ 120 w 150"/>
                  <a:gd name="T11" fmla="*/ 18 h 210"/>
                  <a:gd name="T12" fmla="*/ 120 w 150"/>
                  <a:gd name="T13" fmla="*/ 16 h 210"/>
                  <a:gd name="T14" fmla="*/ 120 w 150"/>
                  <a:gd name="T15" fmla="*/ 13 h 210"/>
                  <a:gd name="T16" fmla="*/ 119 w 150"/>
                  <a:gd name="T17" fmla="*/ 9 h 210"/>
                  <a:gd name="T18" fmla="*/ 118 w 150"/>
                  <a:gd name="T19" fmla="*/ 6 h 210"/>
                  <a:gd name="T20" fmla="*/ 116 w 150"/>
                  <a:gd name="T21" fmla="*/ 4 h 210"/>
                  <a:gd name="T22" fmla="*/ 114 w 150"/>
                  <a:gd name="T23" fmla="*/ 2 h 210"/>
                  <a:gd name="T24" fmla="*/ 111 w 150"/>
                  <a:gd name="T25" fmla="*/ 1 h 210"/>
                  <a:gd name="T26" fmla="*/ 109 w 150"/>
                  <a:gd name="T27" fmla="*/ 0 h 210"/>
                  <a:gd name="T28" fmla="*/ 105 w 150"/>
                  <a:gd name="T29" fmla="*/ 0 h 210"/>
                  <a:gd name="T30" fmla="*/ 102 w 150"/>
                  <a:gd name="T31" fmla="*/ 0 h 210"/>
                  <a:gd name="T32" fmla="*/ 100 w 150"/>
                  <a:gd name="T33" fmla="*/ 1 h 210"/>
                  <a:gd name="T34" fmla="*/ 97 w 150"/>
                  <a:gd name="T35" fmla="*/ 2 h 210"/>
                  <a:gd name="T36" fmla="*/ 95 w 150"/>
                  <a:gd name="T37" fmla="*/ 4 h 210"/>
                  <a:gd name="T38" fmla="*/ 35 w 150"/>
                  <a:gd name="T39" fmla="*/ 64 h 210"/>
                  <a:gd name="T40" fmla="*/ 33 w 150"/>
                  <a:gd name="T41" fmla="*/ 68 h 210"/>
                  <a:gd name="T42" fmla="*/ 32 w 150"/>
                  <a:gd name="T43" fmla="*/ 71 h 210"/>
                  <a:gd name="T44" fmla="*/ 30 w 150"/>
                  <a:gd name="T45" fmla="*/ 76 h 210"/>
                  <a:gd name="T46" fmla="*/ 32 w 150"/>
                  <a:gd name="T47" fmla="*/ 81 h 210"/>
                  <a:gd name="T48" fmla="*/ 35 w 150"/>
                  <a:gd name="T49" fmla="*/ 84 h 210"/>
                  <a:gd name="T50" fmla="*/ 38 w 150"/>
                  <a:gd name="T51" fmla="*/ 88 h 210"/>
                  <a:gd name="T52" fmla="*/ 41 w 150"/>
                  <a:gd name="T53" fmla="*/ 89 h 210"/>
                  <a:gd name="T54" fmla="*/ 45 w 150"/>
                  <a:gd name="T55" fmla="*/ 90 h 210"/>
                  <a:gd name="T56" fmla="*/ 99 w 150"/>
                  <a:gd name="T57" fmla="*/ 90 h 210"/>
                  <a:gd name="T58" fmla="*/ 5 w 150"/>
                  <a:gd name="T59" fmla="*/ 184 h 210"/>
                  <a:gd name="T60" fmla="*/ 4 w 150"/>
                  <a:gd name="T61" fmla="*/ 186 h 210"/>
                  <a:gd name="T62" fmla="*/ 2 w 150"/>
                  <a:gd name="T63" fmla="*/ 189 h 210"/>
                  <a:gd name="T64" fmla="*/ 2 w 150"/>
                  <a:gd name="T65" fmla="*/ 192 h 210"/>
                  <a:gd name="T66" fmla="*/ 0 w 150"/>
                  <a:gd name="T67" fmla="*/ 195 h 210"/>
                  <a:gd name="T68" fmla="*/ 2 w 150"/>
                  <a:gd name="T69" fmla="*/ 198 h 210"/>
                  <a:gd name="T70" fmla="*/ 2 w 150"/>
                  <a:gd name="T71" fmla="*/ 201 h 210"/>
                  <a:gd name="T72" fmla="*/ 4 w 150"/>
                  <a:gd name="T73" fmla="*/ 203 h 210"/>
                  <a:gd name="T74" fmla="*/ 5 w 150"/>
                  <a:gd name="T75" fmla="*/ 205 h 210"/>
                  <a:gd name="T76" fmla="*/ 8 w 150"/>
                  <a:gd name="T77" fmla="*/ 206 h 210"/>
                  <a:gd name="T78" fmla="*/ 10 w 150"/>
                  <a:gd name="T79" fmla="*/ 208 h 210"/>
                  <a:gd name="T80" fmla="*/ 13 w 150"/>
                  <a:gd name="T81" fmla="*/ 208 h 210"/>
                  <a:gd name="T82" fmla="*/ 15 w 150"/>
                  <a:gd name="T83" fmla="*/ 210 h 210"/>
                  <a:gd name="T84" fmla="*/ 19 w 150"/>
                  <a:gd name="T85" fmla="*/ 208 h 210"/>
                  <a:gd name="T86" fmla="*/ 22 w 150"/>
                  <a:gd name="T87" fmla="*/ 208 h 210"/>
                  <a:gd name="T88" fmla="*/ 24 w 150"/>
                  <a:gd name="T89" fmla="*/ 206 h 210"/>
                  <a:gd name="T90" fmla="*/ 26 w 150"/>
                  <a:gd name="T91" fmla="*/ 205 h 210"/>
                  <a:gd name="T92" fmla="*/ 146 w 150"/>
                  <a:gd name="T93" fmla="*/ 85 h 210"/>
                  <a:gd name="T94" fmla="*/ 148 w 150"/>
                  <a:gd name="T95" fmla="*/ 82 h 210"/>
                  <a:gd name="T96" fmla="*/ 150 w 150"/>
                  <a:gd name="T97" fmla="*/ 78 h 210"/>
                  <a:gd name="T98" fmla="*/ 150 w 150"/>
                  <a:gd name="T99" fmla="*/ 74 h 210"/>
                  <a:gd name="T100" fmla="*/ 149 w 150"/>
                  <a:gd name="T101" fmla="*/ 70 h 210"/>
                  <a:gd name="T102" fmla="*/ 147 w 150"/>
                  <a:gd name="T103" fmla="*/ 66 h 210"/>
                  <a:gd name="T104" fmla="*/ 144 w 150"/>
                  <a:gd name="T105" fmla="*/ 63 h 210"/>
                  <a:gd name="T106" fmla="*/ 140 w 150"/>
                  <a:gd name="T107" fmla="*/ 61 h 210"/>
                  <a:gd name="T108" fmla="*/ 135 w 150"/>
                  <a:gd name="T10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10">
                    <a:moveTo>
                      <a:pt x="135" y="60"/>
                    </a:moveTo>
                    <a:lnTo>
                      <a:pt x="82" y="60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9" y="21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3"/>
                    </a:lnTo>
                    <a:lnTo>
                      <a:pt x="119" y="9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2"/>
                    </a:lnTo>
                    <a:lnTo>
                      <a:pt x="95" y="4"/>
                    </a:lnTo>
                    <a:lnTo>
                      <a:pt x="35" y="64"/>
                    </a:lnTo>
                    <a:lnTo>
                      <a:pt x="33" y="68"/>
                    </a:lnTo>
                    <a:lnTo>
                      <a:pt x="32" y="71"/>
                    </a:lnTo>
                    <a:lnTo>
                      <a:pt x="30" y="76"/>
                    </a:lnTo>
                    <a:lnTo>
                      <a:pt x="32" y="81"/>
                    </a:lnTo>
                    <a:lnTo>
                      <a:pt x="35" y="84"/>
                    </a:lnTo>
                    <a:lnTo>
                      <a:pt x="38" y="88"/>
                    </a:lnTo>
                    <a:lnTo>
                      <a:pt x="41" y="89"/>
                    </a:lnTo>
                    <a:lnTo>
                      <a:pt x="45" y="90"/>
                    </a:lnTo>
                    <a:lnTo>
                      <a:pt x="99" y="90"/>
                    </a:lnTo>
                    <a:lnTo>
                      <a:pt x="5" y="184"/>
                    </a:lnTo>
                    <a:lnTo>
                      <a:pt x="4" y="186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0" y="195"/>
                    </a:lnTo>
                    <a:lnTo>
                      <a:pt x="2" y="198"/>
                    </a:lnTo>
                    <a:lnTo>
                      <a:pt x="2" y="201"/>
                    </a:lnTo>
                    <a:lnTo>
                      <a:pt x="4" y="203"/>
                    </a:lnTo>
                    <a:lnTo>
                      <a:pt x="5" y="205"/>
                    </a:lnTo>
                    <a:lnTo>
                      <a:pt x="8" y="206"/>
                    </a:lnTo>
                    <a:lnTo>
                      <a:pt x="10" y="208"/>
                    </a:lnTo>
                    <a:lnTo>
                      <a:pt x="13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2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146" y="85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4"/>
                    </a:lnTo>
                    <a:lnTo>
                      <a:pt x="149" y="70"/>
                    </a:lnTo>
                    <a:lnTo>
                      <a:pt x="147" y="66"/>
                    </a:lnTo>
                    <a:lnTo>
                      <a:pt x="144" y="63"/>
                    </a:lnTo>
                    <a:lnTo>
                      <a:pt x="140" y="61"/>
                    </a:lnTo>
                    <a:lnTo>
                      <a:pt x="13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46">
                <a:extLst>
                  <a:ext uri="{FF2B5EF4-FFF2-40B4-BE49-F238E27FC236}">
                    <a16:creationId xmlns:a16="http://schemas.microsoft.com/office/drawing/2014/main" id="{C0441F2E-9E60-455A-9ADC-FFEB0AB2B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989013"/>
                <a:ext cx="66675" cy="66675"/>
              </a:xfrm>
              <a:custGeom>
                <a:avLst/>
                <a:gdLst>
                  <a:gd name="T0" fmla="*/ 184 w 210"/>
                  <a:gd name="T1" fmla="*/ 4 h 210"/>
                  <a:gd name="T2" fmla="*/ 5 w 210"/>
                  <a:gd name="T3" fmla="*/ 184 h 210"/>
                  <a:gd name="T4" fmla="*/ 2 w 210"/>
                  <a:gd name="T5" fmla="*/ 186 h 210"/>
                  <a:gd name="T6" fmla="*/ 1 w 210"/>
                  <a:gd name="T7" fmla="*/ 189 h 210"/>
                  <a:gd name="T8" fmla="*/ 0 w 210"/>
                  <a:gd name="T9" fmla="*/ 192 h 210"/>
                  <a:gd name="T10" fmla="*/ 0 w 210"/>
                  <a:gd name="T11" fmla="*/ 195 h 210"/>
                  <a:gd name="T12" fmla="*/ 0 w 210"/>
                  <a:gd name="T13" fmla="*/ 198 h 210"/>
                  <a:gd name="T14" fmla="*/ 1 w 210"/>
                  <a:gd name="T15" fmla="*/ 201 h 210"/>
                  <a:gd name="T16" fmla="*/ 2 w 210"/>
                  <a:gd name="T17" fmla="*/ 203 h 210"/>
                  <a:gd name="T18" fmla="*/ 5 w 210"/>
                  <a:gd name="T19" fmla="*/ 205 h 210"/>
                  <a:gd name="T20" fmla="*/ 7 w 210"/>
                  <a:gd name="T21" fmla="*/ 206 h 210"/>
                  <a:gd name="T22" fmla="*/ 10 w 210"/>
                  <a:gd name="T23" fmla="*/ 208 h 210"/>
                  <a:gd name="T24" fmla="*/ 12 w 210"/>
                  <a:gd name="T25" fmla="*/ 208 h 210"/>
                  <a:gd name="T26" fmla="*/ 15 w 210"/>
                  <a:gd name="T27" fmla="*/ 210 h 210"/>
                  <a:gd name="T28" fmla="*/ 19 w 210"/>
                  <a:gd name="T29" fmla="*/ 208 h 210"/>
                  <a:gd name="T30" fmla="*/ 21 w 210"/>
                  <a:gd name="T31" fmla="*/ 208 h 210"/>
                  <a:gd name="T32" fmla="*/ 24 w 210"/>
                  <a:gd name="T33" fmla="*/ 206 h 210"/>
                  <a:gd name="T34" fmla="*/ 26 w 210"/>
                  <a:gd name="T35" fmla="*/ 205 h 210"/>
                  <a:gd name="T36" fmla="*/ 206 w 210"/>
                  <a:gd name="T37" fmla="*/ 25 h 210"/>
                  <a:gd name="T38" fmla="*/ 208 w 210"/>
                  <a:gd name="T39" fmla="*/ 23 h 210"/>
                  <a:gd name="T40" fmla="*/ 209 w 210"/>
                  <a:gd name="T41" fmla="*/ 21 h 210"/>
                  <a:gd name="T42" fmla="*/ 210 w 210"/>
                  <a:gd name="T43" fmla="*/ 18 h 210"/>
                  <a:gd name="T44" fmla="*/ 210 w 210"/>
                  <a:gd name="T45" fmla="*/ 16 h 210"/>
                  <a:gd name="T46" fmla="*/ 210 w 210"/>
                  <a:gd name="T47" fmla="*/ 13 h 210"/>
                  <a:gd name="T48" fmla="*/ 209 w 210"/>
                  <a:gd name="T49" fmla="*/ 9 h 210"/>
                  <a:gd name="T50" fmla="*/ 208 w 210"/>
                  <a:gd name="T51" fmla="*/ 6 h 210"/>
                  <a:gd name="T52" fmla="*/ 206 w 210"/>
                  <a:gd name="T53" fmla="*/ 4 h 210"/>
                  <a:gd name="T54" fmla="*/ 204 w 210"/>
                  <a:gd name="T55" fmla="*/ 2 h 210"/>
                  <a:gd name="T56" fmla="*/ 201 w 210"/>
                  <a:gd name="T57" fmla="*/ 1 h 210"/>
                  <a:gd name="T58" fmla="*/ 198 w 210"/>
                  <a:gd name="T59" fmla="*/ 0 h 210"/>
                  <a:gd name="T60" fmla="*/ 195 w 210"/>
                  <a:gd name="T61" fmla="*/ 0 h 210"/>
                  <a:gd name="T62" fmla="*/ 192 w 210"/>
                  <a:gd name="T63" fmla="*/ 0 h 210"/>
                  <a:gd name="T64" fmla="*/ 190 w 210"/>
                  <a:gd name="T65" fmla="*/ 1 h 210"/>
                  <a:gd name="T66" fmla="*/ 187 w 210"/>
                  <a:gd name="T67" fmla="*/ 2 h 210"/>
                  <a:gd name="T68" fmla="*/ 184 w 210"/>
                  <a:gd name="T69" fmla="*/ 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0" h="210">
                    <a:moveTo>
                      <a:pt x="184" y="4"/>
                    </a:moveTo>
                    <a:lnTo>
                      <a:pt x="5" y="184"/>
                    </a:lnTo>
                    <a:lnTo>
                      <a:pt x="2" y="186"/>
                    </a:lnTo>
                    <a:lnTo>
                      <a:pt x="1" y="189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8"/>
                    </a:lnTo>
                    <a:lnTo>
                      <a:pt x="1" y="201"/>
                    </a:lnTo>
                    <a:lnTo>
                      <a:pt x="2" y="203"/>
                    </a:lnTo>
                    <a:lnTo>
                      <a:pt x="5" y="205"/>
                    </a:lnTo>
                    <a:lnTo>
                      <a:pt x="7" y="206"/>
                    </a:lnTo>
                    <a:lnTo>
                      <a:pt x="10" y="208"/>
                    </a:lnTo>
                    <a:lnTo>
                      <a:pt x="12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206" y="25"/>
                    </a:lnTo>
                    <a:lnTo>
                      <a:pt x="208" y="23"/>
                    </a:lnTo>
                    <a:lnTo>
                      <a:pt x="209" y="21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3"/>
                    </a:lnTo>
                    <a:lnTo>
                      <a:pt x="209" y="9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4" y="2"/>
                    </a:lnTo>
                    <a:lnTo>
                      <a:pt x="201" y="1"/>
                    </a:lnTo>
                    <a:lnTo>
                      <a:pt x="198" y="0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90" y="1"/>
                    </a:lnTo>
                    <a:lnTo>
                      <a:pt x="187" y="2"/>
                    </a:lnTo>
                    <a:lnTo>
                      <a:pt x="18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E90B0863-D73A-45AF-8802-341AAE53647D}"/>
              </a:ext>
            </a:extLst>
          </p:cNvPr>
          <p:cNvGrpSpPr/>
          <p:nvPr/>
        </p:nvGrpSpPr>
        <p:grpSpPr>
          <a:xfrm>
            <a:off x="1944017" y="2572393"/>
            <a:ext cx="418315" cy="418315"/>
            <a:chOff x="4747002" y="3515391"/>
            <a:chExt cx="418315" cy="418315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0AF2CABE-C1B0-4800-AE07-767536AC6FDA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2" name="Group 311">
              <a:extLst>
                <a:ext uri="{FF2B5EF4-FFF2-40B4-BE49-F238E27FC236}">
                  <a16:creationId xmlns:a16="http://schemas.microsoft.com/office/drawing/2014/main" id="{2B0FED67-BC0F-461D-9DD6-EFCA7EA3D75C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313" name="Freeform 63">
                <a:extLst>
                  <a:ext uri="{FF2B5EF4-FFF2-40B4-BE49-F238E27FC236}">
                    <a16:creationId xmlns:a16="http://schemas.microsoft.com/office/drawing/2014/main" id="{A2C4F30B-FF68-4DD7-B5C8-A2E8C8349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64">
                <a:extLst>
                  <a:ext uri="{FF2B5EF4-FFF2-40B4-BE49-F238E27FC236}">
                    <a16:creationId xmlns:a16="http://schemas.microsoft.com/office/drawing/2014/main" id="{A2FA0418-3C43-4438-BC91-86D057264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65">
                <a:extLst>
                  <a:ext uri="{FF2B5EF4-FFF2-40B4-BE49-F238E27FC236}">
                    <a16:creationId xmlns:a16="http://schemas.microsoft.com/office/drawing/2014/main" id="{46D70D26-B1F5-47C3-8A4E-A4BD3E5F2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66">
                <a:extLst>
                  <a:ext uri="{FF2B5EF4-FFF2-40B4-BE49-F238E27FC236}">
                    <a16:creationId xmlns:a16="http://schemas.microsoft.com/office/drawing/2014/main" id="{FC29C72D-DA2C-4934-9DBD-EAF8755E12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67">
                <a:extLst>
                  <a:ext uri="{FF2B5EF4-FFF2-40B4-BE49-F238E27FC236}">
                    <a16:creationId xmlns:a16="http://schemas.microsoft.com/office/drawing/2014/main" id="{8CCA2FB9-01C3-4BCC-A49E-2AC8911EFE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68">
                <a:extLst>
                  <a:ext uri="{FF2B5EF4-FFF2-40B4-BE49-F238E27FC236}">
                    <a16:creationId xmlns:a16="http://schemas.microsoft.com/office/drawing/2014/main" id="{D268AA00-EA11-4537-9BE8-E77478D50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BB480B16-E917-4E26-8CFD-9F3635D8925E}"/>
              </a:ext>
            </a:extLst>
          </p:cNvPr>
          <p:cNvGrpSpPr/>
          <p:nvPr/>
        </p:nvGrpSpPr>
        <p:grpSpPr>
          <a:xfrm>
            <a:off x="4347181" y="3491024"/>
            <a:ext cx="418315" cy="418315"/>
            <a:chOff x="3103103" y="1741116"/>
            <a:chExt cx="418315" cy="418315"/>
          </a:xfrm>
        </p:grpSpPr>
        <p:sp>
          <p:nvSpPr>
            <p:cNvPr id="320" name="Oval 319">
              <a:extLst>
                <a:ext uri="{FF2B5EF4-FFF2-40B4-BE49-F238E27FC236}">
                  <a16:creationId xmlns:a16="http://schemas.microsoft.com/office/drawing/2014/main" id="{B39FA52B-CB99-4DE7-A885-49466C5D522F}"/>
                </a:ext>
              </a:extLst>
            </p:cNvPr>
            <p:cNvSpPr/>
            <p:nvPr/>
          </p:nvSpPr>
          <p:spPr>
            <a:xfrm>
              <a:off x="3103103" y="1741116"/>
              <a:ext cx="418315" cy="41831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1" name="Group 320">
              <a:extLst>
                <a:ext uri="{FF2B5EF4-FFF2-40B4-BE49-F238E27FC236}">
                  <a16:creationId xmlns:a16="http://schemas.microsoft.com/office/drawing/2014/main" id="{9791C1AA-F8AC-45DF-9F53-AFF1EE303D5A}"/>
                </a:ext>
              </a:extLst>
            </p:cNvPr>
            <p:cNvGrpSpPr/>
            <p:nvPr/>
          </p:nvGrpSpPr>
          <p:grpSpPr>
            <a:xfrm>
              <a:off x="3226503" y="1864516"/>
              <a:ext cx="171514" cy="171514"/>
              <a:chOff x="334963" y="769938"/>
              <a:chExt cx="276225" cy="276225"/>
            </a:xfrm>
            <a:solidFill>
              <a:schemeClr val="bg1"/>
            </a:solidFill>
          </p:grpSpPr>
          <p:sp>
            <p:nvSpPr>
              <p:cNvPr id="322" name="Freeform 54">
                <a:extLst>
                  <a:ext uri="{FF2B5EF4-FFF2-40B4-BE49-F238E27FC236}">
                    <a16:creationId xmlns:a16="http://schemas.microsoft.com/office/drawing/2014/main" id="{B3F45C03-7D0D-463B-B44B-EE20A7DAD9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25" y="812800"/>
                <a:ext cx="190500" cy="190500"/>
              </a:xfrm>
              <a:custGeom>
                <a:avLst/>
                <a:gdLst>
                  <a:gd name="T0" fmla="*/ 245 w 599"/>
                  <a:gd name="T1" fmla="*/ 563 h 599"/>
                  <a:gd name="T2" fmla="*/ 182 w 599"/>
                  <a:gd name="T3" fmla="*/ 542 h 599"/>
                  <a:gd name="T4" fmla="*/ 128 w 599"/>
                  <a:gd name="T5" fmla="*/ 508 h 599"/>
                  <a:gd name="T6" fmla="*/ 84 w 599"/>
                  <a:gd name="T7" fmla="*/ 461 h 599"/>
                  <a:gd name="T8" fmla="*/ 52 w 599"/>
                  <a:gd name="T9" fmla="*/ 405 h 599"/>
                  <a:gd name="T10" fmla="*/ 33 w 599"/>
                  <a:gd name="T11" fmla="*/ 341 h 599"/>
                  <a:gd name="T12" fmla="*/ 31 w 599"/>
                  <a:gd name="T13" fmla="*/ 272 h 599"/>
                  <a:gd name="T14" fmla="*/ 46 w 599"/>
                  <a:gd name="T15" fmla="*/ 207 h 599"/>
                  <a:gd name="T16" fmla="*/ 76 w 599"/>
                  <a:gd name="T17" fmla="*/ 149 h 599"/>
                  <a:gd name="T18" fmla="*/ 118 w 599"/>
                  <a:gd name="T19" fmla="*/ 100 h 599"/>
                  <a:gd name="T20" fmla="*/ 171 w 599"/>
                  <a:gd name="T21" fmla="*/ 62 h 599"/>
                  <a:gd name="T22" fmla="*/ 233 w 599"/>
                  <a:gd name="T23" fmla="*/ 39 h 599"/>
                  <a:gd name="T24" fmla="*/ 299 w 599"/>
                  <a:gd name="T25" fmla="*/ 30 h 599"/>
                  <a:gd name="T26" fmla="*/ 366 w 599"/>
                  <a:gd name="T27" fmla="*/ 39 h 599"/>
                  <a:gd name="T28" fmla="*/ 427 w 599"/>
                  <a:gd name="T29" fmla="*/ 62 h 599"/>
                  <a:gd name="T30" fmla="*/ 480 w 599"/>
                  <a:gd name="T31" fmla="*/ 100 h 599"/>
                  <a:gd name="T32" fmla="*/ 523 w 599"/>
                  <a:gd name="T33" fmla="*/ 149 h 599"/>
                  <a:gd name="T34" fmla="*/ 553 w 599"/>
                  <a:gd name="T35" fmla="*/ 207 h 599"/>
                  <a:gd name="T36" fmla="*/ 568 w 599"/>
                  <a:gd name="T37" fmla="*/ 272 h 599"/>
                  <a:gd name="T38" fmla="*/ 566 w 599"/>
                  <a:gd name="T39" fmla="*/ 341 h 599"/>
                  <a:gd name="T40" fmla="*/ 547 w 599"/>
                  <a:gd name="T41" fmla="*/ 405 h 599"/>
                  <a:gd name="T42" fmla="*/ 515 w 599"/>
                  <a:gd name="T43" fmla="*/ 461 h 599"/>
                  <a:gd name="T44" fmla="*/ 470 w 599"/>
                  <a:gd name="T45" fmla="*/ 508 h 599"/>
                  <a:gd name="T46" fmla="*/ 416 w 599"/>
                  <a:gd name="T47" fmla="*/ 542 h 599"/>
                  <a:gd name="T48" fmla="*/ 354 w 599"/>
                  <a:gd name="T49" fmla="*/ 563 h 599"/>
                  <a:gd name="T50" fmla="*/ 299 w 599"/>
                  <a:gd name="T51" fmla="*/ 0 h 599"/>
                  <a:gd name="T52" fmla="*/ 225 w 599"/>
                  <a:gd name="T53" fmla="*/ 10 h 599"/>
                  <a:gd name="T54" fmla="*/ 157 w 599"/>
                  <a:gd name="T55" fmla="*/ 37 h 599"/>
                  <a:gd name="T56" fmla="*/ 98 w 599"/>
                  <a:gd name="T57" fmla="*/ 79 h 599"/>
                  <a:gd name="T58" fmla="*/ 52 w 599"/>
                  <a:gd name="T59" fmla="*/ 132 h 599"/>
                  <a:gd name="T60" fmla="*/ 18 w 599"/>
                  <a:gd name="T61" fmla="*/ 196 h 599"/>
                  <a:gd name="T62" fmla="*/ 1 w 599"/>
                  <a:gd name="T63" fmla="*/ 269 h 599"/>
                  <a:gd name="T64" fmla="*/ 3 w 599"/>
                  <a:gd name="T65" fmla="*/ 345 h 599"/>
                  <a:gd name="T66" fmla="*/ 24 w 599"/>
                  <a:gd name="T67" fmla="*/ 416 h 599"/>
                  <a:gd name="T68" fmla="*/ 59 w 599"/>
                  <a:gd name="T69" fmla="*/ 479 h 599"/>
                  <a:gd name="T70" fmla="*/ 109 w 599"/>
                  <a:gd name="T71" fmla="*/ 530 h 599"/>
                  <a:gd name="T72" fmla="*/ 169 w 599"/>
                  <a:gd name="T73" fmla="*/ 570 h 599"/>
                  <a:gd name="T74" fmla="*/ 239 w 599"/>
                  <a:gd name="T75" fmla="*/ 592 h 599"/>
                  <a:gd name="T76" fmla="*/ 315 w 599"/>
                  <a:gd name="T77" fmla="*/ 599 h 599"/>
                  <a:gd name="T78" fmla="*/ 388 w 599"/>
                  <a:gd name="T79" fmla="*/ 585 h 599"/>
                  <a:gd name="T80" fmla="*/ 454 w 599"/>
                  <a:gd name="T81" fmla="*/ 556 h 599"/>
                  <a:gd name="T82" fmla="*/ 511 w 599"/>
                  <a:gd name="T83" fmla="*/ 511 h 599"/>
                  <a:gd name="T84" fmla="*/ 555 w 599"/>
                  <a:gd name="T85" fmla="*/ 455 h 599"/>
                  <a:gd name="T86" fmla="*/ 585 w 599"/>
                  <a:gd name="T87" fmla="*/ 389 h 599"/>
                  <a:gd name="T88" fmla="*/ 599 w 599"/>
                  <a:gd name="T89" fmla="*/ 315 h 599"/>
                  <a:gd name="T90" fmla="*/ 592 w 599"/>
                  <a:gd name="T91" fmla="*/ 239 h 599"/>
                  <a:gd name="T92" fmla="*/ 569 w 599"/>
                  <a:gd name="T93" fmla="*/ 169 h 599"/>
                  <a:gd name="T94" fmla="*/ 530 w 599"/>
                  <a:gd name="T95" fmla="*/ 110 h 599"/>
                  <a:gd name="T96" fmla="*/ 479 w 599"/>
                  <a:gd name="T97" fmla="*/ 59 h 599"/>
                  <a:gd name="T98" fmla="*/ 416 w 599"/>
                  <a:gd name="T99" fmla="*/ 24 h 599"/>
                  <a:gd name="T100" fmla="*/ 345 w 599"/>
                  <a:gd name="T101" fmla="*/ 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99" h="599">
                    <a:moveTo>
                      <a:pt x="299" y="569"/>
                    </a:moveTo>
                    <a:lnTo>
                      <a:pt x="285" y="569"/>
                    </a:lnTo>
                    <a:lnTo>
                      <a:pt x="272" y="568"/>
                    </a:lnTo>
                    <a:lnTo>
                      <a:pt x="258" y="566"/>
                    </a:lnTo>
                    <a:lnTo>
                      <a:pt x="245" y="563"/>
                    </a:lnTo>
                    <a:lnTo>
                      <a:pt x="233" y="560"/>
                    </a:lnTo>
                    <a:lnTo>
                      <a:pt x="220" y="557"/>
                    </a:lnTo>
                    <a:lnTo>
                      <a:pt x="207" y="553"/>
                    </a:lnTo>
                    <a:lnTo>
                      <a:pt x="194" y="547"/>
                    </a:lnTo>
                    <a:lnTo>
                      <a:pt x="182" y="542"/>
                    </a:lnTo>
                    <a:lnTo>
                      <a:pt x="171" y="537"/>
                    </a:lnTo>
                    <a:lnTo>
                      <a:pt x="160" y="530"/>
                    </a:lnTo>
                    <a:lnTo>
                      <a:pt x="149" y="523"/>
                    </a:lnTo>
                    <a:lnTo>
                      <a:pt x="138" y="515"/>
                    </a:lnTo>
                    <a:lnTo>
                      <a:pt x="128" y="508"/>
                    </a:lnTo>
                    <a:lnTo>
                      <a:pt x="118" y="499"/>
                    </a:lnTo>
                    <a:lnTo>
                      <a:pt x="108" y="491"/>
                    </a:lnTo>
                    <a:lnTo>
                      <a:pt x="100" y="481"/>
                    </a:lnTo>
                    <a:lnTo>
                      <a:pt x="91" y="471"/>
                    </a:lnTo>
                    <a:lnTo>
                      <a:pt x="84" y="461"/>
                    </a:lnTo>
                    <a:lnTo>
                      <a:pt x="76" y="450"/>
                    </a:lnTo>
                    <a:lnTo>
                      <a:pt x="69" y="439"/>
                    </a:lnTo>
                    <a:lnTo>
                      <a:pt x="62" y="429"/>
                    </a:lnTo>
                    <a:lnTo>
                      <a:pt x="57" y="417"/>
                    </a:lnTo>
                    <a:lnTo>
                      <a:pt x="52" y="405"/>
                    </a:lnTo>
                    <a:lnTo>
                      <a:pt x="46" y="392"/>
                    </a:lnTo>
                    <a:lnTo>
                      <a:pt x="42" y="379"/>
                    </a:lnTo>
                    <a:lnTo>
                      <a:pt x="39" y="368"/>
                    </a:lnTo>
                    <a:lnTo>
                      <a:pt x="36" y="354"/>
                    </a:lnTo>
                    <a:lnTo>
                      <a:pt x="33" y="341"/>
                    </a:lnTo>
                    <a:lnTo>
                      <a:pt x="31" y="327"/>
                    </a:lnTo>
                    <a:lnTo>
                      <a:pt x="30" y="313"/>
                    </a:lnTo>
                    <a:lnTo>
                      <a:pt x="30" y="299"/>
                    </a:lnTo>
                    <a:lnTo>
                      <a:pt x="30" y="285"/>
                    </a:lnTo>
                    <a:lnTo>
                      <a:pt x="31" y="272"/>
                    </a:lnTo>
                    <a:lnTo>
                      <a:pt x="33" y="258"/>
                    </a:lnTo>
                    <a:lnTo>
                      <a:pt x="36" y="245"/>
                    </a:lnTo>
                    <a:lnTo>
                      <a:pt x="39" y="233"/>
                    </a:lnTo>
                    <a:lnTo>
                      <a:pt x="42" y="220"/>
                    </a:lnTo>
                    <a:lnTo>
                      <a:pt x="46" y="207"/>
                    </a:lnTo>
                    <a:lnTo>
                      <a:pt x="52" y="195"/>
                    </a:lnTo>
                    <a:lnTo>
                      <a:pt x="57" y="182"/>
                    </a:lnTo>
                    <a:lnTo>
                      <a:pt x="62" y="172"/>
                    </a:lnTo>
                    <a:lnTo>
                      <a:pt x="69" y="160"/>
                    </a:lnTo>
                    <a:lnTo>
                      <a:pt x="76" y="149"/>
                    </a:lnTo>
                    <a:lnTo>
                      <a:pt x="84" y="138"/>
                    </a:lnTo>
                    <a:lnTo>
                      <a:pt x="91" y="129"/>
                    </a:lnTo>
                    <a:lnTo>
                      <a:pt x="100" y="118"/>
                    </a:lnTo>
                    <a:lnTo>
                      <a:pt x="108" y="110"/>
                    </a:lnTo>
                    <a:lnTo>
                      <a:pt x="118" y="100"/>
                    </a:lnTo>
                    <a:lnTo>
                      <a:pt x="128" y="91"/>
                    </a:lnTo>
                    <a:lnTo>
                      <a:pt x="138" y="84"/>
                    </a:lnTo>
                    <a:lnTo>
                      <a:pt x="149" y="76"/>
                    </a:lnTo>
                    <a:lnTo>
                      <a:pt x="160" y="69"/>
                    </a:lnTo>
                    <a:lnTo>
                      <a:pt x="171" y="62"/>
                    </a:lnTo>
                    <a:lnTo>
                      <a:pt x="182" y="57"/>
                    </a:lnTo>
                    <a:lnTo>
                      <a:pt x="194" y="52"/>
                    </a:lnTo>
                    <a:lnTo>
                      <a:pt x="207" y="46"/>
                    </a:lnTo>
                    <a:lnTo>
                      <a:pt x="220" y="42"/>
                    </a:lnTo>
                    <a:lnTo>
                      <a:pt x="233" y="39"/>
                    </a:lnTo>
                    <a:lnTo>
                      <a:pt x="245" y="36"/>
                    </a:lnTo>
                    <a:lnTo>
                      <a:pt x="258" y="34"/>
                    </a:lnTo>
                    <a:lnTo>
                      <a:pt x="272" y="31"/>
                    </a:lnTo>
                    <a:lnTo>
                      <a:pt x="285" y="30"/>
                    </a:lnTo>
                    <a:lnTo>
                      <a:pt x="299" y="30"/>
                    </a:lnTo>
                    <a:lnTo>
                      <a:pt x="313" y="30"/>
                    </a:lnTo>
                    <a:lnTo>
                      <a:pt x="327" y="31"/>
                    </a:lnTo>
                    <a:lnTo>
                      <a:pt x="341" y="34"/>
                    </a:lnTo>
                    <a:lnTo>
                      <a:pt x="354" y="36"/>
                    </a:lnTo>
                    <a:lnTo>
                      <a:pt x="366" y="39"/>
                    </a:lnTo>
                    <a:lnTo>
                      <a:pt x="379" y="42"/>
                    </a:lnTo>
                    <a:lnTo>
                      <a:pt x="392" y="46"/>
                    </a:lnTo>
                    <a:lnTo>
                      <a:pt x="404" y="52"/>
                    </a:lnTo>
                    <a:lnTo>
                      <a:pt x="416" y="57"/>
                    </a:lnTo>
                    <a:lnTo>
                      <a:pt x="427" y="62"/>
                    </a:lnTo>
                    <a:lnTo>
                      <a:pt x="439" y="69"/>
                    </a:lnTo>
                    <a:lnTo>
                      <a:pt x="450" y="76"/>
                    </a:lnTo>
                    <a:lnTo>
                      <a:pt x="461" y="84"/>
                    </a:lnTo>
                    <a:lnTo>
                      <a:pt x="470" y="91"/>
                    </a:lnTo>
                    <a:lnTo>
                      <a:pt x="480" y="100"/>
                    </a:lnTo>
                    <a:lnTo>
                      <a:pt x="490" y="110"/>
                    </a:lnTo>
                    <a:lnTo>
                      <a:pt x="499" y="118"/>
                    </a:lnTo>
                    <a:lnTo>
                      <a:pt x="507" y="129"/>
                    </a:lnTo>
                    <a:lnTo>
                      <a:pt x="515" y="138"/>
                    </a:lnTo>
                    <a:lnTo>
                      <a:pt x="523" y="149"/>
                    </a:lnTo>
                    <a:lnTo>
                      <a:pt x="530" y="160"/>
                    </a:lnTo>
                    <a:lnTo>
                      <a:pt x="537" y="172"/>
                    </a:lnTo>
                    <a:lnTo>
                      <a:pt x="542" y="182"/>
                    </a:lnTo>
                    <a:lnTo>
                      <a:pt x="547" y="195"/>
                    </a:lnTo>
                    <a:lnTo>
                      <a:pt x="553" y="207"/>
                    </a:lnTo>
                    <a:lnTo>
                      <a:pt x="557" y="220"/>
                    </a:lnTo>
                    <a:lnTo>
                      <a:pt x="560" y="233"/>
                    </a:lnTo>
                    <a:lnTo>
                      <a:pt x="563" y="245"/>
                    </a:lnTo>
                    <a:lnTo>
                      <a:pt x="566" y="258"/>
                    </a:lnTo>
                    <a:lnTo>
                      <a:pt x="568" y="272"/>
                    </a:lnTo>
                    <a:lnTo>
                      <a:pt x="569" y="285"/>
                    </a:lnTo>
                    <a:lnTo>
                      <a:pt x="569" y="299"/>
                    </a:lnTo>
                    <a:lnTo>
                      <a:pt x="569" y="313"/>
                    </a:lnTo>
                    <a:lnTo>
                      <a:pt x="568" y="327"/>
                    </a:lnTo>
                    <a:lnTo>
                      <a:pt x="566" y="341"/>
                    </a:lnTo>
                    <a:lnTo>
                      <a:pt x="563" y="354"/>
                    </a:lnTo>
                    <a:lnTo>
                      <a:pt x="560" y="368"/>
                    </a:lnTo>
                    <a:lnTo>
                      <a:pt x="557" y="379"/>
                    </a:lnTo>
                    <a:lnTo>
                      <a:pt x="553" y="392"/>
                    </a:lnTo>
                    <a:lnTo>
                      <a:pt x="547" y="405"/>
                    </a:lnTo>
                    <a:lnTo>
                      <a:pt x="542" y="417"/>
                    </a:lnTo>
                    <a:lnTo>
                      <a:pt x="537" y="429"/>
                    </a:lnTo>
                    <a:lnTo>
                      <a:pt x="530" y="439"/>
                    </a:lnTo>
                    <a:lnTo>
                      <a:pt x="523" y="450"/>
                    </a:lnTo>
                    <a:lnTo>
                      <a:pt x="515" y="461"/>
                    </a:lnTo>
                    <a:lnTo>
                      <a:pt x="507" y="471"/>
                    </a:lnTo>
                    <a:lnTo>
                      <a:pt x="499" y="481"/>
                    </a:lnTo>
                    <a:lnTo>
                      <a:pt x="490" y="491"/>
                    </a:lnTo>
                    <a:lnTo>
                      <a:pt x="480" y="499"/>
                    </a:lnTo>
                    <a:lnTo>
                      <a:pt x="470" y="508"/>
                    </a:lnTo>
                    <a:lnTo>
                      <a:pt x="461" y="515"/>
                    </a:lnTo>
                    <a:lnTo>
                      <a:pt x="450" y="523"/>
                    </a:lnTo>
                    <a:lnTo>
                      <a:pt x="439" y="530"/>
                    </a:lnTo>
                    <a:lnTo>
                      <a:pt x="427" y="537"/>
                    </a:lnTo>
                    <a:lnTo>
                      <a:pt x="416" y="542"/>
                    </a:lnTo>
                    <a:lnTo>
                      <a:pt x="404" y="547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6" y="560"/>
                    </a:lnTo>
                    <a:lnTo>
                      <a:pt x="354" y="563"/>
                    </a:lnTo>
                    <a:lnTo>
                      <a:pt x="341" y="566"/>
                    </a:lnTo>
                    <a:lnTo>
                      <a:pt x="327" y="568"/>
                    </a:lnTo>
                    <a:lnTo>
                      <a:pt x="313" y="569"/>
                    </a:lnTo>
                    <a:lnTo>
                      <a:pt x="299" y="569"/>
                    </a:lnTo>
                    <a:close/>
                    <a:moveTo>
                      <a:pt x="299" y="0"/>
                    </a:moveTo>
                    <a:lnTo>
                      <a:pt x="284" y="0"/>
                    </a:lnTo>
                    <a:lnTo>
                      <a:pt x="269" y="1"/>
                    </a:lnTo>
                    <a:lnTo>
                      <a:pt x="254" y="4"/>
                    </a:lnTo>
                    <a:lnTo>
                      <a:pt x="239" y="6"/>
                    </a:lnTo>
                    <a:lnTo>
                      <a:pt x="225" y="10"/>
                    </a:lnTo>
                    <a:lnTo>
                      <a:pt x="210" y="13"/>
                    </a:lnTo>
                    <a:lnTo>
                      <a:pt x="196" y="19"/>
                    </a:lnTo>
                    <a:lnTo>
                      <a:pt x="183" y="24"/>
                    </a:lnTo>
                    <a:lnTo>
                      <a:pt x="169" y="29"/>
                    </a:lnTo>
                    <a:lnTo>
                      <a:pt x="157" y="37"/>
                    </a:lnTo>
                    <a:lnTo>
                      <a:pt x="144" y="43"/>
                    </a:lnTo>
                    <a:lnTo>
                      <a:pt x="132" y="52"/>
                    </a:lnTo>
                    <a:lnTo>
                      <a:pt x="120" y="59"/>
                    </a:lnTo>
                    <a:lnTo>
                      <a:pt x="109" y="69"/>
                    </a:lnTo>
                    <a:lnTo>
                      <a:pt x="98" y="79"/>
                    </a:lnTo>
                    <a:lnTo>
                      <a:pt x="88" y="88"/>
                    </a:lnTo>
                    <a:lnTo>
                      <a:pt x="77" y="99"/>
                    </a:lnTo>
                    <a:lnTo>
                      <a:pt x="69" y="110"/>
                    </a:lnTo>
                    <a:lnTo>
                      <a:pt x="59" y="120"/>
                    </a:lnTo>
                    <a:lnTo>
                      <a:pt x="52" y="132"/>
                    </a:lnTo>
                    <a:lnTo>
                      <a:pt x="43" y="145"/>
                    </a:lnTo>
                    <a:lnTo>
                      <a:pt x="37" y="157"/>
                    </a:lnTo>
                    <a:lnTo>
                      <a:pt x="29" y="169"/>
                    </a:lnTo>
                    <a:lnTo>
                      <a:pt x="24" y="183"/>
                    </a:lnTo>
                    <a:lnTo>
                      <a:pt x="18" y="196"/>
                    </a:lnTo>
                    <a:lnTo>
                      <a:pt x="13" y="210"/>
                    </a:lnTo>
                    <a:lnTo>
                      <a:pt x="10" y="225"/>
                    </a:lnTo>
                    <a:lnTo>
                      <a:pt x="6" y="239"/>
                    </a:lnTo>
                    <a:lnTo>
                      <a:pt x="3" y="254"/>
                    </a:lnTo>
                    <a:lnTo>
                      <a:pt x="1" y="269"/>
                    </a:lnTo>
                    <a:lnTo>
                      <a:pt x="0" y="284"/>
                    </a:lnTo>
                    <a:lnTo>
                      <a:pt x="0" y="299"/>
                    </a:lnTo>
                    <a:lnTo>
                      <a:pt x="0" y="315"/>
                    </a:lnTo>
                    <a:lnTo>
                      <a:pt x="1" y="330"/>
                    </a:lnTo>
                    <a:lnTo>
                      <a:pt x="3" y="345"/>
                    </a:lnTo>
                    <a:lnTo>
                      <a:pt x="6" y="360"/>
                    </a:lnTo>
                    <a:lnTo>
                      <a:pt x="10" y="374"/>
                    </a:lnTo>
                    <a:lnTo>
                      <a:pt x="13" y="389"/>
                    </a:lnTo>
                    <a:lnTo>
                      <a:pt x="18" y="403"/>
                    </a:lnTo>
                    <a:lnTo>
                      <a:pt x="24" y="416"/>
                    </a:lnTo>
                    <a:lnTo>
                      <a:pt x="29" y="430"/>
                    </a:lnTo>
                    <a:lnTo>
                      <a:pt x="37" y="442"/>
                    </a:lnTo>
                    <a:lnTo>
                      <a:pt x="43" y="455"/>
                    </a:lnTo>
                    <a:lnTo>
                      <a:pt x="52" y="467"/>
                    </a:lnTo>
                    <a:lnTo>
                      <a:pt x="59" y="479"/>
                    </a:lnTo>
                    <a:lnTo>
                      <a:pt x="69" y="491"/>
                    </a:lnTo>
                    <a:lnTo>
                      <a:pt x="77" y="501"/>
                    </a:lnTo>
                    <a:lnTo>
                      <a:pt x="88" y="511"/>
                    </a:lnTo>
                    <a:lnTo>
                      <a:pt x="98" y="522"/>
                    </a:lnTo>
                    <a:lnTo>
                      <a:pt x="109" y="530"/>
                    </a:lnTo>
                    <a:lnTo>
                      <a:pt x="120" y="540"/>
                    </a:lnTo>
                    <a:lnTo>
                      <a:pt x="132" y="547"/>
                    </a:lnTo>
                    <a:lnTo>
                      <a:pt x="144" y="556"/>
                    </a:lnTo>
                    <a:lnTo>
                      <a:pt x="157" y="562"/>
                    </a:lnTo>
                    <a:lnTo>
                      <a:pt x="169" y="570"/>
                    </a:lnTo>
                    <a:lnTo>
                      <a:pt x="183" y="575"/>
                    </a:lnTo>
                    <a:lnTo>
                      <a:pt x="196" y="581"/>
                    </a:lnTo>
                    <a:lnTo>
                      <a:pt x="210" y="585"/>
                    </a:lnTo>
                    <a:lnTo>
                      <a:pt x="225" y="589"/>
                    </a:lnTo>
                    <a:lnTo>
                      <a:pt x="239" y="592"/>
                    </a:lnTo>
                    <a:lnTo>
                      <a:pt x="254" y="596"/>
                    </a:lnTo>
                    <a:lnTo>
                      <a:pt x="269" y="598"/>
                    </a:lnTo>
                    <a:lnTo>
                      <a:pt x="284" y="599"/>
                    </a:lnTo>
                    <a:lnTo>
                      <a:pt x="299" y="599"/>
                    </a:lnTo>
                    <a:lnTo>
                      <a:pt x="315" y="599"/>
                    </a:lnTo>
                    <a:lnTo>
                      <a:pt x="330" y="598"/>
                    </a:lnTo>
                    <a:lnTo>
                      <a:pt x="345" y="596"/>
                    </a:lnTo>
                    <a:lnTo>
                      <a:pt x="360" y="592"/>
                    </a:lnTo>
                    <a:lnTo>
                      <a:pt x="374" y="589"/>
                    </a:lnTo>
                    <a:lnTo>
                      <a:pt x="388" y="585"/>
                    </a:lnTo>
                    <a:lnTo>
                      <a:pt x="402" y="581"/>
                    </a:lnTo>
                    <a:lnTo>
                      <a:pt x="416" y="575"/>
                    </a:lnTo>
                    <a:lnTo>
                      <a:pt x="429" y="570"/>
                    </a:lnTo>
                    <a:lnTo>
                      <a:pt x="442" y="562"/>
                    </a:lnTo>
                    <a:lnTo>
                      <a:pt x="454" y="556"/>
                    </a:lnTo>
                    <a:lnTo>
                      <a:pt x="467" y="547"/>
                    </a:lnTo>
                    <a:lnTo>
                      <a:pt x="479" y="540"/>
                    </a:lnTo>
                    <a:lnTo>
                      <a:pt x="490" y="530"/>
                    </a:lnTo>
                    <a:lnTo>
                      <a:pt x="500" y="522"/>
                    </a:lnTo>
                    <a:lnTo>
                      <a:pt x="511" y="511"/>
                    </a:lnTo>
                    <a:lnTo>
                      <a:pt x="521" y="501"/>
                    </a:lnTo>
                    <a:lnTo>
                      <a:pt x="530" y="491"/>
                    </a:lnTo>
                    <a:lnTo>
                      <a:pt x="539" y="479"/>
                    </a:lnTo>
                    <a:lnTo>
                      <a:pt x="547" y="467"/>
                    </a:lnTo>
                    <a:lnTo>
                      <a:pt x="555" y="455"/>
                    </a:lnTo>
                    <a:lnTo>
                      <a:pt x="562" y="442"/>
                    </a:lnTo>
                    <a:lnTo>
                      <a:pt x="569" y="430"/>
                    </a:lnTo>
                    <a:lnTo>
                      <a:pt x="575" y="416"/>
                    </a:lnTo>
                    <a:lnTo>
                      <a:pt x="581" y="403"/>
                    </a:lnTo>
                    <a:lnTo>
                      <a:pt x="585" y="389"/>
                    </a:lnTo>
                    <a:lnTo>
                      <a:pt x="589" y="374"/>
                    </a:lnTo>
                    <a:lnTo>
                      <a:pt x="592" y="360"/>
                    </a:lnTo>
                    <a:lnTo>
                      <a:pt x="596" y="345"/>
                    </a:lnTo>
                    <a:lnTo>
                      <a:pt x="598" y="330"/>
                    </a:lnTo>
                    <a:lnTo>
                      <a:pt x="599" y="315"/>
                    </a:lnTo>
                    <a:lnTo>
                      <a:pt x="599" y="299"/>
                    </a:lnTo>
                    <a:lnTo>
                      <a:pt x="599" y="284"/>
                    </a:lnTo>
                    <a:lnTo>
                      <a:pt x="598" y="269"/>
                    </a:lnTo>
                    <a:lnTo>
                      <a:pt x="596" y="254"/>
                    </a:lnTo>
                    <a:lnTo>
                      <a:pt x="592" y="239"/>
                    </a:lnTo>
                    <a:lnTo>
                      <a:pt x="589" y="225"/>
                    </a:lnTo>
                    <a:lnTo>
                      <a:pt x="585" y="210"/>
                    </a:lnTo>
                    <a:lnTo>
                      <a:pt x="581" y="196"/>
                    </a:lnTo>
                    <a:lnTo>
                      <a:pt x="575" y="183"/>
                    </a:lnTo>
                    <a:lnTo>
                      <a:pt x="569" y="169"/>
                    </a:lnTo>
                    <a:lnTo>
                      <a:pt x="562" y="157"/>
                    </a:lnTo>
                    <a:lnTo>
                      <a:pt x="555" y="145"/>
                    </a:lnTo>
                    <a:lnTo>
                      <a:pt x="547" y="132"/>
                    </a:lnTo>
                    <a:lnTo>
                      <a:pt x="539" y="120"/>
                    </a:lnTo>
                    <a:lnTo>
                      <a:pt x="530" y="110"/>
                    </a:lnTo>
                    <a:lnTo>
                      <a:pt x="521" y="99"/>
                    </a:lnTo>
                    <a:lnTo>
                      <a:pt x="511" y="88"/>
                    </a:lnTo>
                    <a:lnTo>
                      <a:pt x="500" y="79"/>
                    </a:lnTo>
                    <a:lnTo>
                      <a:pt x="490" y="69"/>
                    </a:lnTo>
                    <a:lnTo>
                      <a:pt x="479" y="59"/>
                    </a:lnTo>
                    <a:lnTo>
                      <a:pt x="467" y="52"/>
                    </a:lnTo>
                    <a:lnTo>
                      <a:pt x="454" y="43"/>
                    </a:lnTo>
                    <a:lnTo>
                      <a:pt x="442" y="37"/>
                    </a:lnTo>
                    <a:lnTo>
                      <a:pt x="429" y="29"/>
                    </a:lnTo>
                    <a:lnTo>
                      <a:pt x="416" y="24"/>
                    </a:lnTo>
                    <a:lnTo>
                      <a:pt x="402" y="19"/>
                    </a:lnTo>
                    <a:lnTo>
                      <a:pt x="388" y="13"/>
                    </a:lnTo>
                    <a:lnTo>
                      <a:pt x="374" y="10"/>
                    </a:lnTo>
                    <a:lnTo>
                      <a:pt x="360" y="6"/>
                    </a:lnTo>
                    <a:lnTo>
                      <a:pt x="345" y="4"/>
                    </a:lnTo>
                    <a:lnTo>
                      <a:pt x="330" y="1"/>
                    </a:lnTo>
                    <a:lnTo>
                      <a:pt x="315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55">
                <a:extLst>
                  <a:ext uri="{FF2B5EF4-FFF2-40B4-BE49-F238E27FC236}">
                    <a16:creationId xmlns:a16="http://schemas.microsoft.com/office/drawing/2014/main" id="{4533F8F4-F716-4E0B-BC1C-D542CDD4BD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8 w 90"/>
                  <a:gd name="T7" fmla="*/ 2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30 h 30"/>
                  <a:gd name="T40" fmla="*/ 80 w 90"/>
                  <a:gd name="T41" fmla="*/ 29 h 30"/>
                  <a:gd name="T42" fmla="*/ 83 w 90"/>
                  <a:gd name="T43" fmla="*/ 28 h 30"/>
                  <a:gd name="T44" fmla="*/ 85 w 90"/>
                  <a:gd name="T45" fmla="*/ 26 h 30"/>
                  <a:gd name="T46" fmla="*/ 86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6 w 90"/>
                  <a:gd name="T59" fmla="*/ 8 h 30"/>
                  <a:gd name="T60" fmla="*/ 85 w 90"/>
                  <a:gd name="T61" fmla="*/ 5 h 30"/>
                  <a:gd name="T62" fmla="*/ 83 w 90"/>
                  <a:gd name="T63" fmla="*/ 3 h 30"/>
                  <a:gd name="T64" fmla="*/ 80 w 90"/>
                  <a:gd name="T65" fmla="*/ 2 h 30"/>
                  <a:gd name="T66" fmla="*/ 78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6" y="8"/>
                    </a:lnTo>
                    <a:lnTo>
                      <a:pt x="85" y="5"/>
                    </a:lnTo>
                    <a:lnTo>
                      <a:pt x="83" y="3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56">
                <a:extLst>
                  <a:ext uri="{FF2B5EF4-FFF2-40B4-BE49-F238E27FC236}">
                    <a16:creationId xmlns:a16="http://schemas.microsoft.com/office/drawing/2014/main" id="{DFC354C7-DCFC-4C5B-BB17-1A9262CE9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769938"/>
                <a:ext cx="9525" cy="28575"/>
              </a:xfrm>
              <a:custGeom>
                <a:avLst/>
                <a:gdLst>
                  <a:gd name="T0" fmla="*/ 15 w 30"/>
                  <a:gd name="T1" fmla="*/ 89 h 89"/>
                  <a:gd name="T2" fmla="*/ 18 w 30"/>
                  <a:gd name="T3" fmla="*/ 89 h 89"/>
                  <a:gd name="T4" fmla="*/ 21 w 30"/>
                  <a:gd name="T5" fmla="*/ 88 h 89"/>
                  <a:gd name="T6" fmla="*/ 24 w 30"/>
                  <a:gd name="T7" fmla="*/ 87 h 89"/>
                  <a:gd name="T8" fmla="*/ 26 w 30"/>
                  <a:gd name="T9" fmla="*/ 85 h 89"/>
                  <a:gd name="T10" fmla="*/ 28 w 30"/>
                  <a:gd name="T11" fmla="*/ 83 h 89"/>
                  <a:gd name="T12" fmla="*/ 29 w 30"/>
                  <a:gd name="T13" fmla="*/ 81 h 89"/>
                  <a:gd name="T14" fmla="*/ 30 w 30"/>
                  <a:gd name="T15" fmla="*/ 78 h 89"/>
                  <a:gd name="T16" fmla="*/ 30 w 30"/>
                  <a:gd name="T17" fmla="*/ 74 h 89"/>
                  <a:gd name="T18" fmla="*/ 30 w 30"/>
                  <a:gd name="T19" fmla="*/ 14 h 89"/>
                  <a:gd name="T20" fmla="*/ 30 w 30"/>
                  <a:gd name="T21" fmla="*/ 11 h 89"/>
                  <a:gd name="T22" fmla="*/ 29 w 30"/>
                  <a:gd name="T23" fmla="*/ 9 h 89"/>
                  <a:gd name="T24" fmla="*/ 28 w 30"/>
                  <a:gd name="T25" fmla="*/ 6 h 89"/>
                  <a:gd name="T26" fmla="*/ 26 w 30"/>
                  <a:gd name="T27" fmla="*/ 4 h 89"/>
                  <a:gd name="T28" fmla="*/ 24 w 30"/>
                  <a:gd name="T29" fmla="*/ 2 h 89"/>
                  <a:gd name="T30" fmla="*/ 21 w 30"/>
                  <a:gd name="T31" fmla="*/ 1 h 89"/>
                  <a:gd name="T32" fmla="*/ 18 w 30"/>
                  <a:gd name="T33" fmla="*/ 0 h 89"/>
                  <a:gd name="T34" fmla="*/ 15 w 30"/>
                  <a:gd name="T35" fmla="*/ 0 h 89"/>
                  <a:gd name="T36" fmla="*/ 13 w 30"/>
                  <a:gd name="T37" fmla="*/ 0 h 89"/>
                  <a:gd name="T38" fmla="*/ 10 w 30"/>
                  <a:gd name="T39" fmla="*/ 1 h 89"/>
                  <a:gd name="T40" fmla="*/ 7 w 30"/>
                  <a:gd name="T41" fmla="*/ 2 h 89"/>
                  <a:gd name="T42" fmla="*/ 4 w 30"/>
                  <a:gd name="T43" fmla="*/ 4 h 89"/>
                  <a:gd name="T44" fmla="*/ 3 w 30"/>
                  <a:gd name="T45" fmla="*/ 6 h 89"/>
                  <a:gd name="T46" fmla="*/ 1 w 30"/>
                  <a:gd name="T47" fmla="*/ 9 h 89"/>
                  <a:gd name="T48" fmla="*/ 1 w 30"/>
                  <a:gd name="T49" fmla="*/ 11 h 89"/>
                  <a:gd name="T50" fmla="*/ 0 w 30"/>
                  <a:gd name="T51" fmla="*/ 14 h 89"/>
                  <a:gd name="T52" fmla="*/ 0 w 30"/>
                  <a:gd name="T53" fmla="*/ 74 h 89"/>
                  <a:gd name="T54" fmla="*/ 1 w 30"/>
                  <a:gd name="T55" fmla="*/ 78 h 89"/>
                  <a:gd name="T56" fmla="*/ 1 w 30"/>
                  <a:gd name="T57" fmla="*/ 81 h 89"/>
                  <a:gd name="T58" fmla="*/ 3 w 30"/>
                  <a:gd name="T59" fmla="*/ 83 h 89"/>
                  <a:gd name="T60" fmla="*/ 4 w 30"/>
                  <a:gd name="T61" fmla="*/ 85 h 89"/>
                  <a:gd name="T62" fmla="*/ 7 w 30"/>
                  <a:gd name="T63" fmla="*/ 87 h 89"/>
                  <a:gd name="T64" fmla="*/ 10 w 30"/>
                  <a:gd name="T65" fmla="*/ 88 h 89"/>
                  <a:gd name="T66" fmla="*/ 13 w 30"/>
                  <a:gd name="T67" fmla="*/ 89 h 89"/>
                  <a:gd name="T68" fmla="*/ 15 w 30"/>
                  <a:gd name="T6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89">
                    <a:moveTo>
                      <a:pt x="15" y="89"/>
                    </a:moveTo>
                    <a:lnTo>
                      <a:pt x="18" y="89"/>
                    </a:lnTo>
                    <a:lnTo>
                      <a:pt x="21" y="88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8"/>
                    </a:lnTo>
                    <a:lnTo>
                      <a:pt x="13" y="89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57">
                <a:extLst>
                  <a:ext uri="{FF2B5EF4-FFF2-40B4-BE49-F238E27FC236}">
                    <a16:creationId xmlns:a16="http://schemas.microsoft.com/office/drawing/2014/main" id="{E01D56C3-FC78-4E13-974C-9959E237C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9 w 90"/>
                  <a:gd name="T7" fmla="*/ 2 h 30"/>
                  <a:gd name="T8" fmla="*/ 7 w 90"/>
                  <a:gd name="T9" fmla="*/ 3 h 30"/>
                  <a:gd name="T10" fmla="*/ 5 w 90"/>
                  <a:gd name="T11" fmla="*/ 5 h 30"/>
                  <a:gd name="T12" fmla="*/ 3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3 w 90"/>
                  <a:gd name="T25" fmla="*/ 24 h 30"/>
                  <a:gd name="T26" fmla="*/ 5 w 90"/>
                  <a:gd name="T27" fmla="*/ 26 h 30"/>
                  <a:gd name="T28" fmla="*/ 7 w 90"/>
                  <a:gd name="T29" fmla="*/ 28 h 30"/>
                  <a:gd name="T30" fmla="*/ 9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9 w 90"/>
                  <a:gd name="T39" fmla="*/ 30 h 30"/>
                  <a:gd name="T40" fmla="*/ 81 w 90"/>
                  <a:gd name="T41" fmla="*/ 29 h 30"/>
                  <a:gd name="T42" fmla="*/ 84 w 90"/>
                  <a:gd name="T43" fmla="*/ 28 h 30"/>
                  <a:gd name="T44" fmla="*/ 86 w 90"/>
                  <a:gd name="T45" fmla="*/ 26 h 30"/>
                  <a:gd name="T46" fmla="*/ 87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7 w 90"/>
                  <a:gd name="T59" fmla="*/ 8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2 h 30"/>
                  <a:gd name="T66" fmla="*/ 79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58">
                <a:extLst>
                  <a:ext uri="{FF2B5EF4-FFF2-40B4-BE49-F238E27FC236}">
                    <a16:creationId xmlns:a16="http://schemas.microsoft.com/office/drawing/2014/main" id="{040313F9-57D0-43AE-8B1F-198A65A7A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1017588"/>
                <a:ext cx="9525" cy="28575"/>
              </a:xfrm>
              <a:custGeom>
                <a:avLst/>
                <a:gdLst>
                  <a:gd name="T0" fmla="*/ 15 w 30"/>
                  <a:gd name="T1" fmla="*/ 0 h 90"/>
                  <a:gd name="T2" fmla="*/ 13 w 30"/>
                  <a:gd name="T3" fmla="*/ 0 h 90"/>
                  <a:gd name="T4" fmla="*/ 10 w 30"/>
                  <a:gd name="T5" fmla="*/ 1 h 90"/>
                  <a:gd name="T6" fmla="*/ 7 w 30"/>
                  <a:gd name="T7" fmla="*/ 2 h 90"/>
                  <a:gd name="T8" fmla="*/ 4 w 30"/>
                  <a:gd name="T9" fmla="*/ 4 h 90"/>
                  <a:gd name="T10" fmla="*/ 3 w 30"/>
                  <a:gd name="T11" fmla="*/ 6 h 90"/>
                  <a:gd name="T12" fmla="*/ 1 w 30"/>
                  <a:gd name="T13" fmla="*/ 9 h 90"/>
                  <a:gd name="T14" fmla="*/ 1 w 30"/>
                  <a:gd name="T15" fmla="*/ 11 h 90"/>
                  <a:gd name="T16" fmla="*/ 0 w 30"/>
                  <a:gd name="T17" fmla="*/ 15 h 90"/>
                  <a:gd name="T18" fmla="*/ 0 w 30"/>
                  <a:gd name="T19" fmla="*/ 75 h 90"/>
                  <a:gd name="T20" fmla="*/ 1 w 30"/>
                  <a:gd name="T21" fmla="*/ 78 h 90"/>
                  <a:gd name="T22" fmla="*/ 1 w 30"/>
                  <a:gd name="T23" fmla="*/ 81 h 90"/>
                  <a:gd name="T24" fmla="*/ 3 w 30"/>
                  <a:gd name="T25" fmla="*/ 83 h 90"/>
                  <a:gd name="T26" fmla="*/ 4 w 30"/>
                  <a:gd name="T27" fmla="*/ 85 h 90"/>
                  <a:gd name="T28" fmla="*/ 7 w 30"/>
                  <a:gd name="T29" fmla="*/ 87 h 90"/>
                  <a:gd name="T30" fmla="*/ 10 w 30"/>
                  <a:gd name="T31" fmla="*/ 89 h 90"/>
                  <a:gd name="T32" fmla="*/ 13 w 30"/>
                  <a:gd name="T33" fmla="*/ 90 h 90"/>
                  <a:gd name="T34" fmla="*/ 15 w 30"/>
                  <a:gd name="T35" fmla="*/ 90 h 90"/>
                  <a:gd name="T36" fmla="*/ 18 w 30"/>
                  <a:gd name="T37" fmla="*/ 90 h 90"/>
                  <a:gd name="T38" fmla="*/ 21 w 30"/>
                  <a:gd name="T39" fmla="*/ 89 h 90"/>
                  <a:gd name="T40" fmla="*/ 24 w 30"/>
                  <a:gd name="T41" fmla="*/ 87 h 90"/>
                  <a:gd name="T42" fmla="*/ 26 w 30"/>
                  <a:gd name="T43" fmla="*/ 85 h 90"/>
                  <a:gd name="T44" fmla="*/ 28 w 30"/>
                  <a:gd name="T45" fmla="*/ 83 h 90"/>
                  <a:gd name="T46" fmla="*/ 29 w 30"/>
                  <a:gd name="T47" fmla="*/ 81 h 90"/>
                  <a:gd name="T48" fmla="*/ 30 w 30"/>
                  <a:gd name="T49" fmla="*/ 78 h 90"/>
                  <a:gd name="T50" fmla="*/ 30 w 30"/>
                  <a:gd name="T51" fmla="*/ 75 h 90"/>
                  <a:gd name="T52" fmla="*/ 30 w 30"/>
                  <a:gd name="T53" fmla="*/ 15 h 90"/>
                  <a:gd name="T54" fmla="*/ 30 w 30"/>
                  <a:gd name="T55" fmla="*/ 11 h 90"/>
                  <a:gd name="T56" fmla="*/ 29 w 30"/>
                  <a:gd name="T57" fmla="*/ 9 h 90"/>
                  <a:gd name="T58" fmla="*/ 28 w 30"/>
                  <a:gd name="T59" fmla="*/ 6 h 90"/>
                  <a:gd name="T60" fmla="*/ 26 w 30"/>
                  <a:gd name="T61" fmla="*/ 4 h 90"/>
                  <a:gd name="T62" fmla="*/ 24 w 30"/>
                  <a:gd name="T63" fmla="*/ 2 h 90"/>
                  <a:gd name="T64" fmla="*/ 21 w 30"/>
                  <a:gd name="T65" fmla="*/ 1 h 90"/>
                  <a:gd name="T66" fmla="*/ 18 w 30"/>
                  <a:gd name="T67" fmla="*/ 0 h 90"/>
                  <a:gd name="T68" fmla="*/ 15 w 30"/>
                  <a:gd name="T6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0"/>
                    </a:move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" y="90"/>
                    </a:lnTo>
                    <a:lnTo>
                      <a:pt x="21" y="89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59">
                <a:extLst>
                  <a:ext uri="{FF2B5EF4-FFF2-40B4-BE49-F238E27FC236}">
                    <a16:creationId xmlns:a16="http://schemas.microsoft.com/office/drawing/2014/main" id="{06372B30-C393-4062-8A47-466360AA7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809625"/>
                <a:ext cx="22225" cy="22225"/>
              </a:xfrm>
              <a:custGeom>
                <a:avLst/>
                <a:gdLst>
                  <a:gd name="T0" fmla="*/ 46 w 72"/>
                  <a:gd name="T1" fmla="*/ 4 h 72"/>
                  <a:gd name="T2" fmla="*/ 4 w 72"/>
                  <a:gd name="T3" fmla="*/ 47 h 72"/>
                  <a:gd name="T4" fmla="*/ 2 w 72"/>
                  <a:gd name="T5" fmla="*/ 49 h 72"/>
                  <a:gd name="T6" fmla="*/ 1 w 72"/>
                  <a:gd name="T7" fmla="*/ 52 h 72"/>
                  <a:gd name="T8" fmla="*/ 0 w 72"/>
                  <a:gd name="T9" fmla="*/ 54 h 72"/>
                  <a:gd name="T10" fmla="*/ 0 w 72"/>
                  <a:gd name="T11" fmla="*/ 57 h 72"/>
                  <a:gd name="T12" fmla="*/ 0 w 72"/>
                  <a:gd name="T13" fmla="*/ 61 h 72"/>
                  <a:gd name="T14" fmla="*/ 1 w 72"/>
                  <a:gd name="T15" fmla="*/ 63 h 72"/>
                  <a:gd name="T16" fmla="*/ 2 w 72"/>
                  <a:gd name="T17" fmla="*/ 66 h 72"/>
                  <a:gd name="T18" fmla="*/ 4 w 72"/>
                  <a:gd name="T19" fmla="*/ 68 h 72"/>
                  <a:gd name="T20" fmla="*/ 6 w 72"/>
                  <a:gd name="T21" fmla="*/ 70 h 72"/>
                  <a:gd name="T22" fmla="*/ 8 w 72"/>
                  <a:gd name="T23" fmla="*/ 71 h 72"/>
                  <a:gd name="T24" fmla="*/ 12 w 72"/>
                  <a:gd name="T25" fmla="*/ 72 h 72"/>
                  <a:gd name="T26" fmla="*/ 15 w 72"/>
                  <a:gd name="T27" fmla="*/ 72 h 72"/>
                  <a:gd name="T28" fmla="*/ 17 w 72"/>
                  <a:gd name="T29" fmla="*/ 72 h 72"/>
                  <a:gd name="T30" fmla="*/ 20 w 72"/>
                  <a:gd name="T31" fmla="*/ 71 h 72"/>
                  <a:gd name="T32" fmla="*/ 22 w 72"/>
                  <a:gd name="T33" fmla="*/ 70 h 72"/>
                  <a:gd name="T34" fmla="*/ 25 w 72"/>
                  <a:gd name="T35" fmla="*/ 68 h 72"/>
                  <a:gd name="T36" fmla="*/ 67 w 72"/>
                  <a:gd name="T37" fmla="*/ 24 h 72"/>
                  <a:gd name="T38" fmla="*/ 69 w 72"/>
                  <a:gd name="T39" fmla="*/ 22 h 72"/>
                  <a:gd name="T40" fmla="*/ 70 w 72"/>
                  <a:gd name="T41" fmla="*/ 20 h 72"/>
                  <a:gd name="T42" fmla="*/ 72 w 72"/>
                  <a:gd name="T43" fmla="*/ 18 h 72"/>
                  <a:gd name="T44" fmla="*/ 72 w 72"/>
                  <a:gd name="T45" fmla="*/ 15 h 72"/>
                  <a:gd name="T46" fmla="*/ 72 w 72"/>
                  <a:gd name="T47" fmla="*/ 11 h 72"/>
                  <a:gd name="T48" fmla="*/ 70 w 72"/>
                  <a:gd name="T49" fmla="*/ 9 h 72"/>
                  <a:gd name="T50" fmla="*/ 69 w 72"/>
                  <a:gd name="T51" fmla="*/ 6 h 72"/>
                  <a:gd name="T52" fmla="*/ 67 w 72"/>
                  <a:gd name="T53" fmla="*/ 4 h 72"/>
                  <a:gd name="T54" fmla="*/ 65 w 72"/>
                  <a:gd name="T55" fmla="*/ 2 h 72"/>
                  <a:gd name="T56" fmla="*/ 62 w 72"/>
                  <a:gd name="T57" fmla="*/ 1 h 72"/>
                  <a:gd name="T58" fmla="*/ 60 w 72"/>
                  <a:gd name="T59" fmla="*/ 0 h 72"/>
                  <a:gd name="T60" fmla="*/ 57 w 72"/>
                  <a:gd name="T61" fmla="*/ 0 h 72"/>
                  <a:gd name="T62" fmla="*/ 53 w 72"/>
                  <a:gd name="T63" fmla="*/ 0 h 72"/>
                  <a:gd name="T64" fmla="*/ 51 w 72"/>
                  <a:gd name="T65" fmla="*/ 1 h 72"/>
                  <a:gd name="T66" fmla="*/ 48 w 72"/>
                  <a:gd name="T67" fmla="*/ 2 h 72"/>
                  <a:gd name="T68" fmla="*/ 46 w 72"/>
                  <a:gd name="T69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46" y="4"/>
                    </a:moveTo>
                    <a:lnTo>
                      <a:pt x="4" y="47"/>
                    </a:lnTo>
                    <a:lnTo>
                      <a:pt x="2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" y="63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8" y="71"/>
                    </a:lnTo>
                    <a:lnTo>
                      <a:pt x="12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20" y="71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67" y="24"/>
                    </a:lnTo>
                    <a:lnTo>
                      <a:pt x="69" y="22"/>
                    </a:lnTo>
                    <a:lnTo>
                      <a:pt x="70" y="20"/>
                    </a:lnTo>
                    <a:lnTo>
                      <a:pt x="72" y="18"/>
                    </a:lnTo>
                    <a:lnTo>
                      <a:pt x="72" y="15"/>
                    </a:lnTo>
                    <a:lnTo>
                      <a:pt x="72" y="11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60">
                <a:extLst>
                  <a:ext uri="{FF2B5EF4-FFF2-40B4-BE49-F238E27FC236}">
                    <a16:creationId xmlns:a16="http://schemas.microsoft.com/office/drawing/2014/main" id="{745B17E2-A2A9-4AD6-A2DA-037FA0D01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809625"/>
                <a:ext cx="22225" cy="22225"/>
              </a:xfrm>
              <a:custGeom>
                <a:avLst/>
                <a:gdLst>
                  <a:gd name="T0" fmla="*/ 46 w 71"/>
                  <a:gd name="T1" fmla="*/ 68 h 72"/>
                  <a:gd name="T2" fmla="*/ 48 w 71"/>
                  <a:gd name="T3" fmla="*/ 70 h 72"/>
                  <a:gd name="T4" fmla="*/ 51 w 71"/>
                  <a:gd name="T5" fmla="*/ 71 h 72"/>
                  <a:gd name="T6" fmla="*/ 53 w 71"/>
                  <a:gd name="T7" fmla="*/ 72 h 72"/>
                  <a:gd name="T8" fmla="*/ 56 w 71"/>
                  <a:gd name="T9" fmla="*/ 72 h 72"/>
                  <a:gd name="T10" fmla="*/ 59 w 71"/>
                  <a:gd name="T11" fmla="*/ 72 h 72"/>
                  <a:gd name="T12" fmla="*/ 62 w 71"/>
                  <a:gd name="T13" fmla="*/ 71 h 72"/>
                  <a:gd name="T14" fmla="*/ 65 w 71"/>
                  <a:gd name="T15" fmla="*/ 70 h 72"/>
                  <a:gd name="T16" fmla="*/ 67 w 71"/>
                  <a:gd name="T17" fmla="*/ 68 h 72"/>
                  <a:gd name="T18" fmla="*/ 69 w 71"/>
                  <a:gd name="T19" fmla="*/ 66 h 72"/>
                  <a:gd name="T20" fmla="*/ 70 w 71"/>
                  <a:gd name="T21" fmla="*/ 63 h 72"/>
                  <a:gd name="T22" fmla="*/ 71 w 71"/>
                  <a:gd name="T23" fmla="*/ 61 h 72"/>
                  <a:gd name="T24" fmla="*/ 71 w 71"/>
                  <a:gd name="T25" fmla="*/ 57 h 72"/>
                  <a:gd name="T26" fmla="*/ 71 w 71"/>
                  <a:gd name="T27" fmla="*/ 54 h 72"/>
                  <a:gd name="T28" fmla="*/ 70 w 71"/>
                  <a:gd name="T29" fmla="*/ 52 h 72"/>
                  <a:gd name="T30" fmla="*/ 69 w 71"/>
                  <a:gd name="T31" fmla="*/ 50 h 72"/>
                  <a:gd name="T32" fmla="*/ 67 w 71"/>
                  <a:gd name="T33" fmla="*/ 47 h 72"/>
                  <a:gd name="T34" fmla="*/ 24 w 71"/>
                  <a:gd name="T35" fmla="*/ 4 h 72"/>
                  <a:gd name="T36" fmla="*/ 22 w 71"/>
                  <a:gd name="T37" fmla="*/ 2 h 72"/>
                  <a:gd name="T38" fmla="*/ 20 w 71"/>
                  <a:gd name="T39" fmla="*/ 1 h 72"/>
                  <a:gd name="T40" fmla="*/ 17 w 71"/>
                  <a:gd name="T41" fmla="*/ 0 h 72"/>
                  <a:gd name="T42" fmla="*/ 14 w 71"/>
                  <a:gd name="T43" fmla="*/ 0 h 72"/>
                  <a:gd name="T44" fmla="*/ 11 w 71"/>
                  <a:gd name="T45" fmla="*/ 0 h 72"/>
                  <a:gd name="T46" fmla="*/ 8 w 71"/>
                  <a:gd name="T47" fmla="*/ 1 h 72"/>
                  <a:gd name="T48" fmla="*/ 6 w 71"/>
                  <a:gd name="T49" fmla="*/ 2 h 72"/>
                  <a:gd name="T50" fmla="*/ 4 w 71"/>
                  <a:gd name="T51" fmla="*/ 4 h 72"/>
                  <a:gd name="T52" fmla="*/ 2 w 71"/>
                  <a:gd name="T53" fmla="*/ 6 h 72"/>
                  <a:gd name="T54" fmla="*/ 1 w 71"/>
                  <a:gd name="T55" fmla="*/ 9 h 72"/>
                  <a:gd name="T56" fmla="*/ 0 w 71"/>
                  <a:gd name="T57" fmla="*/ 11 h 72"/>
                  <a:gd name="T58" fmla="*/ 0 w 71"/>
                  <a:gd name="T59" fmla="*/ 15 h 72"/>
                  <a:gd name="T60" fmla="*/ 0 w 71"/>
                  <a:gd name="T61" fmla="*/ 18 h 72"/>
                  <a:gd name="T62" fmla="*/ 1 w 71"/>
                  <a:gd name="T63" fmla="*/ 20 h 72"/>
                  <a:gd name="T64" fmla="*/ 2 w 71"/>
                  <a:gd name="T65" fmla="*/ 23 h 72"/>
                  <a:gd name="T66" fmla="*/ 4 w 71"/>
                  <a:gd name="T67" fmla="*/ 24 h 72"/>
                  <a:gd name="T68" fmla="*/ 46 w 71"/>
                  <a:gd name="T69" fmla="*/ 6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2">
                    <a:moveTo>
                      <a:pt x="46" y="68"/>
                    </a:moveTo>
                    <a:lnTo>
                      <a:pt x="48" y="70"/>
                    </a:lnTo>
                    <a:lnTo>
                      <a:pt x="51" y="71"/>
                    </a:lnTo>
                    <a:lnTo>
                      <a:pt x="53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2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4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7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4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61">
                <a:extLst>
                  <a:ext uri="{FF2B5EF4-FFF2-40B4-BE49-F238E27FC236}">
                    <a16:creationId xmlns:a16="http://schemas.microsoft.com/office/drawing/2014/main" id="{2AA0E057-8438-4B60-9DEE-E8FA614067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84250"/>
                <a:ext cx="22225" cy="22225"/>
              </a:xfrm>
              <a:custGeom>
                <a:avLst/>
                <a:gdLst>
                  <a:gd name="T0" fmla="*/ 46 w 71"/>
                  <a:gd name="T1" fmla="*/ 4 h 71"/>
                  <a:gd name="T2" fmla="*/ 4 w 71"/>
                  <a:gd name="T3" fmla="*/ 46 h 71"/>
                  <a:gd name="T4" fmla="*/ 2 w 71"/>
                  <a:gd name="T5" fmla="*/ 49 h 71"/>
                  <a:gd name="T6" fmla="*/ 1 w 71"/>
                  <a:gd name="T7" fmla="*/ 51 h 71"/>
                  <a:gd name="T8" fmla="*/ 0 w 71"/>
                  <a:gd name="T9" fmla="*/ 54 h 71"/>
                  <a:gd name="T10" fmla="*/ 0 w 71"/>
                  <a:gd name="T11" fmla="*/ 58 h 71"/>
                  <a:gd name="T12" fmla="*/ 0 w 71"/>
                  <a:gd name="T13" fmla="*/ 60 h 71"/>
                  <a:gd name="T14" fmla="*/ 1 w 71"/>
                  <a:gd name="T15" fmla="*/ 63 h 71"/>
                  <a:gd name="T16" fmla="*/ 2 w 71"/>
                  <a:gd name="T17" fmla="*/ 65 h 71"/>
                  <a:gd name="T18" fmla="*/ 4 w 71"/>
                  <a:gd name="T19" fmla="*/ 67 h 71"/>
                  <a:gd name="T20" fmla="*/ 6 w 71"/>
                  <a:gd name="T21" fmla="*/ 69 h 71"/>
                  <a:gd name="T22" fmla="*/ 8 w 71"/>
                  <a:gd name="T23" fmla="*/ 70 h 71"/>
                  <a:gd name="T24" fmla="*/ 11 w 71"/>
                  <a:gd name="T25" fmla="*/ 71 h 71"/>
                  <a:gd name="T26" fmla="*/ 14 w 71"/>
                  <a:gd name="T27" fmla="*/ 71 h 71"/>
                  <a:gd name="T28" fmla="*/ 17 w 71"/>
                  <a:gd name="T29" fmla="*/ 71 h 71"/>
                  <a:gd name="T30" fmla="*/ 20 w 71"/>
                  <a:gd name="T31" fmla="*/ 70 h 71"/>
                  <a:gd name="T32" fmla="*/ 22 w 71"/>
                  <a:gd name="T33" fmla="*/ 69 h 71"/>
                  <a:gd name="T34" fmla="*/ 24 w 71"/>
                  <a:gd name="T35" fmla="*/ 67 h 71"/>
                  <a:gd name="T36" fmla="*/ 67 w 71"/>
                  <a:gd name="T37" fmla="*/ 25 h 71"/>
                  <a:gd name="T38" fmla="*/ 69 w 71"/>
                  <a:gd name="T39" fmla="*/ 23 h 71"/>
                  <a:gd name="T40" fmla="*/ 70 w 71"/>
                  <a:gd name="T41" fmla="*/ 20 h 71"/>
                  <a:gd name="T42" fmla="*/ 71 w 71"/>
                  <a:gd name="T43" fmla="*/ 18 h 71"/>
                  <a:gd name="T44" fmla="*/ 71 w 71"/>
                  <a:gd name="T45" fmla="*/ 15 h 71"/>
                  <a:gd name="T46" fmla="*/ 71 w 71"/>
                  <a:gd name="T47" fmla="*/ 12 h 71"/>
                  <a:gd name="T48" fmla="*/ 70 w 71"/>
                  <a:gd name="T49" fmla="*/ 9 h 71"/>
                  <a:gd name="T50" fmla="*/ 69 w 71"/>
                  <a:gd name="T51" fmla="*/ 6 h 71"/>
                  <a:gd name="T52" fmla="*/ 67 w 71"/>
                  <a:gd name="T53" fmla="*/ 4 h 71"/>
                  <a:gd name="T54" fmla="*/ 65 w 71"/>
                  <a:gd name="T55" fmla="*/ 2 h 71"/>
                  <a:gd name="T56" fmla="*/ 62 w 71"/>
                  <a:gd name="T57" fmla="*/ 1 h 71"/>
                  <a:gd name="T58" fmla="*/ 59 w 71"/>
                  <a:gd name="T59" fmla="*/ 0 h 71"/>
                  <a:gd name="T60" fmla="*/ 56 w 71"/>
                  <a:gd name="T61" fmla="*/ 0 h 71"/>
                  <a:gd name="T62" fmla="*/ 53 w 71"/>
                  <a:gd name="T63" fmla="*/ 0 h 71"/>
                  <a:gd name="T64" fmla="*/ 51 w 71"/>
                  <a:gd name="T65" fmla="*/ 1 h 71"/>
                  <a:gd name="T66" fmla="*/ 48 w 71"/>
                  <a:gd name="T67" fmla="*/ 2 h 71"/>
                  <a:gd name="T68" fmla="*/ 46 w 71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1">
                    <a:moveTo>
                      <a:pt x="46" y="4"/>
                    </a:moveTo>
                    <a:lnTo>
                      <a:pt x="4" y="46"/>
                    </a:lnTo>
                    <a:lnTo>
                      <a:pt x="2" y="49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4" y="67"/>
                    </a:lnTo>
                    <a:lnTo>
                      <a:pt x="6" y="69"/>
                    </a:lnTo>
                    <a:lnTo>
                      <a:pt x="8" y="70"/>
                    </a:lnTo>
                    <a:lnTo>
                      <a:pt x="11" y="71"/>
                    </a:lnTo>
                    <a:lnTo>
                      <a:pt x="14" y="71"/>
                    </a:lnTo>
                    <a:lnTo>
                      <a:pt x="17" y="71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7"/>
                    </a:lnTo>
                    <a:lnTo>
                      <a:pt x="67" y="25"/>
                    </a:lnTo>
                    <a:lnTo>
                      <a:pt x="69" y="23"/>
                    </a:lnTo>
                    <a:lnTo>
                      <a:pt x="70" y="20"/>
                    </a:lnTo>
                    <a:lnTo>
                      <a:pt x="71" y="18"/>
                    </a:lnTo>
                    <a:lnTo>
                      <a:pt x="71" y="15"/>
                    </a:lnTo>
                    <a:lnTo>
                      <a:pt x="71" y="12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62">
                <a:extLst>
                  <a:ext uri="{FF2B5EF4-FFF2-40B4-BE49-F238E27FC236}">
                    <a16:creationId xmlns:a16="http://schemas.microsoft.com/office/drawing/2014/main" id="{F7141D13-281D-4EDE-99C2-F09109274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984250"/>
                <a:ext cx="22225" cy="22225"/>
              </a:xfrm>
              <a:custGeom>
                <a:avLst/>
                <a:gdLst>
                  <a:gd name="T0" fmla="*/ 25 w 72"/>
                  <a:gd name="T1" fmla="*/ 4 h 71"/>
                  <a:gd name="T2" fmla="*/ 22 w 72"/>
                  <a:gd name="T3" fmla="*/ 2 h 71"/>
                  <a:gd name="T4" fmla="*/ 20 w 72"/>
                  <a:gd name="T5" fmla="*/ 1 h 71"/>
                  <a:gd name="T6" fmla="*/ 17 w 72"/>
                  <a:gd name="T7" fmla="*/ 0 h 71"/>
                  <a:gd name="T8" fmla="*/ 15 w 72"/>
                  <a:gd name="T9" fmla="*/ 0 h 71"/>
                  <a:gd name="T10" fmla="*/ 12 w 72"/>
                  <a:gd name="T11" fmla="*/ 0 h 71"/>
                  <a:gd name="T12" fmla="*/ 8 w 72"/>
                  <a:gd name="T13" fmla="*/ 1 h 71"/>
                  <a:gd name="T14" fmla="*/ 6 w 72"/>
                  <a:gd name="T15" fmla="*/ 2 h 71"/>
                  <a:gd name="T16" fmla="*/ 4 w 72"/>
                  <a:gd name="T17" fmla="*/ 4 h 71"/>
                  <a:gd name="T18" fmla="*/ 2 w 72"/>
                  <a:gd name="T19" fmla="*/ 6 h 71"/>
                  <a:gd name="T20" fmla="*/ 1 w 72"/>
                  <a:gd name="T21" fmla="*/ 9 h 71"/>
                  <a:gd name="T22" fmla="*/ 0 w 72"/>
                  <a:gd name="T23" fmla="*/ 12 h 71"/>
                  <a:gd name="T24" fmla="*/ 0 w 72"/>
                  <a:gd name="T25" fmla="*/ 15 h 71"/>
                  <a:gd name="T26" fmla="*/ 0 w 72"/>
                  <a:gd name="T27" fmla="*/ 18 h 71"/>
                  <a:gd name="T28" fmla="*/ 1 w 72"/>
                  <a:gd name="T29" fmla="*/ 20 h 71"/>
                  <a:gd name="T30" fmla="*/ 2 w 72"/>
                  <a:gd name="T31" fmla="*/ 23 h 71"/>
                  <a:gd name="T32" fmla="*/ 4 w 72"/>
                  <a:gd name="T33" fmla="*/ 25 h 71"/>
                  <a:gd name="T34" fmla="*/ 46 w 72"/>
                  <a:gd name="T35" fmla="*/ 67 h 71"/>
                  <a:gd name="T36" fmla="*/ 48 w 72"/>
                  <a:gd name="T37" fmla="*/ 69 h 71"/>
                  <a:gd name="T38" fmla="*/ 51 w 72"/>
                  <a:gd name="T39" fmla="*/ 70 h 71"/>
                  <a:gd name="T40" fmla="*/ 53 w 72"/>
                  <a:gd name="T41" fmla="*/ 71 h 71"/>
                  <a:gd name="T42" fmla="*/ 57 w 72"/>
                  <a:gd name="T43" fmla="*/ 71 h 71"/>
                  <a:gd name="T44" fmla="*/ 60 w 72"/>
                  <a:gd name="T45" fmla="*/ 71 h 71"/>
                  <a:gd name="T46" fmla="*/ 62 w 72"/>
                  <a:gd name="T47" fmla="*/ 70 h 71"/>
                  <a:gd name="T48" fmla="*/ 65 w 72"/>
                  <a:gd name="T49" fmla="*/ 69 h 71"/>
                  <a:gd name="T50" fmla="*/ 67 w 72"/>
                  <a:gd name="T51" fmla="*/ 67 h 71"/>
                  <a:gd name="T52" fmla="*/ 69 w 72"/>
                  <a:gd name="T53" fmla="*/ 65 h 71"/>
                  <a:gd name="T54" fmla="*/ 70 w 72"/>
                  <a:gd name="T55" fmla="*/ 63 h 71"/>
                  <a:gd name="T56" fmla="*/ 72 w 72"/>
                  <a:gd name="T57" fmla="*/ 60 h 71"/>
                  <a:gd name="T58" fmla="*/ 72 w 72"/>
                  <a:gd name="T59" fmla="*/ 58 h 71"/>
                  <a:gd name="T60" fmla="*/ 72 w 72"/>
                  <a:gd name="T61" fmla="*/ 54 h 71"/>
                  <a:gd name="T62" fmla="*/ 70 w 72"/>
                  <a:gd name="T63" fmla="*/ 51 h 71"/>
                  <a:gd name="T64" fmla="*/ 69 w 72"/>
                  <a:gd name="T65" fmla="*/ 49 h 71"/>
                  <a:gd name="T66" fmla="*/ 67 w 72"/>
                  <a:gd name="T67" fmla="*/ 46 h 71"/>
                  <a:gd name="T68" fmla="*/ 25 w 72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1">
                    <a:moveTo>
                      <a:pt x="25" y="4"/>
                    </a:move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46" y="67"/>
                    </a:lnTo>
                    <a:lnTo>
                      <a:pt x="48" y="69"/>
                    </a:lnTo>
                    <a:lnTo>
                      <a:pt x="51" y="70"/>
                    </a:lnTo>
                    <a:lnTo>
                      <a:pt x="53" y="71"/>
                    </a:lnTo>
                    <a:lnTo>
                      <a:pt x="57" y="71"/>
                    </a:lnTo>
                    <a:lnTo>
                      <a:pt x="60" y="71"/>
                    </a:lnTo>
                    <a:lnTo>
                      <a:pt x="62" y="70"/>
                    </a:lnTo>
                    <a:lnTo>
                      <a:pt x="65" y="69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70" y="63"/>
                    </a:lnTo>
                    <a:lnTo>
                      <a:pt x="72" y="60"/>
                    </a:lnTo>
                    <a:lnTo>
                      <a:pt x="72" y="58"/>
                    </a:lnTo>
                    <a:lnTo>
                      <a:pt x="72" y="54"/>
                    </a:lnTo>
                    <a:lnTo>
                      <a:pt x="70" y="51"/>
                    </a:lnTo>
                    <a:lnTo>
                      <a:pt x="69" y="49"/>
                    </a:lnTo>
                    <a:lnTo>
                      <a:pt x="67" y="46"/>
                    </a:lnTo>
                    <a:lnTo>
                      <a:pt x="2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C6EEFCF7-5453-45AA-95ED-8A19EBC979CB}"/>
              </a:ext>
            </a:extLst>
          </p:cNvPr>
          <p:cNvGrpSpPr/>
          <p:nvPr/>
        </p:nvGrpSpPr>
        <p:grpSpPr>
          <a:xfrm>
            <a:off x="5236092" y="1777804"/>
            <a:ext cx="418315" cy="418315"/>
            <a:chOff x="4747002" y="3515391"/>
            <a:chExt cx="418315" cy="418315"/>
          </a:xfrm>
        </p:grpSpPr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0F0E5601-37C7-464F-B247-88BAED129954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2B807F0A-EFF9-4495-A81E-45D5264C1EFF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334" name="Freeform 63">
                <a:extLst>
                  <a:ext uri="{FF2B5EF4-FFF2-40B4-BE49-F238E27FC236}">
                    <a16:creationId xmlns:a16="http://schemas.microsoft.com/office/drawing/2014/main" id="{E62E8EDF-690A-4BFB-80D7-41090B22B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64">
                <a:extLst>
                  <a:ext uri="{FF2B5EF4-FFF2-40B4-BE49-F238E27FC236}">
                    <a16:creationId xmlns:a16="http://schemas.microsoft.com/office/drawing/2014/main" id="{A119984D-55B6-4C77-AB9C-8CAB6D954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65">
                <a:extLst>
                  <a:ext uri="{FF2B5EF4-FFF2-40B4-BE49-F238E27FC236}">
                    <a16:creationId xmlns:a16="http://schemas.microsoft.com/office/drawing/2014/main" id="{C9E940C5-B695-47C9-B163-30919F09D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66">
                <a:extLst>
                  <a:ext uri="{FF2B5EF4-FFF2-40B4-BE49-F238E27FC236}">
                    <a16:creationId xmlns:a16="http://schemas.microsoft.com/office/drawing/2014/main" id="{BC8133D8-4545-4158-BD78-25A9F37D5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67">
                <a:extLst>
                  <a:ext uri="{FF2B5EF4-FFF2-40B4-BE49-F238E27FC236}">
                    <a16:creationId xmlns:a16="http://schemas.microsoft.com/office/drawing/2014/main" id="{E8A12F24-0D32-43F6-96B6-182AD4935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68">
                <a:extLst>
                  <a:ext uri="{FF2B5EF4-FFF2-40B4-BE49-F238E27FC236}">
                    <a16:creationId xmlns:a16="http://schemas.microsoft.com/office/drawing/2014/main" id="{677A2AE3-F49E-4100-8F66-F4C0DC297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8" name="Date Placeholder 1">
            <a:extLst>
              <a:ext uri="{FF2B5EF4-FFF2-40B4-BE49-F238E27FC236}">
                <a16:creationId xmlns:a16="http://schemas.microsoft.com/office/drawing/2014/main" id="{C32A4CA8-DDC6-452C-90A7-26282EB932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6/12/2023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Slide Number Placeholder 2">
            <a:extLst>
              <a:ext uri="{FF2B5EF4-FFF2-40B4-BE49-F238E27FC236}">
                <a16:creationId xmlns:a16="http://schemas.microsoft.com/office/drawing/2014/main" id="{86D924E9-0DBC-4804-AC18-FC26D3825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2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601" name="Freeform 39">
            <a:extLst>
              <a:ext uri="{FF2B5EF4-FFF2-40B4-BE49-F238E27FC236}">
                <a16:creationId xmlns:a16="http://schemas.microsoft.com/office/drawing/2014/main" id="{31E3C859-689C-45C0-9E19-B0E7EF15941E}"/>
              </a:ext>
            </a:extLst>
          </p:cNvPr>
          <p:cNvSpPr>
            <a:spLocks/>
          </p:cNvSpPr>
          <p:nvPr/>
        </p:nvSpPr>
        <p:spPr bwMode="auto">
          <a:xfrm>
            <a:off x="4907608" y="5626847"/>
            <a:ext cx="1446576" cy="1165123"/>
          </a:xfrm>
          <a:custGeom>
            <a:avLst/>
            <a:gdLst>
              <a:gd name="T0" fmla="*/ 2147483647 w 3045"/>
              <a:gd name="T1" fmla="*/ 2147483647 h 2382"/>
              <a:gd name="T2" fmla="*/ 2147483647 w 3045"/>
              <a:gd name="T3" fmla="*/ 2147483647 h 2382"/>
              <a:gd name="T4" fmla="*/ 2147483647 w 3045"/>
              <a:gd name="T5" fmla="*/ 2147483647 h 2382"/>
              <a:gd name="T6" fmla="*/ 2147483647 w 3045"/>
              <a:gd name="T7" fmla="*/ 2147483647 h 2382"/>
              <a:gd name="T8" fmla="*/ 2147483647 w 3045"/>
              <a:gd name="T9" fmla="*/ 2147483647 h 2382"/>
              <a:gd name="T10" fmla="*/ 2147483647 w 3045"/>
              <a:gd name="T11" fmla="*/ 2147483647 h 2382"/>
              <a:gd name="T12" fmla="*/ 0 w 3045"/>
              <a:gd name="T13" fmla="*/ 2147483647 h 2382"/>
              <a:gd name="T14" fmla="*/ 2147483647 w 3045"/>
              <a:gd name="T15" fmla="*/ 2147483647 h 2382"/>
              <a:gd name="T16" fmla="*/ 2147483647 w 3045"/>
              <a:gd name="T17" fmla="*/ 2147483647 h 2382"/>
              <a:gd name="T18" fmla="*/ 2147483647 w 3045"/>
              <a:gd name="T19" fmla="*/ 2147483647 h 2382"/>
              <a:gd name="T20" fmla="*/ 2147483647 w 3045"/>
              <a:gd name="T21" fmla="*/ 2147483647 h 2382"/>
              <a:gd name="T22" fmla="*/ 2147483647 w 3045"/>
              <a:gd name="T23" fmla="*/ 2147483647 h 2382"/>
              <a:gd name="T24" fmla="*/ 2147483647 w 3045"/>
              <a:gd name="T25" fmla="*/ 2147483647 h 2382"/>
              <a:gd name="T26" fmla="*/ 2147483647 w 3045"/>
              <a:gd name="T27" fmla="*/ 2147483647 h 2382"/>
              <a:gd name="T28" fmla="*/ 2147483647 w 3045"/>
              <a:gd name="T29" fmla="*/ 2147483647 h 2382"/>
              <a:gd name="T30" fmla="*/ 2147483647 w 3045"/>
              <a:gd name="T31" fmla="*/ 2147483647 h 2382"/>
              <a:gd name="T32" fmla="*/ 2147483647 w 3045"/>
              <a:gd name="T33" fmla="*/ 2147483647 h 2382"/>
              <a:gd name="T34" fmla="*/ 2147483647 w 3045"/>
              <a:gd name="T35" fmla="*/ 2147483647 h 2382"/>
              <a:gd name="T36" fmla="*/ 2147483647 w 3045"/>
              <a:gd name="T37" fmla="*/ 2147483647 h 2382"/>
              <a:gd name="T38" fmla="*/ 2147483647 w 3045"/>
              <a:gd name="T39" fmla="*/ 2147483647 h 2382"/>
              <a:gd name="T40" fmla="*/ 2147483647 w 3045"/>
              <a:gd name="T41" fmla="*/ 2147483647 h 2382"/>
              <a:gd name="T42" fmla="*/ 2147483647 w 3045"/>
              <a:gd name="T43" fmla="*/ 2147483647 h 2382"/>
              <a:gd name="T44" fmla="*/ 2147483647 w 3045"/>
              <a:gd name="T45" fmla="*/ 2147483647 h 2382"/>
              <a:gd name="T46" fmla="*/ 2147483647 w 3045"/>
              <a:gd name="T47" fmla="*/ 0 h 2382"/>
              <a:gd name="T48" fmla="*/ 2147483647 w 3045"/>
              <a:gd name="T49" fmla="*/ 2147483647 h 2382"/>
              <a:gd name="T50" fmla="*/ 2147483647 w 3045"/>
              <a:gd name="T51" fmla="*/ 2147483647 h 2382"/>
              <a:gd name="T52" fmla="*/ 2147483647 w 3045"/>
              <a:gd name="T53" fmla="*/ 2147483647 h 2382"/>
              <a:gd name="T54" fmla="*/ 2147483647 w 3045"/>
              <a:gd name="T55" fmla="*/ 2147483647 h 2382"/>
              <a:gd name="T56" fmla="*/ 2147483647 w 3045"/>
              <a:gd name="T57" fmla="*/ 2147483647 h 2382"/>
              <a:gd name="T58" fmla="*/ 2147483647 w 3045"/>
              <a:gd name="T59" fmla="*/ 2147483647 h 2382"/>
              <a:gd name="T60" fmla="*/ 2147483647 w 3045"/>
              <a:gd name="T61" fmla="*/ 2147483647 h 2382"/>
              <a:gd name="T62" fmla="*/ 2147483647 w 3045"/>
              <a:gd name="T63" fmla="*/ 2147483647 h 2382"/>
              <a:gd name="T64" fmla="*/ 2147483647 w 3045"/>
              <a:gd name="T65" fmla="*/ 2147483647 h 2382"/>
              <a:gd name="T66" fmla="*/ 2147483647 w 3045"/>
              <a:gd name="T67" fmla="*/ 2147483647 h 2382"/>
              <a:gd name="T68" fmla="*/ 2147483647 w 3045"/>
              <a:gd name="T69" fmla="*/ 2147483647 h 2382"/>
              <a:gd name="T70" fmla="*/ 2147483647 w 3045"/>
              <a:gd name="T71" fmla="*/ 2147483647 h 2382"/>
              <a:gd name="T72" fmla="*/ 2147483647 w 3045"/>
              <a:gd name="T73" fmla="*/ 2147483647 h 2382"/>
              <a:gd name="T74" fmla="*/ 2147483647 w 3045"/>
              <a:gd name="T75" fmla="*/ 2147483647 h 2382"/>
              <a:gd name="T76" fmla="*/ 2147483647 w 3045"/>
              <a:gd name="T77" fmla="*/ 2147483647 h 2382"/>
              <a:gd name="T78" fmla="*/ 2147483647 w 3045"/>
              <a:gd name="T79" fmla="*/ 2147483647 h 2382"/>
              <a:gd name="T80" fmla="*/ 2147483647 w 3045"/>
              <a:gd name="T81" fmla="*/ 2147483647 h 2382"/>
              <a:gd name="T82" fmla="*/ 2147483647 w 3045"/>
              <a:gd name="T83" fmla="*/ 2147483647 h 2382"/>
              <a:gd name="T84" fmla="*/ 2147483647 w 3045"/>
              <a:gd name="T85" fmla="*/ 2147483647 h 2382"/>
              <a:gd name="T86" fmla="*/ 2147483647 w 3045"/>
              <a:gd name="T87" fmla="*/ 2147483647 h 238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045"/>
              <a:gd name="T133" fmla="*/ 0 h 2382"/>
              <a:gd name="T134" fmla="*/ 3045 w 3045"/>
              <a:gd name="T135" fmla="*/ 2382 h 238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045" h="2382">
                <a:moveTo>
                  <a:pt x="1399" y="1744"/>
                </a:moveTo>
                <a:lnTo>
                  <a:pt x="1234" y="1735"/>
                </a:lnTo>
                <a:lnTo>
                  <a:pt x="1070" y="1808"/>
                </a:lnTo>
                <a:lnTo>
                  <a:pt x="924" y="1854"/>
                </a:lnTo>
                <a:lnTo>
                  <a:pt x="841" y="1945"/>
                </a:lnTo>
                <a:lnTo>
                  <a:pt x="590" y="1946"/>
                </a:lnTo>
                <a:lnTo>
                  <a:pt x="430" y="2019"/>
                </a:lnTo>
                <a:lnTo>
                  <a:pt x="274" y="2055"/>
                </a:lnTo>
                <a:lnTo>
                  <a:pt x="154" y="1946"/>
                </a:lnTo>
                <a:lnTo>
                  <a:pt x="247" y="1808"/>
                </a:lnTo>
                <a:lnTo>
                  <a:pt x="221" y="1711"/>
                </a:lnTo>
                <a:lnTo>
                  <a:pt x="174" y="1552"/>
                </a:lnTo>
                <a:lnTo>
                  <a:pt x="119" y="1388"/>
                </a:lnTo>
                <a:lnTo>
                  <a:pt x="0" y="1260"/>
                </a:lnTo>
                <a:lnTo>
                  <a:pt x="46" y="1168"/>
                </a:lnTo>
                <a:lnTo>
                  <a:pt x="64" y="1040"/>
                </a:lnTo>
                <a:lnTo>
                  <a:pt x="101" y="940"/>
                </a:lnTo>
                <a:lnTo>
                  <a:pt x="201" y="885"/>
                </a:lnTo>
                <a:lnTo>
                  <a:pt x="338" y="812"/>
                </a:lnTo>
                <a:lnTo>
                  <a:pt x="430" y="793"/>
                </a:lnTo>
                <a:lnTo>
                  <a:pt x="585" y="766"/>
                </a:lnTo>
                <a:lnTo>
                  <a:pt x="691" y="671"/>
                </a:lnTo>
                <a:lnTo>
                  <a:pt x="713" y="565"/>
                </a:lnTo>
                <a:lnTo>
                  <a:pt x="805" y="473"/>
                </a:lnTo>
                <a:lnTo>
                  <a:pt x="860" y="510"/>
                </a:lnTo>
                <a:lnTo>
                  <a:pt x="914" y="382"/>
                </a:lnTo>
                <a:lnTo>
                  <a:pt x="1024" y="272"/>
                </a:lnTo>
                <a:lnTo>
                  <a:pt x="1143" y="355"/>
                </a:lnTo>
                <a:lnTo>
                  <a:pt x="1253" y="345"/>
                </a:lnTo>
                <a:lnTo>
                  <a:pt x="1308" y="263"/>
                </a:lnTo>
                <a:lnTo>
                  <a:pt x="1353" y="190"/>
                </a:lnTo>
                <a:lnTo>
                  <a:pt x="1289" y="135"/>
                </a:lnTo>
                <a:lnTo>
                  <a:pt x="1372" y="89"/>
                </a:lnTo>
                <a:lnTo>
                  <a:pt x="1527" y="99"/>
                </a:lnTo>
                <a:lnTo>
                  <a:pt x="1637" y="153"/>
                </a:lnTo>
                <a:lnTo>
                  <a:pt x="1731" y="101"/>
                </a:lnTo>
                <a:lnTo>
                  <a:pt x="1801" y="108"/>
                </a:lnTo>
                <a:lnTo>
                  <a:pt x="1829" y="181"/>
                </a:lnTo>
                <a:lnTo>
                  <a:pt x="1792" y="263"/>
                </a:lnTo>
                <a:lnTo>
                  <a:pt x="1731" y="335"/>
                </a:lnTo>
                <a:lnTo>
                  <a:pt x="1820" y="455"/>
                </a:lnTo>
                <a:lnTo>
                  <a:pt x="1920" y="501"/>
                </a:lnTo>
                <a:lnTo>
                  <a:pt x="2030" y="583"/>
                </a:lnTo>
                <a:lnTo>
                  <a:pt x="2100" y="503"/>
                </a:lnTo>
                <a:lnTo>
                  <a:pt x="2149" y="428"/>
                </a:lnTo>
                <a:lnTo>
                  <a:pt x="2167" y="309"/>
                </a:lnTo>
                <a:lnTo>
                  <a:pt x="2134" y="134"/>
                </a:lnTo>
                <a:lnTo>
                  <a:pt x="2167" y="0"/>
                </a:lnTo>
                <a:lnTo>
                  <a:pt x="2277" y="80"/>
                </a:lnTo>
                <a:lnTo>
                  <a:pt x="2332" y="199"/>
                </a:lnTo>
                <a:lnTo>
                  <a:pt x="2341" y="309"/>
                </a:lnTo>
                <a:lnTo>
                  <a:pt x="2402" y="335"/>
                </a:lnTo>
                <a:lnTo>
                  <a:pt x="2402" y="436"/>
                </a:lnTo>
                <a:lnTo>
                  <a:pt x="2469" y="570"/>
                </a:lnTo>
                <a:lnTo>
                  <a:pt x="2533" y="693"/>
                </a:lnTo>
                <a:lnTo>
                  <a:pt x="2637" y="738"/>
                </a:lnTo>
                <a:lnTo>
                  <a:pt x="2716" y="867"/>
                </a:lnTo>
                <a:lnTo>
                  <a:pt x="2805" y="939"/>
                </a:lnTo>
                <a:lnTo>
                  <a:pt x="2898" y="1086"/>
                </a:lnTo>
                <a:lnTo>
                  <a:pt x="2972" y="1174"/>
                </a:lnTo>
                <a:lnTo>
                  <a:pt x="3036" y="1296"/>
                </a:lnTo>
                <a:lnTo>
                  <a:pt x="3036" y="1406"/>
                </a:lnTo>
                <a:lnTo>
                  <a:pt x="3045" y="1534"/>
                </a:lnTo>
                <a:lnTo>
                  <a:pt x="3045" y="1671"/>
                </a:lnTo>
                <a:lnTo>
                  <a:pt x="2981" y="1781"/>
                </a:lnTo>
                <a:lnTo>
                  <a:pt x="2905" y="1845"/>
                </a:lnTo>
                <a:lnTo>
                  <a:pt x="2853" y="1955"/>
                </a:lnTo>
                <a:lnTo>
                  <a:pt x="2816" y="2019"/>
                </a:lnTo>
                <a:lnTo>
                  <a:pt x="2807" y="2156"/>
                </a:lnTo>
                <a:lnTo>
                  <a:pt x="2780" y="2265"/>
                </a:lnTo>
                <a:lnTo>
                  <a:pt x="2642" y="2320"/>
                </a:lnTo>
                <a:lnTo>
                  <a:pt x="2536" y="2348"/>
                </a:lnTo>
                <a:lnTo>
                  <a:pt x="2469" y="2382"/>
                </a:lnTo>
                <a:lnTo>
                  <a:pt x="2377" y="2348"/>
                </a:lnTo>
                <a:lnTo>
                  <a:pt x="2268" y="2382"/>
                </a:lnTo>
                <a:lnTo>
                  <a:pt x="2103" y="2348"/>
                </a:lnTo>
                <a:lnTo>
                  <a:pt x="2002" y="2275"/>
                </a:lnTo>
                <a:lnTo>
                  <a:pt x="1993" y="2119"/>
                </a:lnTo>
                <a:lnTo>
                  <a:pt x="1920" y="2128"/>
                </a:lnTo>
                <a:lnTo>
                  <a:pt x="1838" y="2147"/>
                </a:lnTo>
                <a:lnTo>
                  <a:pt x="1829" y="2064"/>
                </a:lnTo>
                <a:lnTo>
                  <a:pt x="1874" y="1927"/>
                </a:lnTo>
                <a:lnTo>
                  <a:pt x="1792" y="1964"/>
                </a:lnTo>
                <a:lnTo>
                  <a:pt x="1692" y="2055"/>
                </a:lnTo>
                <a:lnTo>
                  <a:pt x="1637" y="1918"/>
                </a:lnTo>
                <a:lnTo>
                  <a:pt x="1582" y="1790"/>
                </a:lnTo>
                <a:lnTo>
                  <a:pt x="1500" y="1799"/>
                </a:lnTo>
                <a:lnTo>
                  <a:pt x="1399" y="1744"/>
                </a:lnTo>
                <a:close/>
              </a:path>
            </a:pathLst>
          </a:custGeom>
          <a:solidFill>
            <a:srgbClr val="F66B3A"/>
          </a:solidFill>
          <a:ln w="3175" cmpd="sng">
            <a:solidFill>
              <a:srgbClr val="FFFFFF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zh-CN" altLang="en-US"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175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04</Words>
  <Application>Microsoft Office PowerPoint</Application>
  <PresentationFormat>Widescreen</PresentationFormat>
  <Paragraphs>11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veen Paramasivam</dc:creator>
  <cp:lastModifiedBy>Praveen Paramasivam</cp:lastModifiedBy>
  <cp:revision>2</cp:revision>
  <dcterms:created xsi:type="dcterms:W3CDTF">2023-06-12T12:15:16Z</dcterms:created>
  <dcterms:modified xsi:type="dcterms:W3CDTF">2023-06-12T12:16:41Z</dcterms:modified>
</cp:coreProperties>
</file>